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28.bin" ContentType="application/vnd.openxmlformats-officedocument.oleObject"/>
  <Override PartName="/ppt/embeddings/oleObject29.bin" ContentType="application/vnd.openxmlformats-officedocument.oleObject"/>
  <Override PartName="/ppt/embeddings/oleObject3.bin" ContentType="application/vnd.openxmlformats-officedocument.oleObject"/>
  <Override PartName="/ppt/embeddings/oleObject30.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media/image92.svg" ContentType="image/svg+xml"/>
  <Override PartName="/ppt/notesMasters/notesMaster1.xml" ContentType="application/vnd.openxmlformats-officedocument.presentationml.notesMaster+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94" r:id="rId4"/>
    <p:sldMasterId id="2147483956" r:id="rId5"/>
  </p:sldMasterIdLst>
  <p:notesMasterIdLst>
    <p:notesMasterId r:id="rId144"/>
  </p:notesMasterIdLst>
  <p:sldIdLst>
    <p:sldId id="2147476952" r:id="rId6"/>
    <p:sldId id="2147476953" r:id="rId7"/>
    <p:sldId id="2147476954" r:id="rId8"/>
    <p:sldId id="2147476955" r:id="rId9"/>
    <p:sldId id="2147476956" r:id="rId10"/>
    <p:sldId id="2147476957" r:id="rId11"/>
    <p:sldId id="2147476958" r:id="rId12"/>
    <p:sldId id="2147476959" r:id="rId13"/>
    <p:sldId id="2147476960" r:id="rId14"/>
    <p:sldId id="2147476961" r:id="rId15"/>
    <p:sldId id="2147476962" r:id="rId16"/>
    <p:sldId id="2147476963" r:id="rId17"/>
    <p:sldId id="2147476964" r:id="rId18"/>
    <p:sldId id="2147476965" r:id="rId19"/>
    <p:sldId id="2147476966" r:id="rId20"/>
    <p:sldId id="2147476967" r:id="rId21"/>
    <p:sldId id="2147476968" r:id="rId22"/>
    <p:sldId id="2147476969" r:id="rId23"/>
    <p:sldId id="2147476970" r:id="rId24"/>
    <p:sldId id="2147476971" r:id="rId25"/>
    <p:sldId id="2147476972" r:id="rId26"/>
    <p:sldId id="2147476973" r:id="rId27"/>
    <p:sldId id="2147476974" r:id="rId28"/>
    <p:sldId id="2147476975" r:id="rId29"/>
    <p:sldId id="2147476976" r:id="rId30"/>
    <p:sldId id="2147476977" r:id="rId31"/>
    <p:sldId id="2147476978" r:id="rId32"/>
    <p:sldId id="2147476979" r:id="rId33"/>
    <p:sldId id="2147476980" r:id="rId34"/>
    <p:sldId id="2147476981" r:id="rId35"/>
    <p:sldId id="2147476982" r:id="rId36"/>
    <p:sldId id="2147476983" r:id="rId37"/>
    <p:sldId id="2147476984" r:id="rId38"/>
    <p:sldId id="2147476985" r:id="rId39"/>
    <p:sldId id="2147476986" r:id="rId40"/>
    <p:sldId id="2147476987" r:id="rId41"/>
    <p:sldId id="2147476988" r:id="rId42"/>
    <p:sldId id="2147476989" r:id="rId43"/>
    <p:sldId id="2147476990" r:id="rId44"/>
    <p:sldId id="2147476991" r:id="rId45"/>
    <p:sldId id="2147476992" r:id="rId46"/>
    <p:sldId id="2147476993" r:id="rId47"/>
    <p:sldId id="2147476994" r:id="rId48"/>
    <p:sldId id="2147476995" r:id="rId49"/>
    <p:sldId id="2147476996" r:id="rId50"/>
    <p:sldId id="2147476997" r:id="rId51"/>
    <p:sldId id="2147476998" r:id="rId52"/>
    <p:sldId id="2147476999" r:id="rId53"/>
    <p:sldId id="2147477000" r:id="rId54"/>
    <p:sldId id="2147477001" r:id="rId55"/>
    <p:sldId id="2147477002" r:id="rId56"/>
    <p:sldId id="2147477003" r:id="rId57"/>
    <p:sldId id="2147477004" r:id="rId58"/>
    <p:sldId id="2147477005" r:id="rId59"/>
    <p:sldId id="2147477006" r:id="rId60"/>
    <p:sldId id="2147477007" r:id="rId61"/>
    <p:sldId id="2147477008" r:id="rId62"/>
    <p:sldId id="2147477009" r:id="rId63"/>
    <p:sldId id="2147477010" r:id="rId64"/>
    <p:sldId id="2147477011" r:id="rId65"/>
    <p:sldId id="2147477012" r:id="rId66"/>
    <p:sldId id="2147477013" r:id="rId67"/>
    <p:sldId id="2147477014" r:id="rId68"/>
    <p:sldId id="2147477015" r:id="rId69"/>
    <p:sldId id="2147477016" r:id="rId70"/>
    <p:sldId id="2147477017" r:id="rId71"/>
    <p:sldId id="2147477018" r:id="rId72"/>
    <p:sldId id="2147477019" r:id="rId73"/>
    <p:sldId id="2147477020" r:id="rId74"/>
    <p:sldId id="2147477021" r:id="rId75"/>
    <p:sldId id="2147477022" r:id="rId76"/>
    <p:sldId id="2147477023" r:id="rId77"/>
    <p:sldId id="2147477024" r:id="rId78"/>
    <p:sldId id="2147477025" r:id="rId79"/>
    <p:sldId id="2147477026" r:id="rId80"/>
    <p:sldId id="2147477027" r:id="rId81"/>
    <p:sldId id="2147477028" r:id="rId82"/>
    <p:sldId id="2147477029" r:id="rId83"/>
    <p:sldId id="2147477030" r:id="rId84"/>
    <p:sldId id="2147477031" r:id="rId85"/>
    <p:sldId id="2147477032" r:id="rId86"/>
    <p:sldId id="2147477033" r:id="rId87"/>
    <p:sldId id="2147477034" r:id="rId88"/>
    <p:sldId id="2147477035" r:id="rId89"/>
    <p:sldId id="2147477036" r:id="rId90"/>
    <p:sldId id="2147477037" r:id="rId91"/>
    <p:sldId id="2147477038" r:id="rId92"/>
    <p:sldId id="2147477039" r:id="rId93"/>
    <p:sldId id="2147477040" r:id="rId94"/>
    <p:sldId id="2147477041" r:id="rId95"/>
    <p:sldId id="2147477042" r:id="rId96"/>
    <p:sldId id="2147477043" r:id="rId97"/>
    <p:sldId id="2147477044" r:id="rId98"/>
    <p:sldId id="2147477045" r:id="rId99"/>
    <p:sldId id="2147477046" r:id="rId100"/>
    <p:sldId id="2147477047" r:id="rId101"/>
    <p:sldId id="2147477048" r:id="rId102"/>
    <p:sldId id="2147477049" r:id="rId103"/>
    <p:sldId id="2147477050" r:id="rId104"/>
    <p:sldId id="2147477051" r:id="rId105"/>
    <p:sldId id="2147477052" r:id="rId106"/>
    <p:sldId id="2147477053" r:id="rId107"/>
    <p:sldId id="2147477054" r:id="rId108"/>
    <p:sldId id="2147477055" r:id="rId109"/>
    <p:sldId id="2147477056" r:id="rId110"/>
    <p:sldId id="2147477057" r:id="rId111"/>
    <p:sldId id="2147477058" r:id="rId112"/>
    <p:sldId id="2147477059" r:id="rId113"/>
    <p:sldId id="2147477060" r:id="rId114"/>
    <p:sldId id="2147477061" r:id="rId115"/>
    <p:sldId id="2147477062" r:id="rId116"/>
    <p:sldId id="2147477063" r:id="rId117"/>
    <p:sldId id="2147477064" r:id="rId118"/>
    <p:sldId id="2147477065" r:id="rId119"/>
    <p:sldId id="2147477066" r:id="rId120"/>
    <p:sldId id="2147477067" r:id="rId121"/>
    <p:sldId id="2147477068" r:id="rId122"/>
    <p:sldId id="2147477069" r:id="rId123"/>
    <p:sldId id="2147477070" r:id="rId124"/>
    <p:sldId id="2147477071" r:id="rId125"/>
    <p:sldId id="2147477072" r:id="rId126"/>
    <p:sldId id="2147477073" r:id="rId127"/>
    <p:sldId id="2147477074" r:id="rId128"/>
    <p:sldId id="2147477075" r:id="rId129"/>
    <p:sldId id="2147477076" r:id="rId130"/>
    <p:sldId id="2147477077" r:id="rId131"/>
    <p:sldId id="2147477078" r:id="rId132"/>
    <p:sldId id="2147477079" r:id="rId133"/>
    <p:sldId id="2147477080" r:id="rId134"/>
    <p:sldId id="2147477081" r:id="rId135"/>
    <p:sldId id="2147477082" r:id="rId136"/>
    <p:sldId id="2147477083" r:id="rId137"/>
    <p:sldId id="2147477084" r:id="rId138"/>
    <p:sldId id="2147477085" r:id="rId139"/>
    <p:sldId id="2147477086" r:id="rId140"/>
    <p:sldId id="2147477087" r:id="rId141"/>
    <p:sldId id="2147477088" r:id="rId142"/>
    <p:sldId id="2147477089" r:id="rId143"/>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nd Elasticity" id="{A7024A0B-3CD6-47BC-9D55-F812862453E9}">
          <p14:sldIdLst>
            <p14:sldId id="2147476952"/>
            <p14:sldId id="2147476953"/>
            <p14:sldId id="2147476954"/>
            <p14:sldId id="2147476955"/>
          </p14:sldIdLst>
        </p14:section>
        <p14:section name="Brand Sourcing Analysis" id="{B8EF0DE9-6088-4F5B-8B97-44AF6FACC8C4}">
          <p14:sldIdLst>
            <p14:sldId id="2147476956"/>
            <p14:sldId id="2147476957"/>
            <p14:sldId id="2147476958"/>
            <p14:sldId id="2147476959"/>
            <p14:sldId id="2147476960"/>
            <p14:sldId id="2147476961"/>
            <p14:sldId id="2147476962"/>
            <p14:sldId id="2147476963"/>
            <p14:sldId id="2147476964"/>
            <p14:sldId id="2147476965"/>
            <p14:sldId id="2147476966"/>
            <p14:sldId id="2147476967"/>
            <p14:sldId id="2147476968"/>
            <p14:sldId id="2147476969"/>
            <p14:sldId id="2147476970"/>
            <p14:sldId id="2147476971"/>
          </p14:sldIdLst>
        </p14:section>
        <p14:section name="Product Sourcing Analysis" id="{41BD8C80-9C9D-406F-836E-7F594AB9FDA9}">
          <p14:sldIdLst>
            <p14:sldId id="2147476972"/>
            <p14:sldId id="2147476973"/>
            <p14:sldId id="2147476974"/>
            <p14:sldId id="2147476975"/>
            <p14:sldId id="2147476976"/>
            <p14:sldId id="2147476977"/>
            <p14:sldId id="2147476978"/>
            <p14:sldId id="2147476979"/>
            <p14:sldId id="2147476980"/>
            <p14:sldId id="2147476981"/>
            <p14:sldId id="2147476982"/>
            <p14:sldId id="2147476983"/>
            <p14:sldId id="2147476984"/>
            <p14:sldId id="2147476985"/>
            <p14:sldId id="2147476986"/>
            <p14:sldId id="2147476987"/>
            <p14:sldId id="2147476988"/>
            <p14:sldId id="2147476989"/>
            <p14:sldId id="2147476990"/>
            <p14:sldId id="2147476991"/>
            <p14:sldId id="2147476992"/>
            <p14:sldId id="2147476993"/>
            <p14:sldId id="2147476994"/>
            <p14:sldId id="2147476995"/>
            <p14:sldId id="2147476996"/>
            <p14:sldId id="2147476997"/>
            <p14:sldId id="2147476998"/>
            <p14:sldId id="2147476999"/>
            <p14:sldId id="2147477000"/>
            <p14:sldId id="2147477001"/>
            <p14:sldId id="2147477002"/>
            <p14:sldId id="2147477003"/>
            <p14:sldId id="2147477004"/>
            <p14:sldId id="2147477005"/>
            <p14:sldId id="2147477006"/>
            <p14:sldId id="2147477007"/>
            <p14:sldId id="2147477008"/>
            <p14:sldId id="2147477009"/>
            <p14:sldId id="2147477010"/>
            <p14:sldId id="2147477011"/>
            <p14:sldId id="2147477012"/>
            <p14:sldId id="2147477013"/>
            <p14:sldId id="2147477014"/>
            <p14:sldId id="2147477015"/>
            <p14:sldId id="2147477016"/>
            <p14:sldId id="2147477017"/>
            <p14:sldId id="2147477018"/>
            <p14:sldId id="2147477019"/>
          </p14:sldIdLst>
        </p14:section>
        <p14:section name="Price Elasticity Curve" id="{FCC35F38-2754-4EEE-9354-523A96437CC4}">
          <p14:sldIdLst>
            <p14:sldId id="2147477020"/>
            <p14:sldId id="2147477021"/>
            <p14:sldId id="2147477022"/>
            <p14:sldId id="2147477023"/>
            <p14:sldId id="2147477024"/>
            <p14:sldId id="2147477025"/>
            <p14:sldId id="2147477026"/>
            <p14:sldId id="2147477027"/>
            <p14:sldId id="2147477028"/>
            <p14:sldId id="2147477029"/>
            <p14:sldId id="2147477030"/>
            <p14:sldId id="2147477031"/>
            <p14:sldId id="2147477032"/>
            <p14:sldId id="2147477033"/>
            <p14:sldId id="2147477034"/>
            <p14:sldId id="2147477035"/>
            <p14:sldId id="2147477036"/>
          </p14:sldIdLst>
        </p14:section>
        <p14:section name="Revenue Response Analysis" id="{80F03303-B8CF-43C3-999A-14791E1D78BA}">
          <p14:sldIdLst>
            <p14:sldId id="2147477037"/>
            <p14:sldId id="2147477038"/>
            <p14:sldId id="2147477039"/>
            <p14:sldId id="2147477040"/>
            <p14:sldId id="2147477041"/>
            <p14:sldId id="2147477042"/>
            <p14:sldId id="2147477043"/>
            <p14:sldId id="2147477044"/>
            <p14:sldId id="2147477045"/>
            <p14:sldId id="2147477046"/>
            <p14:sldId id="2147477047"/>
            <p14:sldId id="2147477048"/>
            <p14:sldId id="2147477049"/>
            <p14:sldId id="2147477050"/>
            <p14:sldId id="2147477051"/>
            <p14:sldId id="2147477052"/>
            <p14:sldId id="2147477053"/>
            <p14:sldId id="2147477054"/>
            <p14:sldId id="2147477055"/>
            <p14:sldId id="2147477056"/>
            <p14:sldId id="2147477057"/>
            <p14:sldId id="2147477058"/>
            <p14:sldId id="2147477059"/>
            <p14:sldId id="2147477060"/>
            <p14:sldId id="2147477061"/>
            <p14:sldId id="2147477062"/>
            <p14:sldId id="2147477063"/>
            <p14:sldId id="2147477064"/>
            <p14:sldId id="2147477065"/>
            <p14:sldId id="2147477066"/>
            <p14:sldId id="2147477067"/>
            <p14:sldId id="2147477068"/>
            <p14:sldId id="2147477069"/>
            <p14:sldId id="2147477070"/>
            <p14:sldId id="2147477071"/>
            <p14:sldId id="2147477072"/>
            <p14:sldId id="2147477073"/>
            <p14:sldId id="2147477074"/>
            <p14:sldId id="2147477075"/>
            <p14:sldId id="2147477076"/>
            <p14:sldId id="2147477077"/>
            <p14:sldId id="2147477078"/>
            <p14:sldId id="2147477079"/>
            <p14:sldId id="2147477080"/>
            <p14:sldId id="2147477081"/>
            <p14:sldId id="2147477082"/>
            <p14:sldId id="2147477083"/>
            <p14:sldId id="2147477084"/>
          </p14:sldIdLst>
        </p14:section>
        <p14:section name="Size Elasticity" id="{7A8B11D7-6E20-49CB-8A89-D53DB7EB87E5}">
          <p14:sldIdLst>
            <p14:sldId id="2147477085"/>
            <p14:sldId id="2147477086"/>
            <p14:sldId id="2147477087"/>
            <p14:sldId id="2147477088"/>
            <p14:sldId id="2147477089"/>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CBBB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D507994-2260-4228-8F7F-A5AC99A893E1}" v="11" dt="2024-11-01T08:56:29.95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017" autoAdjust="0"/>
    <p:restoredTop sz="94660"/>
  </p:normalViewPr>
  <p:slideViewPr>
    <p:cSldViewPr snapToGrid="0" showGuides="1">
      <p:cViewPr varScale="1">
        <p:scale>
          <a:sx n="122" d="100"/>
          <a:sy n="122" d="100"/>
        </p:scale>
        <p:origin x="355" y="43"/>
      </p:cViewPr>
      <p:guideLst>
        <p:guide orient="horz" pos="162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Master" Target="slideMasters/slideMaster2.xml"/><Relationship Id="rId6" Type="http://schemas.openxmlformats.org/officeDocument/2006/relationships/slide" Target="slides/slide1.xml"/><Relationship Id="rId7" Type="http://schemas.openxmlformats.org/officeDocument/2006/relationships/slide" Target="slides/slide2.xml"/><Relationship Id="rId8" Type="http://schemas.openxmlformats.org/officeDocument/2006/relationships/slide" Target="slides/slide3.xml"/><Relationship Id="rId9" Type="http://schemas.openxmlformats.org/officeDocument/2006/relationships/slide" Target="slides/slide4.xml"/><Relationship Id="rId10" Type="http://schemas.openxmlformats.org/officeDocument/2006/relationships/slide" Target="slides/slide5.xml"/><Relationship Id="rId11" Type="http://schemas.openxmlformats.org/officeDocument/2006/relationships/slide" Target="slides/slide6.xml"/><Relationship Id="rId12" Type="http://schemas.openxmlformats.org/officeDocument/2006/relationships/slide" Target="slides/slide7.xml"/><Relationship Id="rId13" Type="http://schemas.openxmlformats.org/officeDocument/2006/relationships/slide" Target="slides/slide8.xml"/><Relationship Id="rId14" Type="http://schemas.openxmlformats.org/officeDocument/2006/relationships/slide" Target="slides/slide9.xml"/><Relationship Id="rId15" Type="http://schemas.openxmlformats.org/officeDocument/2006/relationships/slide" Target="slides/slide10.xml"/><Relationship Id="rId16" Type="http://schemas.openxmlformats.org/officeDocument/2006/relationships/slide" Target="slides/slide11.xml"/><Relationship Id="rId17" Type="http://schemas.openxmlformats.org/officeDocument/2006/relationships/slide" Target="slides/slide12.xml"/><Relationship Id="rId18" Type="http://schemas.openxmlformats.org/officeDocument/2006/relationships/slide" Target="slides/slide13.xml"/><Relationship Id="rId19" Type="http://schemas.openxmlformats.org/officeDocument/2006/relationships/slide" Target="slides/slide14.xml"/><Relationship Id="rId20" Type="http://schemas.openxmlformats.org/officeDocument/2006/relationships/slide" Target="slides/slide15.xml"/><Relationship Id="rId21" Type="http://schemas.openxmlformats.org/officeDocument/2006/relationships/slide" Target="slides/slide16.xml"/><Relationship Id="rId22" Type="http://schemas.openxmlformats.org/officeDocument/2006/relationships/slide" Target="slides/slide17.xml"/><Relationship Id="rId23" Type="http://schemas.openxmlformats.org/officeDocument/2006/relationships/slide" Target="slides/slide18.xml"/><Relationship Id="rId24" Type="http://schemas.openxmlformats.org/officeDocument/2006/relationships/slide" Target="slides/slide19.xml"/><Relationship Id="rId25" Type="http://schemas.openxmlformats.org/officeDocument/2006/relationships/slide" Target="slides/slide20.xml"/><Relationship Id="rId26" Type="http://schemas.openxmlformats.org/officeDocument/2006/relationships/slide" Target="slides/slide21.xml"/><Relationship Id="rId27" Type="http://schemas.openxmlformats.org/officeDocument/2006/relationships/slide" Target="slides/slide22.xml"/><Relationship Id="rId28" Type="http://schemas.openxmlformats.org/officeDocument/2006/relationships/slide" Target="slides/slide23.xml"/><Relationship Id="rId29" Type="http://schemas.openxmlformats.org/officeDocument/2006/relationships/slide" Target="slides/slide24.xml"/><Relationship Id="rId30" Type="http://schemas.openxmlformats.org/officeDocument/2006/relationships/slide" Target="slides/slide25.xml"/><Relationship Id="rId31" Type="http://schemas.openxmlformats.org/officeDocument/2006/relationships/slide" Target="slides/slide26.xml"/><Relationship Id="rId32" Type="http://schemas.openxmlformats.org/officeDocument/2006/relationships/slide" Target="slides/slide27.xml"/><Relationship Id="rId33" Type="http://schemas.openxmlformats.org/officeDocument/2006/relationships/slide" Target="slides/slide28.xml"/><Relationship Id="rId34" Type="http://schemas.openxmlformats.org/officeDocument/2006/relationships/slide" Target="slides/slide29.xml"/><Relationship Id="rId35" Type="http://schemas.openxmlformats.org/officeDocument/2006/relationships/slide" Target="slides/slide30.xml"/><Relationship Id="rId36" Type="http://schemas.openxmlformats.org/officeDocument/2006/relationships/slide" Target="slides/slide31.xml"/><Relationship Id="rId37" Type="http://schemas.openxmlformats.org/officeDocument/2006/relationships/slide" Target="slides/slide32.xml"/><Relationship Id="rId38" Type="http://schemas.openxmlformats.org/officeDocument/2006/relationships/slide" Target="slides/slide33.xml"/><Relationship Id="rId39" Type="http://schemas.openxmlformats.org/officeDocument/2006/relationships/slide" Target="slides/slide34.xml"/><Relationship Id="rId40" Type="http://schemas.openxmlformats.org/officeDocument/2006/relationships/slide" Target="slides/slide35.xml"/><Relationship Id="rId41" Type="http://schemas.openxmlformats.org/officeDocument/2006/relationships/slide" Target="slides/slide36.xml"/><Relationship Id="rId42" Type="http://schemas.openxmlformats.org/officeDocument/2006/relationships/slide" Target="slides/slide37.xml"/><Relationship Id="rId43" Type="http://schemas.openxmlformats.org/officeDocument/2006/relationships/slide" Target="slides/slide38.xml"/><Relationship Id="rId44" Type="http://schemas.openxmlformats.org/officeDocument/2006/relationships/slide" Target="slides/slide39.xml"/><Relationship Id="rId45" Type="http://schemas.openxmlformats.org/officeDocument/2006/relationships/slide" Target="slides/slide40.xml"/><Relationship Id="rId46" Type="http://schemas.openxmlformats.org/officeDocument/2006/relationships/slide" Target="slides/slide41.xml"/><Relationship Id="rId47" Type="http://schemas.openxmlformats.org/officeDocument/2006/relationships/slide" Target="slides/slide42.xml"/><Relationship Id="rId48" Type="http://schemas.openxmlformats.org/officeDocument/2006/relationships/slide" Target="slides/slide43.xml"/><Relationship Id="rId49" Type="http://schemas.openxmlformats.org/officeDocument/2006/relationships/slide" Target="slides/slide44.xml"/><Relationship Id="rId50" Type="http://schemas.openxmlformats.org/officeDocument/2006/relationships/slide" Target="slides/slide45.xml"/><Relationship Id="rId51" Type="http://schemas.openxmlformats.org/officeDocument/2006/relationships/slide" Target="slides/slide46.xml"/><Relationship Id="rId52" Type="http://schemas.openxmlformats.org/officeDocument/2006/relationships/slide" Target="slides/slide47.xml"/><Relationship Id="rId53" Type="http://schemas.openxmlformats.org/officeDocument/2006/relationships/slide" Target="slides/slide48.xml"/><Relationship Id="rId54" Type="http://schemas.openxmlformats.org/officeDocument/2006/relationships/slide" Target="slides/slide49.xml"/><Relationship Id="rId55" Type="http://schemas.openxmlformats.org/officeDocument/2006/relationships/slide" Target="slides/slide50.xml"/><Relationship Id="rId56" Type="http://schemas.openxmlformats.org/officeDocument/2006/relationships/slide" Target="slides/slide51.xml"/><Relationship Id="rId57" Type="http://schemas.openxmlformats.org/officeDocument/2006/relationships/slide" Target="slides/slide52.xml"/><Relationship Id="rId58" Type="http://schemas.openxmlformats.org/officeDocument/2006/relationships/slide" Target="slides/slide53.xml"/><Relationship Id="rId59" Type="http://schemas.openxmlformats.org/officeDocument/2006/relationships/slide" Target="slides/slide54.xml"/><Relationship Id="rId60" Type="http://schemas.openxmlformats.org/officeDocument/2006/relationships/slide" Target="slides/slide55.xml"/><Relationship Id="rId61" Type="http://schemas.openxmlformats.org/officeDocument/2006/relationships/slide" Target="slides/slide56.xml"/><Relationship Id="rId62" Type="http://schemas.openxmlformats.org/officeDocument/2006/relationships/slide" Target="slides/slide57.xml"/><Relationship Id="rId63" Type="http://schemas.openxmlformats.org/officeDocument/2006/relationships/slide" Target="slides/slide58.xml"/><Relationship Id="rId64" Type="http://schemas.openxmlformats.org/officeDocument/2006/relationships/slide" Target="slides/slide59.xml"/><Relationship Id="rId65" Type="http://schemas.openxmlformats.org/officeDocument/2006/relationships/slide" Target="slides/slide60.xml"/><Relationship Id="rId66" Type="http://schemas.openxmlformats.org/officeDocument/2006/relationships/slide" Target="slides/slide61.xml"/><Relationship Id="rId67" Type="http://schemas.openxmlformats.org/officeDocument/2006/relationships/slide" Target="slides/slide62.xml"/><Relationship Id="rId68" Type="http://schemas.openxmlformats.org/officeDocument/2006/relationships/slide" Target="slides/slide63.xml"/><Relationship Id="rId69" Type="http://schemas.openxmlformats.org/officeDocument/2006/relationships/slide" Target="slides/slide64.xml"/><Relationship Id="rId70" Type="http://schemas.openxmlformats.org/officeDocument/2006/relationships/slide" Target="slides/slide65.xml"/><Relationship Id="rId71" Type="http://schemas.openxmlformats.org/officeDocument/2006/relationships/slide" Target="slides/slide66.xml"/><Relationship Id="rId72" Type="http://schemas.openxmlformats.org/officeDocument/2006/relationships/slide" Target="slides/slide67.xml"/><Relationship Id="rId73" Type="http://schemas.openxmlformats.org/officeDocument/2006/relationships/slide" Target="slides/slide68.xml"/><Relationship Id="rId74" Type="http://schemas.openxmlformats.org/officeDocument/2006/relationships/slide" Target="slides/slide69.xml"/><Relationship Id="rId75" Type="http://schemas.openxmlformats.org/officeDocument/2006/relationships/slide" Target="slides/slide70.xml"/><Relationship Id="rId76" Type="http://schemas.openxmlformats.org/officeDocument/2006/relationships/slide" Target="slides/slide71.xml"/><Relationship Id="rId77" Type="http://schemas.openxmlformats.org/officeDocument/2006/relationships/slide" Target="slides/slide72.xml"/><Relationship Id="rId78" Type="http://schemas.openxmlformats.org/officeDocument/2006/relationships/slide" Target="slides/slide73.xml"/><Relationship Id="rId79" Type="http://schemas.openxmlformats.org/officeDocument/2006/relationships/slide" Target="slides/slide74.xml"/><Relationship Id="rId80" Type="http://schemas.openxmlformats.org/officeDocument/2006/relationships/slide" Target="slides/slide75.xml"/><Relationship Id="rId81" Type="http://schemas.openxmlformats.org/officeDocument/2006/relationships/slide" Target="slides/slide76.xml"/><Relationship Id="rId82" Type="http://schemas.openxmlformats.org/officeDocument/2006/relationships/slide" Target="slides/slide77.xml"/><Relationship Id="rId83" Type="http://schemas.openxmlformats.org/officeDocument/2006/relationships/slide" Target="slides/slide78.xml"/><Relationship Id="rId84" Type="http://schemas.openxmlformats.org/officeDocument/2006/relationships/slide" Target="slides/slide79.xml"/><Relationship Id="rId85" Type="http://schemas.openxmlformats.org/officeDocument/2006/relationships/slide" Target="slides/slide80.xml"/><Relationship Id="rId86" Type="http://schemas.openxmlformats.org/officeDocument/2006/relationships/slide" Target="slides/slide81.xml"/><Relationship Id="rId87" Type="http://schemas.openxmlformats.org/officeDocument/2006/relationships/slide" Target="slides/slide82.xml"/><Relationship Id="rId88" Type="http://schemas.openxmlformats.org/officeDocument/2006/relationships/slide" Target="slides/slide83.xml"/><Relationship Id="rId89" Type="http://schemas.openxmlformats.org/officeDocument/2006/relationships/slide" Target="slides/slide84.xml"/><Relationship Id="rId90" Type="http://schemas.openxmlformats.org/officeDocument/2006/relationships/slide" Target="slides/slide85.xml"/><Relationship Id="rId91" Type="http://schemas.openxmlformats.org/officeDocument/2006/relationships/slide" Target="slides/slide86.xml"/><Relationship Id="rId92" Type="http://schemas.openxmlformats.org/officeDocument/2006/relationships/slide" Target="slides/slide87.xml"/><Relationship Id="rId93" Type="http://schemas.openxmlformats.org/officeDocument/2006/relationships/slide" Target="slides/slide88.xml"/><Relationship Id="rId94" Type="http://schemas.openxmlformats.org/officeDocument/2006/relationships/slide" Target="slides/slide89.xml"/><Relationship Id="rId95" Type="http://schemas.openxmlformats.org/officeDocument/2006/relationships/slide" Target="slides/slide90.xml"/><Relationship Id="rId96" Type="http://schemas.openxmlformats.org/officeDocument/2006/relationships/slide" Target="slides/slide91.xml"/><Relationship Id="rId97" Type="http://schemas.openxmlformats.org/officeDocument/2006/relationships/slide" Target="slides/slide92.xml"/><Relationship Id="rId98" Type="http://schemas.openxmlformats.org/officeDocument/2006/relationships/slide" Target="slides/slide93.xml"/><Relationship Id="rId99" Type="http://schemas.openxmlformats.org/officeDocument/2006/relationships/slide" Target="slides/slide94.xml"/><Relationship Id="rId100" Type="http://schemas.openxmlformats.org/officeDocument/2006/relationships/slide" Target="slides/slide95.xml"/><Relationship Id="rId101" Type="http://schemas.openxmlformats.org/officeDocument/2006/relationships/slide" Target="slides/slide96.xml"/><Relationship Id="rId102" Type="http://schemas.openxmlformats.org/officeDocument/2006/relationships/slide" Target="slides/slide97.xml"/><Relationship Id="rId103" Type="http://schemas.openxmlformats.org/officeDocument/2006/relationships/slide" Target="slides/slide98.xml"/><Relationship Id="rId104" Type="http://schemas.openxmlformats.org/officeDocument/2006/relationships/slide" Target="slides/slide99.xml"/><Relationship Id="rId105" Type="http://schemas.openxmlformats.org/officeDocument/2006/relationships/slide" Target="slides/slide100.xml"/><Relationship Id="rId106" Type="http://schemas.openxmlformats.org/officeDocument/2006/relationships/slide" Target="slides/slide101.xml"/><Relationship Id="rId107" Type="http://schemas.openxmlformats.org/officeDocument/2006/relationships/slide" Target="slides/slide102.xml"/><Relationship Id="rId108" Type="http://schemas.openxmlformats.org/officeDocument/2006/relationships/slide" Target="slides/slide103.xml"/><Relationship Id="rId109" Type="http://schemas.openxmlformats.org/officeDocument/2006/relationships/slide" Target="slides/slide104.xml"/><Relationship Id="rId110" Type="http://schemas.openxmlformats.org/officeDocument/2006/relationships/slide" Target="slides/slide105.xml"/><Relationship Id="rId111" Type="http://schemas.openxmlformats.org/officeDocument/2006/relationships/slide" Target="slides/slide106.xml"/><Relationship Id="rId112" Type="http://schemas.openxmlformats.org/officeDocument/2006/relationships/slide" Target="slides/slide107.xml"/><Relationship Id="rId113" Type="http://schemas.openxmlformats.org/officeDocument/2006/relationships/slide" Target="slides/slide108.xml"/><Relationship Id="rId114" Type="http://schemas.openxmlformats.org/officeDocument/2006/relationships/slide" Target="slides/slide109.xml"/><Relationship Id="rId115" Type="http://schemas.openxmlformats.org/officeDocument/2006/relationships/slide" Target="slides/slide110.xml"/><Relationship Id="rId116" Type="http://schemas.openxmlformats.org/officeDocument/2006/relationships/slide" Target="slides/slide111.xml"/><Relationship Id="rId117" Type="http://schemas.openxmlformats.org/officeDocument/2006/relationships/slide" Target="slides/slide112.xml"/><Relationship Id="rId118" Type="http://schemas.openxmlformats.org/officeDocument/2006/relationships/slide" Target="slides/slide113.xml"/><Relationship Id="rId119" Type="http://schemas.openxmlformats.org/officeDocument/2006/relationships/slide" Target="slides/slide114.xml"/><Relationship Id="rId120" Type="http://schemas.openxmlformats.org/officeDocument/2006/relationships/slide" Target="slides/slide115.xml"/><Relationship Id="rId121" Type="http://schemas.openxmlformats.org/officeDocument/2006/relationships/slide" Target="slides/slide116.xml"/><Relationship Id="rId122" Type="http://schemas.openxmlformats.org/officeDocument/2006/relationships/slide" Target="slides/slide117.xml"/><Relationship Id="rId123" Type="http://schemas.openxmlformats.org/officeDocument/2006/relationships/slide" Target="slides/slide118.xml"/><Relationship Id="rId124" Type="http://schemas.openxmlformats.org/officeDocument/2006/relationships/slide" Target="slides/slide119.xml"/><Relationship Id="rId125" Type="http://schemas.openxmlformats.org/officeDocument/2006/relationships/slide" Target="slides/slide120.xml"/><Relationship Id="rId126" Type="http://schemas.openxmlformats.org/officeDocument/2006/relationships/slide" Target="slides/slide121.xml"/><Relationship Id="rId127" Type="http://schemas.openxmlformats.org/officeDocument/2006/relationships/slide" Target="slides/slide122.xml"/><Relationship Id="rId128" Type="http://schemas.openxmlformats.org/officeDocument/2006/relationships/slide" Target="slides/slide123.xml"/><Relationship Id="rId129" Type="http://schemas.openxmlformats.org/officeDocument/2006/relationships/slide" Target="slides/slide124.xml"/><Relationship Id="rId130" Type="http://schemas.openxmlformats.org/officeDocument/2006/relationships/slide" Target="slides/slide125.xml"/><Relationship Id="rId131" Type="http://schemas.openxmlformats.org/officeDocument/2006/relationships/slide" Target="slides/slide126.xml"/><Relationship Id="rId132" Type="http://schemas.openxmlformats.org/officeDocument/2006/relationships/slide" Target="slides/slide127.xml"/><Relationship Id="rId133" Type="http://schemas.openxmlformats.org/officeDocument/2006/relationships/slide" Target="slides/slide128.xml"/><Relationship Id="rId134" Type="http://schemas.openxmlformats.org/officeDocument/2006/relationships/slide" Target="slides/slide129.xml"/><Relationship Id="rId135" Type="http://schemas.openxmlformats.org/officeDocument/2006/relationships/slide" Target="slides/slide130.xml"/><Relationship Id="rId136" Type="http://schemas.openxmlformats.org/officeDocument/2006/relationships/slide" Target="slides/slide131.xml"/><Relationship Id="rId137" Type="http://schemas.openxmlformats.org/officeDocument/2006/relationships/slide" Target="slides/slide132.xml"/><Relationship Id="rId138" Type="http://schemas.openxmlformats.org/officeDocument/2006/relationships/slide" Target="slides/slide133.xml"/><Relationship Id="rId139" Type="http://schemas.openxmlformats.org/officeDocument/2006/relationships/slide" Target="slides/slide134.xml"/><Relationship Id="rId140" Type="http://schemas.openxmlformats.org/officeDocument/2006/relationships/slide" Target="slides/slide135.xml"/><Relationship Id="rId141" Type="http://schemas.openxmlformats.org/officeDocument/2006/relationships/slide" Target="slides/slide136.xml"/><Relationship Id="rId142" Type="http://schemas.openxmlformats.org/officeDocument/2006/relationships/slide" Target="slides/slide137.xml"/><Relationship Id="rId143" Type="http://schemas.openxmlformats.org/officeDocument/2006/relationships/slide" Target="slides/slide138.xml"/><Relationship Id="rId144" Type="http://schemas.openxmlformats.org/officeDocument/2006/relationships/notesMaster" Target="notesMasters/notesMaster1.xml"/><Relationship Id="rId145" Type="http://schemas.openxmlformats.org/officeDocument/2006/relationships/presProps" Target="presProps.xml"/><Relationship Id="rId146" Type="http://schemas.openxmlformats.org/officeDocument/2006/relationships/viewProps" Target="viewProps.xml"/><Relationship Id="rId147" Type="http://schemas.openxmlformats.org/officeDocument/2006/relationships/theme" Target="theme/theme1.xml"/><Relationship Id="rId148" Type="http://schemas.openxmlformats.org/officeDocument/2006/relationships/tableStyles" Target="tableStyles.xml"/><Relationship Id="rId149" Type="http://schemas.microsoft.com/office/2015/10/relationships/revisionInfo" Target="revisionInfo.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364410230249504"/>
          <c:y val="2.7170386339721821E-2"/>
          <c:w val="0.86774252569994759"/>
          <c:h val="0.85363091822778381"/>
        </c:manualLayout>
      </c:layout>
      <c:scatterChart>
        <c:scatterStyle val="lineMarker"/>
        <c:varyColors val="0"/>
        <c:ser>
          <c:idx val="0"/>
          <c:order val="0"/>
          <c:tx>
            <c:strRef>
              <c:f>Sheet1!$B$1</c:f>
              <c:strCache>
                <c:ptCount val="1"/>
                <c:pt idx="0">
                  <c:v>PE up</c:v>
                </c:pt>
              </c:strCache>
            </c:strRef>
          </c:tx>
          <c:spPr>
            <a:ln w="9525" cap="rnd">
              <a:noFill/>
              <a:round/>
            </a:ln>
            <a:effectLst/>
          </c:spPr>
          <c:marker>
            <c:symbol val="circle"/>
            <c:size val="9"/>
            <c:spPr>
              <a:solidFill>
                <a:schemeClr val="tx1"/>
              </a:solidFill>
              <a:ln w="19050">
                <a:solidFill>
                  <a:schemeClr val="bg1"/>
                </a:solidFill>
              </a:ln>
              <a:effectLst/>
            </c:spPr>
          </c:marker>
          <c:dPt>
            <c:idx val="0"/>
            <c:bubble3D val="0"/>
            <c:extLst>
              <c:ext xmlns:c16="http://schemas.microsoft.com/office/drawing/2014/chart" uri="{C3380CC4-5D6E-409C-BE32-E72D297353CC}">
                <c16:uniqueId val="{00000000-B0D5-4750-8C19-9F9BE9CE2B4F}"/>
              </c:ext>
            </c:extLst>
          </c:dPt>
          <c:dPt>
            <c:idx val="1"/>
            <c:bubble3D val="0"/>
            <c:extLst>
              <c:ext xmlns:c16="http://schemas.microsoft.com/office/drawing/2014/chart" uri="{C3380CC4-5D6E-409C-BE32-E72D297353CC}">
                <c16:uniqueId val="{00000001-B0D5-4750-8C19-9F9BE9CE2B4F}"/>
              </c:ext>
            </c:extLst>
          </c:dPt>
          <c:dPt>
            <c:idx val="2"/>
            <c:bubble3D val="0"/>
            <c:extLst>
              <c:ext xmlns:c16="http://schemas.microsoft.com/office/drawing/2014/chart" uri="{C3380CC4-5D6E-409C-BE32-E72D297353CC}">
                <c16:uniqueId val="{00000002-B0D5-4750-8C19-9F9BE9CE2B4F}"/>
              </c:ext>
            </c:extLst>
          </c:dPt>
          <c:dPt>
            <c:idx val="3"/>
            <c:bubble3D val="0"/>
            <c:extLst>
              <c:ext xmlns:c16="http://schemas.microsoft.com/office/drawing/2014/chart" uri="{C3380CC4-5D6E-409C-BE32-E72D297353CC}">
                <c16:uniqueId val="{00000003-B0D5-4750-8C19-9F9BE9CE2B4F}"/>
              </c:ext>
            </c:extLst>
          </c:dPt>
          <c:dPt>
            <c:idx val="4"/>
            <c:bubble3D val="0"/>
            <c:extLst>
              <c:ext xmlns:c16="http://schemas.microsoft.com/office/drawing/2014/chart" uri="{C3380CC4-5D6E-409C-BE32-E72D297353CC}">
                <c16:uniqueId val="{00000004-B0D5-4750-8C19-9F9BE9CE2B4F}"/>
              </c:ext>
            </c:extLst>
          </c:dPt>
          <c:dPt>
            <c:idx val="5"/>
            <c:bubble3D val="0"/>
            <c:extLst>
              <c:ext xmlns:c16="http://schemas.microsoft.com/office/drawing/2014/chart" uri="{C3380CC4-5D6E-409C-BE32-E72D297353CC}">
                <c16:uniqueId val="{00000005-B0D5-4750-8C19-9F9BE9CE2B4F}"/>
              </c:ext>
            </c:extLst>
          </c:dPt>
          <c:dPt>
            <c:idx val="6"/>
            <c:bubble3D val="0"/>
            <c:extLst>
              <c:ext xmlns:c16="http://schemas.microsoft.com/office/drawing/2014/chart" uri="{C3380CC4-5D6E-409C-BE32-E72D297353CC}">
                <c16:uniqueId val="{00000006-B0D5-4750-8C19-9F9BE9CE2B4F}"/>
              </c:ext>
            </c:extLst>
          </c:dPt>
          <c:dPt>
            <c:idx val="7"/>
            <c:bubble3D val="0"/>
            <c:extLst>
              <c:ext xmlns:c16="http://schemas.microsoft.com/office/drawing/2014/chart" uri="{C3380CC4-5D6E-409C-BE32-E72D297353CC}">
                <c16:uniqueId val="{00000007-B0D5-4750-8C19-9F9BE9CE2B4F}"/>
              </c:ext>
            </c:extLst>
          </c:dPt>
          <c:dPt>
            <c:idx val="9"/>
            <c:bubble3D val="0"/>
            <c:extLst>
              <c:ext xmlns:c16="http://schemas.microsoft.com/office/drawing/2014/chart" uri="{C3380CC4-5D6E-409C-BE32-E72D297353CC}">
                <c16:uniqueId val="{0000000C-B0D5-4750-8C19-9F9BE9CE2B4F}"/>
              </c:ext>
            </c:extLst>
          </c:dPt>
          <c:dPt>
            <c:idx val="12"/>
            <c:bubble3D val="0"/>
            <c:extLst>
              <c:ext xmlns:c16="http://schemas.microsoft.com/office/drawing/2014/chart" uri="{C3380CC4-5D6E-409C-BE32-E72D297353CC}">
                <c16:uniqueId val="{00000009-B0D5-4750-8C19-9F9BE9CE2B4F}"/>
              </c:ext>
            </c:extLst>
          </c:dPt>
          <c:dPt>
            <c:idx val="13"/>
            <c:bubble3D val="0"/>
            <c:extLst>
              <c:ext xmlns:c16="http://schemas.microsoft.com/office/drawing/2014/chart" uri="{C3380CC4-5D6E-409C-BE32-E72D297353CC}">
                <c16:uniqueId val="{0000000A-B0D5-4750-8C19-9F9BE9CE2B4F}"/>
              </c:ext>
            </c:extLst>
          </c:dPt>
          <c:dPt>
            <c:idx val="14"/>
            <c:bubble3D val="0"/>
            <c:extLst>
              <c:ext xmlns:c16="http://schemas.microsoft.com/office/drawing/2014/chart" uri="{C3380CC4-5D6E-409C-BE32-E72D297353CC}">
                <c16:uniqueId val="{0000000B-B0D5-4750-8C19-9F9BE9CE2B4F}"/>
              </c:ext>
            </c:extLst>
          </c:dPt>
          <c:dPt>
            <c:idx val="16"/>
            <c:bubble3D val="0"/>
            <c:extLst>
              <c:ext xmlns:c16="http://schemas.microsoft.com/office/drawing/2014/chart" uri="{C3380CC4-5D6E-409C-BE32-E72D297353CC}">
                <c16:uniqueId val="{00000012-B0D5-4750-8C19-9F9BE9CE2B4F}"/>
              </c:ext>
            </c:extLst>
          </c:dPt>
          <c:dLbls>
            <c:dLbl>
              <c:idx val="0"/>
              <c:tx>
                <c:rich>
                  <a:bodyPr/>
                  <a:lstStyle/>
                  <a:p>
                    <a:r>
                      <a:t>Schick</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B0D5-4750-8C19-9F9BE9CE2B4F}"/>
                </c:ext>
              </c:extLst>
            </c:dLbl>
            <c:dLbl>
              <c:idx val="1"/>
              <c:tx>
                <c:rich>
                  <a:bodyPr/>
                  <a:lstStyle/>
                  <a:p>
                    <a:r>
                      <a:t>Equate</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B0D5-4750-8C19-9F9BE9CE2B4F}"/>
                </c:ext>
              </c:extLst>
            </c:dLbl>
            <c:dLbl>
              <c:idx val="2"/>
              <c:tx>
                <c:rich>
                  <a:bodyPr/>
                  <a:lstStyle/>
                  <a:p>
                    <a:r>
                      <a:t>Gillette</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B0D5-4750-8C19-9F9BE9CE2B4F}"/>
                </c:ext>
              </c:extLst>
            </c:dLbl>
            <c:dLbl>
              <c:idx val="3"/>
              <c:tx>
                <c:rich>
                  <a:bodyPr/>
                  <a:lstStyle/>
                  <a:p>
                    <a:r>
                      <a:t>Bic</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B0D5-4750-8C19-9F9BE9CE2B4F}"/>
                </c:ext>
              </c:extLst>
            </c:dLbl>
            <c:dLbl>
              <c:idx val="4"/>
              <c:tx>
                <c:rich>
                  <a:bodyPr/>
                  <a:lstStyle/>
                  <a:p>
                    <a:r>
                      <a:t>Harrys</a:t>
                    </a:r>
                  </a:p>
                </c:rich>
              </c:tx>
              <c:dLblPos val="t"/>
              <c:showLegendKey val="0"/>
              <c:showVal val="0"/>
              <c:showCatName val="0"/>
              <c:showSerName val="0"/>
              <c:showPercent val="0"/>
              <c:showBubbleSize val="0"/>
              <c:extLst>
                <c:ext xmlns:c15="http://schemas.microsoft.com/office/drawing/2012/chart" uri="{CE6537A1-D6FC-4f65-9D91-7224C49458BB}">
                  <c15:layout>
                    <c:manualLayout>
                      <c:w val="5.6451516574947062E-2"/>
                      <c:h val="5.3314955203308069E-2"/>
                    </c:manualLayout>
                  </c15:layout>
                  <c15:showDataLabelsRange val="1"/>
                </c:ext>
                <c:ext xmlns:c16="http://schemas.microsoft.com/office/drawing/2014/chart" uri="{C3380CC4-5D6E-409C-BE32-E72D297353CC}">
                  <c16:uniqueId val="{00000004-B0D5-4750-8C19-9F9BE9CE2B4F}"/>
                </c:ext>
              </c:extLst>
            </c:dLbl>
            <c:dLbl>
              <c:idx val="5"/>
              <c:tx>
                <c:rich>
                  <a:bodyPr/>
                  <a:lstStyle/>
                  <a:p>
                    <a:r>
                      <a:t>Dollar Shave Club</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B0D5-4750-8C19-9F9BE9CE2B4F}"/>
                </c:ext>
              </c:extLst>
            </c:dLbl>
            <c:dLbl>
              <c:idx val="6"/>
              <c:tx>
                <c:rich>
                  <a:bodyPr/>
                  <a:lstStyle/>
                  <a:p>
                    <a:r>
                      <a:t>Van Der Hagen</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B0D5-4750-8C19-9F9BE9CE2B4F}"/>
                </c:ext>
              </c:extLst>
            </c:dLbl>
            <c:dLbl>
              <c:idx val="7"/>
              <c:tx>
                <c:rich>
                  <a:bodyPr/>
                  <a:lstStyle/>
                  <a:p>
                    <a:r>
                      <a:t>Not included</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B0D5-4750-8C19-9F9BE9CE2B4F}"/>
                </c:ext>
              </c:extLst>
            </c:dLbl>
            <c:dLbl>
              <c:idx val="8"/>
              <c:tx>
                <c:rich>
                  <a:bodyPr/>
                  <a:lstStyle/>
                  <a:p>
                    <a:r>
                      <a:rPr lang="en-US"/>
                      <a:t>Reese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D362-4FD3-9AF9-43BE4338AF3D}"/>
                </c:ext>
              </c:extLst>
            </c:dLbl>
            <c:dLbl>
              <c:idx val="9"/>
              <c:tx>
                <c:rich>
                  <a:bodyPr/>
                  <a:lstStyle/>
                  <a:p>
                    <a:r>
                      <a:rPr lang="en-US"/>
                      <a:t>Kinder</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B0D5-4750-8C19-9F9BE9CE2B4F}"/>
                </c:ext>
              </c:extLst>
            </c:dLbl>
            <c:dLbl>
              <c:idx val="10"/>
              <c:tx>
                <c:rich>
                  <a:bodyPr/>
                  <a:lstStyle/>
                  <a:p>
                    <a:r>
                      <a:rPr lang="en-US"/>
                      <a:t>Kit Kat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D362-4FD3-9AF9-43BE4338AF3D}"/>
                </c:ext>
              </c:extLst>
            </c:dLbl>
            <c:dLbl>
              <c:idx val="11"/>
              <c:tx>
                <c:rich>
                  <a:bodyPr/>
                  <a:lstStyle/>
                  <a:p>
                    <a:r>
                      <a:rPr lang="en-US"/>
                      <a:t>M&amp;M'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D362-4FD3-9AF9-43BE4338AF3D}"/>
                </c:ext>
              </c:extLst>
            </c:dLbl>
            <c:dLbl>
              <c:idx val="12"/>
              <c:tx>
                <c:rich>
                  <a:bodyPr/>
                  <a:lstStyle/>
                  <a:p>
                    <a:r>
                      <a:rPr lang="en-US"/>
                      <a:t>Mackintosh</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B0D5-4750-8C19-9F9BE9CE2B4F}"/>
                </c:ext>
              </c:extLst>
            </c:dLbl>
            <c:dLbl>
              <c:idx val="13"/>
              <c:tx>
                <c:rich>
                  <a:bodyPr/>
                  <a:lstStyle/>
                  <a:p>
                    <a:r>
                      <a:rPr lang="en-US"/>
                      <a:t>Maltese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0D5-4750-8C19-9F9BE9CE2B4F}"/>
                </c:ext>
              </c:extLst>
            </c:dLbl>
            <c:dLbl>
              <c:idx val="14"/>
              <c:tx>
                <c:rich>
                  <a:bodyPr/>
                  <a:lstStyle/>
                  <a:p>
                    <a:r>
                      <a:rPr lang="en-US"/>
                      <a:t>Ma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B0D5-4750-8C19-9F9BE9CE2B4F}"/>
                </c:ext>
              </c:extLst>
            </c:dLbl>
            <c:dLbl>
              <c:idx val="15"/>
              <c:tx>
                <c:rich>
                  <a:bodyPr/>
                  <a:lstStyle/>
                  <a:p>
                    <a:r>
                      <a:rPr lang="en-US"/>
                      <a:t>Snickers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2704-469A-BFAC-FD9CF5DB2713}"/>
                </c:ext>
              </c:extLst>
            </c:dLbl>
            <c:dLbl>
              <c:idx val="16"/>
              <c:tx>
                <c:rich>
                  <a:bodyPr/>
                  <a:lstStyle/>
                  <a:p>
                    <a:r>
                      <a:rPr lang="en-US"/>
                      <a:t>Tiffany</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B0D5-4750-8C19-9F9BE9CE2B4F}"/>
                </c:ext>
              </c:extLst>
            </c:dLbl>
            <c:dLbl>
              <c:idx val="17"/>
              <c:tx>
                <c:rich>
                  <a:bodyPr/>
                  <a:lstStyle/>
                  <a:p>
                    <a:r>
                      <a:rPr lang="en-US"/>
                      <a:t>Toblerone</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2704-469A-BFAC-FD9CF5DB2713}"/>
                </c:ext>
              </c:extLst>
            </c:dLbl>
            <c:dLbl>
              <c:idx val="18"/>
              <c:tx>
                <c:rich>
                  <a:bodyPr/>
                  <a:lstStyle/>
                  <a:p>
                    <a:r>
                      <a:rPr lang="en-US"/>
                      <a:t>Twix</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2704-469A-BFAC-FD9CF5DB2713}"/>
                </c:ext>
              </c:extLst>
            </c:dLbl>
            <c:spPr>
              <a:noFill/>
              <a:ln>
                <a:noFill/>
              </a:ln>
              <a:effectLst/>
            </c:spPr>
            <c:txPr>
              <a:bodyPr rot="0" spcFirstLastPara="1" vertOverflow="ellipsis" vert="horz" wrap="non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0"/>
              </c:ext>
            </c:extLst>
          </c:dLbls>
          <c:xVal>
            <c:numRef>
              <c:f>Sheet1!$A$2:$A$9</c:f>
              <c:numCache>
                <c:formatCode>General</c:formatCode>
                <c:ptCount val="8"/>
                <c:pt idx="0">
                  <c:v>-0.6685703291851004</c:v>
                </c:pt>
                <c:pt idx="1">
                  <c:v>-0.21363895702525393</c:v>
                </c:pt>
                <c:pt idx="2">
                  <c:v>-0.5383520493111823</c:v>
                </c:pt>
                <c:pt idx="3">
                  <c:v>-0.4566461578336188</c:v>
                </c:pt>
                <c:pt idx="4">
                  <c:v>-0.4101174860345041</c:v>
                </c:pt>
                <c:pt idx="5">
                  <c:v>-0.9105738721936264</c:v>
                </c:pt>
                <c:pt idx="6">
                  <c:v>-0.22432378722084048</c:v>
                </c:pt>
                <c:pt idx="7">
                  <c:v>-</c:v>
                </c:pt>
              </c:numCache>
            </c:numRef>
          </c:xVal>
          <c:yVal>
            <c:numRef>
              <c:f>Sheet1!$B$2:$B$9</c:f>
              <c:numCache>
                <c:formatCode>General</c:formatCode>
                <c:ptCount val="8"/>
                <c:pt idx="0">
                  <c:v>-1.0765741891563563</c:v>
                </c:pt>
                <c:pt idx="1">
                  <c:v>-0.23457935214662312</c:v>
                </c:pt>
                <c:pt idx="2">
                  <c:v>-0.4574702408276894</c:v>
                </c:pt>
                <c:pt idx="3">
                  <c:v>-0.4279086077489828</c:v>
                </c:pt>
                <c:pt idx="4">
                  <c:v>-0.45967432796842084</c:v>
                </c:pt>
                <c:pt idx="5">
                  <c:v>-0.7049447033552961</c:v>
                </c:pt>
                <c:pt idx="6">
                  <c:v>-0.1653571983008474</c:v>
                </c:pt>
                <c:pt idx="7">
                  <c:v>-</c:v>
                </c:pt>
              </c:numCache>
            </c:numRef>
          </c:yVal>
          <c:smooth val="0"/>
          <c:extLst>
            <c:ext xmlns:c15="http://schemas.microsoft.com/office/drawing/2012/chart" uri="{02D57815-91ED-43cb-92C2-25804820EDAC}">
              <c15:datalabelsRange>
                <c15:f>Sheet1!$C$2:$C$16</c15:f>
                <c15:dlblRangeCache>
                  <c:ptCount val="15"/>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15:dlblRangeCache>
              </c15:datalabelsRange>
            </c:ext>
            <c:ext xmlns:c16="http://schemas.microsoft.com/office/drawing/2014/chart" uri="{C3380CC4-5D6E-409C-BE32-E72D297353CC}">
              <c16:uniqueId val="{0000000E-B0D5-4750-8C19-9F9BE9CE2B4F}"/>
            </c:ext>
          </c:extLst>
        </c:ser>
        <c:dLbls>
          <c:dLblPos val="t"/>
          <c:showLegendKey val="0"/>
          <c:showVal val="1"/>
          <c:showCatName val="0"/>
          <c:showSerName val="0"/>
          <c:showPercent val="0"/>
          <c:showBubbleSize val="0"/>
        </c:dLbls>
        <c:axId val="1923850352"/>
        <c:axId val="1923855760"/>
      </c:scatterChart>
      <c:valAx>
        <c:axId val="1923850352"/>
        <c:scaling>
          <c:orientation val="maxMin"/>
          <c:max val="0"/>
        </c:scaling>
        <c:delete val="0"/>
        <c:axPos val="t"/>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5760"/>
        <c:crossesAt val="-1"/>
        <c:crossBetween val="midCat"/>
      </c:valAx>
      <c:valAx>
        <c:axId val="1923855760"/>
        <c:scaling>
          <c:orientation val="maxMin"/>
        </c:scaling>
        <c:delete val="0"/>
        <c:axPos val="r"/>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0352"/>
        <c:crossesAt val="-1"/>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Gillette Dispo (17.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Bic Dispo (16.9%)</c:v>
                </c:pt>
                <c:pt idx="1">
                  <c:v>Schick Dispo (8.1%)</c:v>
                </c:pt>
                <c:pt idx="2">
                  <c:v>Equate Dispo (19.1%)</c:v>
                </c:pt>
                <c:pt idx="3">
                  <c:v>Gillette Razor (13.9%)</c:v>
                </c:pt>
                <c:pt idx="4">
                  <c:v>Gillette Blade (7.3%)</c:v>
                </c:pt>
                <c:pt idx="5">
                  <c:v>Schick Razor (2.1%)</c:v>
                </c:pt>
                <c:pt idx="6">
                  <c:v>Dollar Shave Club Razor (2.0%)</c:v>
                </c:pt>
                <c:pt idx="7">
                  <c:v>Harrys Razor (6.2%)</c:v>
                </c:pt>
                <c:pt idx="8">
                  <c:v>Harrys Blade (5.0%)</c:v>
                </c:pt>
                <c:pt idx="9">
                  <c:v>Equate Razor (1.1%)</c:v>
                </c:pt>
              </c:strCache>
            </c:strRef>
          </c:cat>
          <c:val>
            <c:numRef>
              <c:f>Sheet1!$B$2:$B$11</c:f>
              <c:numCache>
                <c:formatCode>General</c:formatCode>
                <c:ptCount val="10"/>
                <c:pt idx="0">
                  <c:v>0.32293373140473647</c:v>
                </c:pt>
                <c:pt idx="1">
                  <c:v>0.23346814213687084</c:v>
                </c:pt>
                <c:pt idx="2">
                  <c:v>0.21525211360842933</c:v>
                </c:pt>
                <c:pt idx="3">
                  <c:v>0.07995994972768362</c:v>
                </c:pt>
                <c:pt idx="4">
                  <c:v>0.02439472148000092</c:v>
                </c:pt>
                <c:pt idx="5">
                  <c:v>0.021802942841234997</c:v>
                </c:pt>
                <c:pt idx="6">
                  <c:v>0.01899258663775144</c:v>
                </c:pt>
                <c:pt idx="7">
                  <c:v>0.018694940619616726</c:v>
                </c:pt>
                <c:pt idx="8">
                  <c:v>0.012011472901204549</c:v>
                </c:pt>
                <c:pt idx="9">
                  <c:v>0.008053358525504107</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Equate 5 Blades 1 Handle + 2 Cartridges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quate 2 Blade Disposable Razors 12 Pack (5.7%)</c:v>
                </c:pt>
                <c:pt idx="1">
                  <c:v>Equate 2 Blade Disposable Razors 5 Pack (5.5%)</c:v>
                </c:pt>
                <c:pt idx="2">
                  <c:v>Equate Caliber 5 Disposable Razors 3 Pack (2.2%)</c:v>
                </c:pt>
                <c:pt idx="3">
                  <c:v>Dollar Shave Club 6 1 Handle + 2 Blades (2.0%)</c:v>
                </c:pt>
                <c:pt idx="4">
                  <c:v>None Razors (12.2%)</c:v>
                </c:pt>
                <c:pt idx="5">
                  <c:v>Equate Easy Fit 5 blades 1 Handle + 2 Cartridges (1.1%)</c:v>
                </c:pt>
                <c:pt idx="6">
                  <c:v>Equate Speed 3 Disposable Razors 4 Pack (2.3%)</c:v>
                </c:pt>
                <c:pt idx="7">
                  <c:v>Schick Hydro 5 Blade Sensitive 1 Handle + 3 Cartridges (2.0%)</c:v>
                </c:pt>
                <c:pt idx="8">
                  <c:v>Schick Xtreme 3 Sensitive Disposable Razors 4 Pack (2.8%)</c:v>
                </c:pt>
                <c:pt idx="9">
                  <c:v>Equate Caliber 3 Disposable Razors 3 Pack (1.4%)</c:v>
                </c:pt>
              </c:strCache>
            </c:strRef>
          </c:cat>
          <c:val>
            <c:numRef>
              <c:f>Sheet1!$B$2:$B$11</c:f>
              <c:numCache>
                <c:formatCode>General</c:formatCode>
                <c:ptCount val="10"/>
                <c:pt idx="0">
                  <c:v>0.11848457265279295</c:v>
                </c:pt>
                <c:pt idx="1">
                  <c:v>0.06873053477030962</c:v>
                </c:pt>
                <c:pt idx="2">
                  <c:v>0.0664043399844223</c:v>
                </c:pt>
                <c:pt idx="3">
                  <c:v>0.062279675735963776</c:v>
                </c:pt>
                <c:pt idx="4">
                  <c:v>0.059451486047839425</c:v>
                </c:pt>
                <c:pt idx="5">
                  <c:v>0.05844730571183262</c:v>
                </c:pt>
                <c:pt idx="6">
                  <c:v>0.05762516390609449</c:v>
                </c:pt>
                <c:pt idx="7">
                  <c:v>0.054593784204535305</c:v>
                </c:pt>
                <c:pt idx="8">
                  <c:v>0.04121713369694246</c:v>
                </c:pt>
                <c:pt idx="9">
                  <c:v>0.039635427475442436</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Equate Easy Fit 5 blades 1 Handle + 2 Cartridges (1.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one Razors (12.2%)</c:v>
                </c:pt>
                <c:pt idx="1">
                  <c:v>Equate 2 Blade Disposable Razors 5 Pack (5.5%)</c:v>
                </c:pt>
                <c:pt idx="2">
                  <c:v>Equate 2 Blade Disposable Razors 12 Pack (5.7%)</c:v>
                </c:pt>
                <c:pt idx="3">
                  <c:v>Equate Caliber 5 Disposable Razors 3 Pack (2.2%)</c:v>
                </c:pt>
                <c:pt idx="4">
                  <c:v>Schick Hydro 5 Blade Sensitive 1 Handle + 3 Cartridges (2.0%)</c:v>
                </c:pt>
                <c:pt idx="5">
                  <c:v>Equate Speed 3 Disposable Razors 4 Pack (2.3%)</c:v>
                </c:pt>
                <c:pt idx="6">
                  <c:v>Dollar Shave Club 6 1 Handle + 2 Blades (2.0%)</c:v>
                </c:pt>
                <c:pt idx="7">
                  <c:v>Bic Men Sensitive Single Blade Disposable Razors 12 Pack (5.7%)</c:v>
                </c:pt>
                <c:pt idx="8">
                  <c:v>Schick Xtreme 3 Sensitive Disposable Razors 4 Pack (2.8%)</c:v>
                </c:pt>
                <c:pt idx="9">
                  <c:v>Gillette Mach 3 1 Handle + 2 Cartridges (2.7%)</c:v>
                </c:pt>
              </c:strCache>
            </c:strRef>
          </c:cat>
          <c:val>
            <c:numRef>
              <c:f>Sheet1!$B$2:$B$11</c:f>
              <c:numCache>
                <c:formatCode>General</c:formatCode>
                <c:ptCount val="10"/>
                <c:pt idx="0">
                  <c:v>0.1092003079238349</c:v>
                </c:pt>
                <c:pt idx="1">
                  <c:v>0.09505042887884108</c:v>
                </c:pt>
                <c:pt idx="2">
                  <c:v>0.08444692725533336</c:v>
                </c:pt>
                <c:pt idx="3">
                  <c:v>0.07862509908554802</c:v>
                </c:pt>
                <c:pt idx="4">
                  <c:v>0.07302540696231552</c:v>
                </c:pt>
                <c:pt idx="5">
                  <c:v>0.04001465840732486</c:v>
                </c:pt>
                <c:pt idx="6">
                  <c:v>0.03905915036461305</c:v>
                </c:pt>
                <c:pt idx="7">
                  <c:v>0.039036979951047907</c:v>
                </c:pt>
                <c:pt idx="8">
                  <c:v>0.033876725263618686</c:v>
                </c:pt>
                <c:pt idx="9">
                  <c:v>0.03271847726697215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Equate Easy Fit 5 blades 1 Handle + 2 Cartridges (1.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quate Caliber 5 Disposable Razors 3 Pack (2.2%)</c:v>
                </c:pt>
                <c:pt idx="1">
                  <c:v>None Razors (12.2%)</c:v>
                </c:pt>
                <c:pt idx="2">
                  <c:v>Equate 2 Blade Disposable Razors 5 Pack (5.5%)</c:v>
                </c:pt>
                <c:pt idx="3">
                  <c:v>Equate 2 Blade Disposable Razors 12 Pack (5.7%)</c:v>
                </c:pt>
                <c:pt idx="4">
                  <c:v>None Blades (83.2%)</c:v>
                </c:pt>
                <c:pt idx="5">
                  <c:v>Bic Men Sensitive Single Blade Disposable Razors 12 Pack (5.7%)</c:v>
                </c:pt>
                <c:pt idx="6">
                  <c:v>Schick Hydro 5 Blade Sensitive 1 Handle + 3 Cartridges (2.0%)</c:v>
                </c:pt>
                <c:pt idx="7">
                  <c:v>Dollar Shave Club 6 1 Handle + 2 Blades (2.0%)</c:v>
                </c:pt>
                <c:pt idx="8">
                  <c:v>Gillette Fusion 5 1 Handle + 2 Cartridges (2.9%)</c:v>
                </c:pt>
                <c:pt idx="9">
                  <c:v>Equate Speed 3 Disposable Razors 4 Pack (2.3%)</c:v>
                </c:pt>
              </c:strCache>
            </c:strRef>
          </c:cat>
          <c:val>
            <c:numRef>
              <c:f>Sheet1!$B$2:$B$11</c:f>
              <c:numCache>
                <c:formatCode>General</c:formatCode>
                <c:ptCount val="10"/>
                <c:pt idx="0">
                  <c:v>0.12217518301140629</c:v>
                </c:pt>
                <c:pt idx="1">
                  <c:v>0.10772091149321655</c:v>
                </c:pt>
                <c:pt idx="2">
                  <c:v>0.08005598205002959</c:v>
                </c:pt>
                <c:pt idx="3">
                  <c:v>0.06786311146548672</c:v>
                </c:pt>
                <c:pt idx="4">
                  <c:v>0.05718102815633256</c:v>
                </c:pt>
                <c:pt idx="5">
                  <c:v>0.04739642224603027</c:v>
                </c:pt>
                <c:pt idx="6">
                  <c:v>0.043879378485660446</c:v>
                </c:pt>
                <c:pt idx="7">
                  <c:v>0.04365896800253377</c:v>
                </c:pt>
                <c:pt idx="8">
                  <c:v>0.03942069105234708</c:v>
                </c:pt>
                <c:pt idx="9">
                  <c:v>0.03879822101270631</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Equate Easy Fit 5 blades 1 Handle + 5 Cartridges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quate Easy Fit 5 blades 1 Handle + 2 Cartridges (1.1%)</c:v>
                </c:pt>
                <c:pt idx="1">
                  <c:v>None Razors (12.2%)</c:v>
                </c:pt>
                <c:pt idx="2">
                  <c:v>Schick Hydro 5 Blade Sensitive 1 Handle + 3 Cartridges (2.0%)</c:v>
                </c:pt>
                <c:pt idx="3">
                  <c:v>Equate Caliber 5 Disposable Razors 3 Pack (2.2%)</c:v>
                </c:pt>
                <c:pt idx="4">
                  <c:v>Gillette Fusion 5 1 Handle + 2 Cartridges (2.9%)</c:v>
                </c:pt>
                <c:pt idx="5">
                  <c:v>Gillette Mach 3 1 Handle + 2 Cartridges (2.7%)</c:v>
                </c:pt>
                <c:pt idx="6">
                  <c:v>Equate 2 Blade Disposable Razors 5 Pack (5.5%)</c:v>
                </c:pt>
                <c:pt idx="7">
                  <c:v>Dollar Shave Club 6 1 Handle + 2 Blades (2.0%)</c:v>
                </c:pt>
                <c:pt idx="8">
                  <c:v>Equate 2 Blade Disposable Razors 12 Pack (5.7%)</c:v>
                </c:pt>
                <c:pt idx="9">
                  <c:v>Gillette Fusion 5 1 Handle + 3 Cartridges Holiday Pack (1.7%)</c:v>
                </c:pt>
              </c:strCache>
            </c:strRef>
          </c:cat>
          <c:val>
            <c:numRef>
              <c:f>Sheet1!$B$2:$B$11</c:f>
              <c:numCache>
                <c:formatCode>General</c:formatCode>
                <c:ptCount val="10"/>
                <c:pt idx="0">
                  <c:v>0.12330803873138775</c:v>
                </c:pt>
                <c:pt idx="1">
                  <c:v>0.09184904021721446</c:v>
                </c:pt>
                <c:pt idx="2">
                  <c:v>0.06650312357264877</c:v>
                </c:pt>
                <c:pt idx="3">
                  <c:v>0.055112156385721964</c:v>
                </c:pt>
                <c:pt idx="4">
                  <c:v>0.05282709380292319</c:v>
                </c:pt>
                <c:pt idx="5">
                  <c:v>0.04483335043803664</c:v>
                </c:pt>
                <c:pt idx="6">
                  <c:v>0.044800073200623146</c:v>
                </c:pt>
                <c:pt idx="7">
                  <c:v>0.04340647223083343</c:v>
                </c:pt>
                <c:pt idx="8">
                  <c:v>0.040745068788541616</c:v>
                </c:pt>
                <c:pt idx="9">
                  <c:v>0.030661312105041756</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Equate Easy Fit 5 blades 1 Handle + 5 Cartridges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quate Easy Fit 5 blades 1 Handle + 2 Cartridges (1.1%)</c:v>
                </c:pt>
                <c:pt idx="1">
                  <c:v>None Razors (12.2%)</c:v>
                </c:pt>
                <c:pt idx="2">
                  <c:v>Schick Hydro 5 Blade Sensitive 1 Handle + 3 Cartridges (2.0%)</c:v>
                </c:pt>
                <c:pt idx="3">
                  <c:v>Gillette Fusion 5 1 Handle + 2 Cartridges (2.9%)</c:v>
                </c:pt>
                <c:pt idx="4">
                  <c:v>Gillette Mach 3 1 Handle + 2 Cartridges (2.7%)</c:v>
                </c:pt>
                <c:pt idx="5">
                  <c:v>Dollar Shave Club 6 1 Handle + 2 Blades (2.0%)</c:v>
                </c:pt>
                <c:pt idx="6">
                  <c:v>Equate Caliber 5 Disposable Razors 3 Pack (2.2%)</c:v>
                </c:pt>
                <c:pt idx="7">
                  <c:v>Harry's 5 Blade 1 Handle + 2 Cartridges (3.9%)</c:v>
                </c:pt>
                <c:pt idx="8">
                  <c:v>Equate 2 Blade Disposable Razors 5 Pack (5.5%)</c:v>
                </c:pt>
                <c:pt idx="9">
                  <c:v>Equate 2 Blade Disposable Razors 12 Pack (5.7%)</c:v>
                </c:pt>
              </c:strCache>
            </c:strRef>
          </c:cat>
          <c:val>
            <c:numRef>
              <c:f>Sheet1!$B$2:$B$11</c:f>
              <c:numCache>
                <c:formatCode>General</c:formatCode>
                <c:ptCount val="10"/>
                <c:pt idx="0">
                  <c:v>0.10747960925480719</c:v>
                </c:pt>
                <c:pt idx="1">
                  <c:v>0.10699988106501258</c:v>
                </c:pt>
                <c:pt idx="2">
                  <c:v>0.07510793691973248</c:v>
                </c:pt>
                <c:pt idx="3">
                  <c:v>0.05866735327585809</c:v>
                </c:pt>
                <c:pt idx="4">
                  <c:v>0.052024653217830126</c:v>
                </c:pt>
                <c:pt idx="5">
                  <c:v>0.046054423934098934</c:v>
                </c:pt>
                <c:pt idx="6">
                  <c:v>0.04004883800105743</c:v>
                </c:pt>
                <c:pt idx="7">
                  <c:v>0.04001595822362849</c:v>
                </c:pt>
                <c:pt idx="8">
                  <c:v>0.034446398920899325</c:v>
                </c:pt>
                <c:pt idx="9">
                  <c:v>0.03324370081871665</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Schick Hydro 3 Blade Ultra Sensitive Refills 5 Pack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one Blades (83.2%)</c:v>
                </c:pt>
                <c:pt idx="1">
                  <c:v>Schick Hydro 5 Blade Sensitive Refills 6 Pack (0.6%)</c:v>
                </c:pt>
                <c:pt idx="2">
                  <c:v>Schick Hydro 5 Blade Sensitive Refills 12 Pack (0.4%)</c:v>
                </c:pt>
                <c:pt idx="3">
                  <c:v>None Razors (12.2%)</c:v>
                </c:pt>
                <c:pt idx="4">
                  <c:v>Schick Xtreme 3 Sensitive Disposable Razors 4 Pack (2.8%)</c:v>
                </c:pt>
                <c:pt idx="5">
                  <c:v>Schick Xtreme 3 Sensitive Disposable Razors 8 Pack (1.7%)</c:v>
                </c:pt>
                <c:pt idx="6">
                  <c:v>Schick Xtreme 2 Sensitive Disposable Razors 12 Pack (2.7%)</c:v>
                </c:pt>
                <c:pt idx="7">
                  <c:v>Equate Speed 3 Disposable Razors 4 Pack (2.3%)</c:v>
                </c:pt>
                <c:pt idx="8">
                  <c:v>Gillette Mach 3 1 Handle + 2 Cartridges (2.7%)</c:v>
                </c:pt>
                <c:pt idx="9">
                  <c:v>Bic Flex 4 Sensitive Skin Disposable Razors 3 Pack (1.7%)</c:v>
                </c:pt>
              </c:strCache>
            </c:strRef>
          </c:cat>
          <c:val>
            <c:numRef>
              <c:f>Sheet1!$B$2:$B$11</c:f>
              <c:numCache>
                <c:formatCode>General</c:formatCode>
                <c:ptCount val="10"/>
                <c:pt idx="0">
                  <c:v>0.5361807529260049</c:v>
                </c:pt>
                <c:pt idx="1">
                  <c:v>0.39275683897200586</c:v>
                </c:pt>
                <c:pt idx="2">
                  <c:v>0.06746780292135363</c:v>
                </c:pt>
                <c:pt idx="3">
                  <c:v>0.006628998531410329</c:v>
                </c:pt>
                <c:pt idx="4">
                  <c:v>0.005855116542691117</c:v>
                </c:pt>
                <c:pt idx="5">
                  <c:v>0.0037156046688832387</c:v>
                </c:pt>
                <c:pt idx="6">
                  <c:v>0.0032000350225531715</c:v>
                </c:pt>
                <c:pt idx="7">
                  <c:v>0.0030883376981724257</c:v>
                </c:pt>
                <c:pt idx="8">
                  <c:v>0.002548864816678429</c:v>
                </c:pt>
                <c:pt idx="9">
                  <c:v>0.002481696875033773</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Schick Hydro 3 Blade Ultra Sensitive Refills 5 Pack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one Blades (83.2%)</c:v>
                </c:pt>
                <c:pt idx="1">
                  <c:v>Schick Hydro 5 Blade Sensitive Refills 6 Pack (0.6%)</c:v>
                </c:pt>
                <c:pt idx="2">
                  <c:v>Schick Hydro 5 Blade Sensitive Refills 12 Pack (0.4%)</c:v>
                </c:pt>
                <c:pt idx="3">
                  <c:v>None Razors (12.2%)</c:v>
                </c:pt>
                <c:pt idx="4">
                  <c:v>Schick Xtreme 3 Sensitive Disposable Razors 4 Pack (2.8%)</c:v>
                </c:pt>
                <c:pt idx="5">
                  <c:v>Schick Xtreme 3 Sensitive Disposable Razors 8 Pack (1.7%)</c:v>
                </c:pt>
                <c:pt idx="6">
                  <c:v>Schick Xtreme 2 Sensitive Disposable Razors 12 Pack (2.7%)</c:v>
                </c:pt>
                <c:pt idx="7">
                  <c:v>Equate Speed 3 Disposable Razors 4 Pack (2.3%)</c:v>
                </c:pt>
                <c:pt idx="8">
                  <c:v>Gillette Mach 3 1 Handle + 2 Cartridges (2.7%)</c:v>
                </c:pt>
                <c:pt idx="9">
                  <c:v>Bic Flex 4 Sensitive Skin Disposable Razors 3 Pack (1.7%)</c:v>
                </c:pt>
              </c:strCache>
            </c:strRef>
          </c:cat>
          <c:val>
            <c:numRef>
              <c:f>Sheet1!$B$2:$B$11</c:f>
              <c:numCache>
                <c:formatCode>General</c:formatCode>
                <c:ptCount val="10"/>
                <c:pt idx="0">
                  <c:v>0.5797156795373767</c:v>
                </c:pt>
                <c:pt idx="1">
                  <c:v>0.358289529448149</c:v>
                </c:pt>
                <c:pt idx="2">
                  <c:v>0.06084165834085929</c:v>
                </c:pt>
                <c:pt idx="3">
                  <c:v>0.0021264765909230305</c:v>
                </c:pt>
                <c:pt idx="4">
                  <c:v>0.001878043340689826</c:v>
                </c:pt>
                <c:pt idx="5">
                  <c:v>0.0011918456960976918</c:v>
                </c:pt>
                <c:pt idx="6">
                  <c:v>0.001026427919193871</c:v>
                </c:pt>
                <c:pt idx="7">
                  <c:v>0.0009906093122096166</c:v>
                </c:pt>
                <c:pt idx="8">
                  <c:v>0.0008176741254232347</c:v>
                </c:pt>
                <c:pt idx="9">
                  <c:v>0.000796023811298368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Schick Hydro 3 Blade Pro Sensitive Refills 6 Pack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one Blades (83.2%)</c:v>
                </c:pt>
                <c:pt idx="1">
                  <c:v>Schick Hydro 5 Blade Sensitive Refills 6 Pack (0.6%)</c:v>
                </c:pt>
                <c:pt idx="2">
                  <c:v>Schick Hydro 5 Blade Sensitive Refills 12 Pack (0.4%)</c:v>
                </c:pt>
                <c:pt idx="3">
                  <c:v>Schick Hydro 3 Blade Ultra Sensitive Refills 5 Pack (0.0%)</c:v>
                </c:pt>
                <c:pt idx="4">
                  <c:v>None Razors (12.2%)</c:v>
                </c:pt>
                <c:pt idx="5">
                  <c:v>Schick Xtreme 3 Sensitive Disposable Razors 4 Pack (2.8%)</c:v>
                </c:pt>
                <c:pt idx="6">
                  <c:v>Schick Xtreme 3 Sensitive Disposable Razors 8 Pack (1.7%)</c:v>
                </c:pt>
                <c:pt idx="7">
                  <c:v>Schick Xtreme 2 Sensitive Disposable Razors 12 Pack (2.7%)</c:v>
                </c:pt>
                <c:pt idx="8">
                  <c:v>Equate Speed 3 Disposable Razors 4 Pack (2.3%)</c:v>
                </c:pt>
                <c:pt idx="9">
                  <c:v>Gillette Mach 3 1 Handle + 2 Cartridges (2.7%)</c:v>
                </c:pt>
              </c:strCache>
            </c:strRef>
          </c:cat>
          <c:val>
            <c:numRef>
              <c:f>Sheet1!$B$2:$B$11</c:f>
              <c:numCache>
                <c:formatCode>General</c:formatCode>
                <c:ptCount val="10"/>
                <c:pt idx="0">
                  <c:v>0.5588344927894863</c:v>
                </c:pt>
                <c:pt idx="1">
                  <c:v>0.3053840755943376</c:v>
                </c:pt>
                <c:pt idx="2">
                  <c:v>0.08540479857879303</c:v>
                </c:pt>
                <c:pt idx="3">
                  <c:v>0.0496147658225218</c:v>
                </c:pt>
                <c:pt idx="4">
                  <c:v>0.0014052140492967688</c:v>
                </c:pt>
                <c:pt idx="5">
                  <c:v>0.001241692626213022</c:v>
                </c:pt>
                <c:pt idx="6">
                  <c:v>0.0007878068258956425</c:v>
                </c:pt>
                <c:pt idx="7">
                  <c:v>0.0006786056606119016</c:v>
                </c:pt>
                <c:pt idx="8">
                  <c:v>0.0006548935905004199</c:v>
                </c:pt>
                <c:pt idx="9">
                  <c:v>0.000540196485078828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Schick Hydro 3 Blade Pro Sensitive Refills 6 Pack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one Blades (83.2%)</c:v>
                </c:pt>
                <c:pt idx="1">
                  <c:v>Schick Hydro 5 Blade Sensitive Refills 6 Pack (0.6%)</c:v>
                </c:pt>
                <c:pt idx="2">
                  <c:v>Schick Hydro 5 Blade Sensitive Refills 12 Pack (0.4%)</c:v>
                </c:pt>
                <c:pt idx="3">
                  <c:v>Schick Hydro 3 Blade Ultra Sensitive Refills 5 Pack (0.0%)</c:v>
                </c:pt>
                <c:pt idx="4">
                  <c:v>None Razors (12.2%)</c:v>
                </c:pt>
                <c:pt idx="5">
                  <c:v>Schick Xtreme 3 Sensitive Disposable Razors 4 Pack (2.8%)</c:v>
                </c:pt>
                <c:pt idx="6">
                  <c:v>Schick Xtreme 3 Sensitive Disposable Razors 8 Pack (1.7%)</c:v>
                </c:pt>
                <c:pt idx="7">
                  <c:v>Schick Xtreme 2 Sensitive Disposable Razors 12 Pack (2.7%)</c:v>
                </c:pt>
                <c:pt idx="8">
                  <c:v>Equate Speed 3 Disposable Razors 4 Pack (2.3%)</c:v>
                </c:pt>
                <c:pt idx="9">
                  <c:v>Gillette Mach 3 1 Handle + 2 Cartridges (2.7%)</c:v>
                </c:pt>
              </c:strCache>
            </c:strRef>
          </c:cat>
          <c:val>
            <c:numRef>
              <c:f>Sheet1!$B$2:$B$11</c:f>
              <c:numCache>
                <c:formatCode>General</c:formatCode>
                <c:ptCount val="10"/>
                <c:pt idx="0">
                  <c:v>0.6409796249544937</c:v>
                </c:pt>
                <c:pt idx="1">
                  <c:v>0.2382645683960852</c:v>
                </c:pt>
                <c:pt idx="2">
                  <c:v>0.06406801447192251</c:v>
                </c:pt>
                <c:pt idx="3">
                  <c:v>0.05644932064865126</c:v>
                </c:pt>
                <c:pt idx="4">
                  <c:v>0.0004398333454483189</c:v>
                </c:pt>
                <c:pt idx="5">
                  <c:v>0.0003886223345468927</c:v>
                </c:pt>
                <c:pt idx="6">
                  <c:v>0.0002465748371918365</c:v>
                </c:pt>
                <c:pt idx="7">
                  <c:v>0.00021238991196248754</c:v>
                </c:pt>
                <c:pt idx="8">
                  <c:v>0.0002049698873729997</c:v>
                </c:pt>
                <c:pt idx="9">
                  <c:v>0.0001690880853366196</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Schick Hydro 3 Blade Ingrown Defense Refills 6 Pack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one Blades (83.2%)</c:v>
                </c:pt>
                <c:pt idx="1">
                  <c:v>Schick Hydro 5 Blade Sensitive Refills 6 Pack (0.6%)</c:v>
                </c:pt>
                <c:pt idx="2">
                  <c:v>Schick Hydro 5 Blade Sensitive Refills 12 Pack (0.4%)</c:v>
                </c:pt>
                <c:pt idx="3">
                  <c:v>Schick Hydro 3 Blade Ultra Sensitive Refills 5 Pack (0.0%)</c:v>
                </c:pt>
                <c:pt idx="4">
                  <c:v>None Razors (12.2%)</c:v>
                </c:pt>
                <c:pt idx="5">
                  <c:v>Schick Xtreme 3 Sensitive Disposable Razors 4 Pack (2.8%)</c:v>
                </c:pt>
                <c:pt idx="6">
                  <c:v>Schick Xtreme 3 Sensitive Disposable Razors 8 Pack (1.7%)</c:v>
                </c:pt>
                <c:pt idx="7">
                  <c:v>Schick Xtreme 2 Sensitive Disposable Razors 12 Pack (2.7%)</c:v>
                </c:pt>
                <c:pt idx="8">
                  <c:v>Equate Speed 3 Disposable Razors 4 Pack (2.3%)</c:v>
                </c:pt>
                <c:pt idx="9">
                  <c:v>Gillette Mach 3 1 Handle + 2 Cartridges (2.7%)</c:v>
                </c:pt>
              </c:strCache>
            </c:strRef>
          </c:cat>
          <c:val>
            <c:numRef>
              <c:f>Sheet1!$B$2:$B$11</c:f>
              <c:numCache>
                <c:formatCode>General</c:formatCode>
                <c:ptCount val="10"/>
                <c:pt idx="0">
                  <c:v>0.5597042002968199</c:v>
                </c:pt>
                <c:pt idx="1">
                  <c:v>0.30612613371486996</c:v>
                </c:pt>
                <c:pt idx="2">
                  <c:v>0.07091697628304652</c:v>
                </c:pt>
                <c:pt idx="3">
                  <c:v>0.06285927145333768</c:v>
                </c:pt>
                <c:pt idx="4">
                  <c:v>0.0007255605388262347</c:v>
                </c:pt>
                <c:pt idx="5">
                  <c:v>0.0006409487422458525</c:v>
                </c:pt>
                <c:pt idx="6">
                  <c:v>0.00040671245840773846</c:v>
                </c:pt>
                <c:pt idx="7">
                  <c:v>0.00035029759852492934</c:v>
                </c:pt>
                <c:pt idx="8">
                  <c:v>0.0003380660383615619</c:v>
                </c:pt>
                <c:pt idx="9">
                  <c:v>0.00027896024674850496</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Bic Dispo (16.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quate Dispo (19.1%)</c:v>
                </c:pt>
                <c:pt idx="1">
                  <c:v>Gillette Dispo (17.5%)</c:v>
                </c:pt>
                <c:pt idx="2">
                  <c:v>Schick Dispo (8.1%)</c:v>
                </c:pt>
                <c:pt idx="3">
                  <c:v>Gillette Razor (13.9%)</c:v>
                </c:pt>
                <c:pt idx="4">
                  <c:v>Dollar Shave Club Razor (2.0%)</c:v>
                </c:pt>
                <c:pt idx="5">
                  <c:v>Harrys Razor (6.2%)</c:v>
                </c:pt>
                <c:pt idx="6">
                  <c:v>Schick Razor (2.1%)</c:v>
                </c:pt>
                <c:pt idx="7">
                  <c:v>Gillette Blade (7.3%)</c:v>
                </c:pt>
                <c:pt idx="8">
                  <c:v>Equate Razor (1.1%)</c:v>
                </c:pt>
                <c:pt idx="9">
                  <c:v>Harrys Blade (5.0%)</c:v>
                </c:pt>
              </c:strCache>
            </c:strRef>
          </c:cat>
          <c:val>
            <c:numRef>
              <c:f>Sheet1!$B$2:$B$11</c:f>
              <c:numCache>
                <c:formatCode>General</c:formatCode>
                <c:ptCount val="10"/>
                <c:pt idx="0">
                  <c:v>0.42086980916811945</c:v>
                </c:pt>
                <c:pt idx="1">
                  <c:v>0.2298073417835532</c:v>
                </c:pt>
                <c:pt idx="2">
                  <c:v>0.15141716718519108</c:v>
                </c:pt>
                <c:pt idx="3">
                  <c:v>0.041000929066952775</c:v>
                </c:pt>
                <c:pt idx="4">
                  <c:v>0.024758278186354395</c:v>
                </c:pt>
                <c:pt idx="5">
                  <c:v>0.02192299179443137</c:v>
                </c:pt>
                <c:pt idx="6">
                  <c:v>0.017096267246710973</c:v>
                </c:pt>
                <c:pt idx="7">
                  <c:v>0.012921306206945022</c:v>
                </c:pt>
                <c:pt idx="8">
                  <c:v>0.011750030842982444</c:v>
                </c:pt>
                <c:pt idx="9">
                  <c:v>0.01153534438690553</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Schick Hydro 3 Blade Ingrown Defense Refills 6 Pack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one Blades (83.2%)</c:v>
                </c:pt>
                <c:pt idx="1">
                  <c:v>Schick Hydro 5 Blade Sensitive Refills 6 Pack (0.6%)</c:v>
                </c:pt>
                <c:pt idx="2">
                  <c:v>Schick Hydro 3 Blade Ultra Sensitive Refills 5 Pack (0.0%)</c:v>
                </c:pt>
                <c:pt idx="3">
                  <c:v>Schick Hydro 5 Blade Sensitive Refills 12 Pack (0.4%)</c:v>
                </c:pt>
                <c:pt idx="4">
                  <c:v>None Razors (12.2%)</c:v>
                </c:pt>
                <c:pt idx="5">
                  <c:v>Schick Xtreme 3 Sensitive Disposable Razors 4 Pack (2.8%)</c:v>
                </c:pt>
                <c:pt idx="6">
                  <c:v>Schick Xtreme 3 Sensitive Disposable Razors 8 Pack (1.7%)</c:v>
                </c:pt>
                <c:pt idx="7">
                  <c:v>Schick Xtreme 2 Sensitive Disposable Razors 12 Pack (2.7%)</c:v>
                </c:pt>
                <c:pt idx="8">
                  <c:v>Equate Speed 3 Disposable Razors 4 Pack (2.3%)</c:v>
                </c:pt>
                <c:pt idx="9">
                  <c:v>Gillette Mach 3 1 Handle + 2 Cartridges (2.7%)</c:v>
                </c:pt>
              </c:strCache>
            </c:strRef>
          </c:cat>
          <c:val>
            <c:numRef>
              <c:f>Sheet1!$B$2:$B$11</c:f>
              <c:numCache>
                <c:formatCode>General</c:formatCode>
                <c:ptCount val="10"/>
                <c:pt idx="0">
                  <c:v>0.46195321476447637</c:v>
                </c:pt>
                <c:pt idx="1">
                  <c:v>0.38505125392415857</c:v>
                </c:pt>
                <c:pt idx="2">
                  <c:v>0.08475037446181148</c:v>
                </c:pt>
                <c:pt idx="3">
                  <c:v>0.06792450800078924</c:v>
                </c:pt>
                <c:pt idx="4">
                  <c:v>0.0005913321164771364</c:v>
                </c:pt>
                <c:pt idx="5">
                  <c:v>0.0005223157182910827</c:v>
                </c:pt>
                <c:pt idx="6">
                  <c:v>0.00033145175692645583</c:v>
                </c:pt>
                <c:pt idx="7">
                  <c:v>0.00028546382450306463</c:v>
                </c:pt>
                <c:pt idx="8">
                  <c:v>0.0002754988883085764</c:v>
                </c:pt>
                <c:pt idx="9">
                  <c:v>0.0002273649536646140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Schick Hydro 5 Blade Sensitive Refills 4 Pack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one Blades (83.2%)</c:v>
                </c:pt>
                <c:pt idx="1">
                  <c:v>Schick Hydro 5 Blade Sensitive Refills 6 Pack (0.6%)</c:v>
                </c:pt>
                <c:pt idx="2">
                  <c:v>Schick Hydro 5 Blade Sensitive Refills 12 Pack (0.4%)</c:v>
                </c:pt>
                <c:pt idx="3">
                  <c:v>Schick Hydro 3 Blade Ultra Sensitive Refills 5 Pack (0.0%)</c:v>
                </c:pt>
                <c:pt idx="4">
                  <c:v>None Razors (12.2%)</c:v>
                </c:pt>
                <c:pt idx="5">
                  <c:v>Schick Xtreme 3 Sensitive Disposable Razors 4 Pack (2.8%)</c:v>
                </c:pt>
                <c:pt idx="6">
                  <c:v>Schick Xtreme 3 Sensitive Disposable Razors 8 Pack (1.7%)</c:v>
                </c:pt>
                <c:pt idx="7">
                  <c:v>Schick Xtreme 2 Sensitive Disposable Razors 12 Pack (2.7%)</c:v>
                </c:pt>
                <c:pt idx="8">
                  <c:v>Equate Speed 3 Disposable Razors 4 Pack (2.3%)</c:v>
                </c:pt>
                <c:pt idx="9">
                  <c:v>Gillette Mach 3 1 Handle + 2 Cartridges (2.7%)</c:v>
                </c:pt>
              </c:strCache>
            </c:strRef>
          </c:cat>
          <c:val>
            <c:numRef>
              <c:f>Sheet1!$B$2:$B$11</c:f>
              <c:numCache>
                <c:formatCode>General</c:formatCode>
                <c:ptCount val="10"/>
                <c:pt idx="0">
                  <c:v>0.563961635696558</c:v>
                </c:pt>
                <c:pt idx="1">
                  <c:v>0.3311559030581266</c:v>
                </c:pt>
                <c:pt idx="2">
                  <c:v>0.06602154424695071</c:v>
                </c:pt>
                <c:pt idx="3">
                  <c:v>0.03826058677588461</c:v>
                </c:pt>
                <c:pt idx="4">
                  <c:v>0.0011072696319116406</c:v>
                </c:pt>
                <c:pt idx="5">
                  <c:v>0.000978419293389748</c:v>
                </c:pt>
                <c:pt idx="6">
                  <c:v>0.0006207698923615878</c:v>
                </c:pt>
                <c:pt idx="7">
                  <c:v>0.000534722407888627</c:v>
                </c:pt>
                <c:pt idx="8">
                  <c:v>0.0005160379553973194</c:v>
                </c:pt>
                <c:pt idx="9">
                  <c:v>0.0004256598227811154</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Schick Hydro 5 Blade Sensitive Refills 4 Pack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one Blades (83.2%)</c:v>
                </c:pt>
                <c:pt idx="1">
                  <c:v>Schick Hydro 5 Blade Sensitive Refills 6 Pack (0.6%)</c:v>
                </c:pt>
                <c:pt idx="2">
                  <c:v>Schick Hydro 5 Blade Sensitive Refills 12 Pack (0.4%)</c:v>
                </c:pt>
                <c:pt idx="3">
                  <c:v>Schick Hydro 3 Blade Ultra Sensitive Refills 5 Pack (0.0%)</c:v>
                </c:pt>
                <c:pt idx="4">
                  <c:v>None Razors (12.2%)</c:v>
                </c:pt>
                <c:pt idx="5">
                  <c:v>Schick Xtreme 3 Sensitive Disposable Razors 4 Pack (2.8%)</c:v>
                </c:pt>
                <c:pt idx="6">
                  <c:v>Schick Xtreme 3 Sensitive Disposable Razors 8 Pack (1.7%)</c:v>
                </c:pt>
                <c:pt idx="7">
                  <c:v>Schick Xtreme 2 Sensitive Disposable Razors 12 Pack (2.7%)</c:v>
                </c:pt>
                <c:pt idx="8">
                  <c:v>Equate Speed 3 Disposable Razors 4 Pack (2.3%)</c:v>
                </c:pt>
                <c:pt idx="9">
                  <c:v>Gillette Mach 3 1 Handle + 2 Cartridges (2.7%)</c:v>
                </c:pt>
              </c:strCache>
            </c:strRef>
          </c:cat>
          <c:val>
            <c:numRef>
              <c:f>Sheet1!$B$2:$B$11</c:f>
              <c:numCache>
                <c:formatCode>General</c:formatCode>
                <c:ptCount val="10"/>
                <c:pt idx="0">
                  <c:v>0.5957366605521373</c:v>
                </c:pt>
                <c:pt idx="1">
                  <c:v>0.29283192914640205</c:v>
                </c:pt>
                <c:pt idx="2">
                  <c:v>0.060170241067093296</c:v>
                </c:pt>
                <c:pt idx="3">
                  <c:v>0.05100444820301432</c:v>
                </c:pt>
                <c:pt idx="4">
                  <c:v>0.0004734924803895991</c:v>
                </c:pt>
                <c:pt idx="5">
                  <c:v>0.0004183624434655927</c:v>
                </c:pt>
                <c:pt idx="6">
                  <c:v>0.0002654444745307349</c:v>
                </c:pt>
                <c:pt idx="7">
                  <c:v>0.00022864347886661848</c:v>
                </c:pt>
                <c:pt idx="8">
                  <c:v>0.00022065562191173638</c:v>
                </c:pt>
                <c:pt idx="9">
                  <c:v>0.00018202789251632948</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Schick Hydro 5 Blade Sensitive Refills 6 Pack (0.6%)</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one Blades (83.2%)</c:v>
                </c:pt>
                <c:pt idx="1">
                  <c:v>Schick Hydro 5 Blade Sensitive Refills 12 Pack (0.4%)</c:v>
                </c:pt>
                <c:pt idx="2">
                  <c:v>Schick Hydro 3 Blade Ultra Sensitive Refills 5 Pack (0.0%)</c:v>
                </c:pt>
                <c:pt idx="3">
                  <c:v>None Razors (12.2%)</c:v>
                </c:pt>
                <c:pt idx="4">
                  <c:v>Schick Xtreme 3 Sensitive Disposable Razors 4 Pack (2.8%)</c:v>
                </c:pt>
                <c:pt idx="5">
                  <c:v>Schick Xtreme 3 Sensitive Disposable Razors 8 Pack (1.7%)</c:v>
                </c:pt>
                <c:pt idx="6">
                  <c:v>Schick Xtreme 2 Sensitive Disposable Razors 12 Pack (2.7%)</c:v>
                </c:pt>
                <c:pt idx="7">
                  <c:v>Equate Speed 3 Disposable Razors 4 Pack (2.3%)</c:v>
                </c:pt>
                <c:pt idx="8">
                  <c:v>Gillette Mach 3 1 Handle + 2 Cartridges (2.7%)</c:v>
                </c:pt>
                <c:pt idx="9">
                  <c:v>Bic Flex 4 Sensitive Skin Disposable Razors 3 Pack (1.7%)</c:v>
                </c:pt>
              </c:strCache>
            </c:strRef>
          </c:cat>
          <c:val>
            <c:numRef>
              <c:f>Sheet1!$B$2:$B$11</c:f>
              <c:numCache>
                <c:formatCode>General</c:formatCode>
                <c:ptCount val="10"/>
                <c:pt idx="0">
                  <c:v>0.7017117631565882</c:v>
                </c:pt>
                <c:pt idx="1">
                  <c:v>0.2173638156614742</c:v>
                </c:pt>
                <c:pt idx="2">
                  <c:v>0.08063766320245068</c:v>
                </c:pt>
                <c:pt idx="3">
                  <c:v>0.0005288290837339958</c:v>
                </c:pt>
                <c:pt idx="4">
                  <c:v>0.00046710176244068273</c:v>
                </c:pt>
                <c:pt idx="5">
                  <c:v>0.0002964158038780593</c:v>
                </c:pt>
                <c:pt idx="6">
                  <c:v>0.00025528774015901105</c:v>
                </c:pt>
                <c:pt idx="7">
                  <c:v>0.0002463764698877414</c:v>
                </c:pt>
                <c:pt idx="8">
                  <c:v>0.0002033340191076687</c:v>
                </c:pt>
                <c:pt idx="9">
                  <c:v>0.0001979808748238419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Schick Hydro 5 Blade Sensitive Refills 6 Pack (0.6%)</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one Blades (83.2%)</c:v>
                </c:pt>
                <c:pt idx="1">
                  <c:v>Schick Hydro 5 Blade Sensitive Refills 12 Pack (0.4%)</c:v>
                </c:pt>
                <c:pt idx="2">
                  <c:v>Schick Hydro 3 Blade Ultra Sensitive Refills 5 Pack (0.0%)</c:v>
                </c:pt>
                <c:pt idx="3">
                  <c:v>None Razors (12.2%)</c:v>
                </c:pt>
                <c:pt idx="4">
                  <c:v>Schick Xtreme 3 Sensitive Disposable Razors 4 Pack (2.8%)</c:v>
                </c:pt>
                <c:pt idx="5">
                  <c:v>Schick Xtreme 3 Sensitive Disposable Razors 8 Pack (1.7%)</c:v>
                </c:pt>
                <c:pt idx="6">
                  <c:v>Schick Xtreme 2 Sensitive Disposable Razors 12 Pack (2.7%)</c:v>
                </c:pt>
                <c:pt idx="7">
                  <c:v>Equate Speed 3 Disposable Razors 4 Pack (2.3%)</c:v>
                </c:pt>
                <c:pt idx="8">
                  <c:v>Gillette Mach 3 1 Handle + 2 Cartridges (2.7%)</c:v>
                </c:pt>
                <c:pt idx="9">
                  <c:v>Bic Flex 4 Sensitive Skin Disposable Razors 3 Pack (1.7%)</c:v>
                </c:pt>
              </c:strCache>
            </c:strRef>
          </c:cat>
          <c:val>
            <c:numRef>
              <c:f>Sheet1!$B$2:$B$11</c:f>
              <c:numCache>
                <c:formatCode>General</c:formatCode>
                <c:ptCount val="10"/>
                <c:pt idx="0">
                  <c:v>0.6071015533444539</c:v>
                </c:pt>
                <c:pt idx="1">
                  <c:v>0.2633976978265304</c:v>
                </c:pt>
                <c:pt idx="2">
                  <c:v>0.1292766152874893</c:v>
                </c:pt>
                <c:pt idx="3">
                  <c:v>0.00041331726238649297</c:v>
                </c:pt>
                <c:pt idx="4">
                  <c:v>0.0003650192170623093</c:v>
                </c:pt>
                <c:pt idx="5">
                  <c:v>0.00023165213573865987</c:v>
                </c:pt>
                <c:pt idx="6">
                  <c:v>0.00019949851874299536</c:v>
                </c:pt>
                <c:pt idx="7">
                  <c:v>0.0001925372650262477</c:v>
                </c:pt>
                <c:pt idx="8">
                  <c:v>0.000158931302274231</c:v>
                </c:pt>
                <c:pt idx="9">
                  <c:v>0.00015471711619998007</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Schick Hydro 5 Blade Sensitive Refills 12 Pack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chick Hydro 5 Blade Sensitive Refills 6 Pack (0.6%)</c:v>
                </c:pt>
                <c:pt idx="1">
                  <c:v>None Blades (83.2%)</c:v>
                </c:pt>
                <c:pt idx="2">
                  <c:v>Schick Hydro 3 Blade Ultra Sensitive Refills 5 Pack (0.0%)</c:v>
                </c:pt>
                <c:pt idx="3">
                  <c:v>None Razors (12.2%)</c:v>
                </c:pt>
                <c:pt idx="4">
                  <c:v>Schick Xtreme 3 Sensitive Disposable Razors 4 Pack (2.8%)</c:v>
                </c:pt>
                <c:pt idx="5">
                  <c:v>Schick Xtreme 3 Sensitive Disposable Razors 8 Pack (1.7%)</c:v>
                </c:pt>
                <c:pt idx="6">
                  <c:v>Schick Xtreme 2 Sensitive Disposable Razors 12 Pack (2.7%)</c:v>
                </c:pt>
                <c:pt idx="7">
                  <c:v>Equate Speed 3 Disposable Razors 4 Pack (2.3%)</c:v>
                </c:pt>
                <c:pt idx="8">
                  <c:v>Gillette Mach 3 1 Handle + 2 Cartridges (2.7%)</c:v>
                </c:pt>
                <c:pt idx="9">
                  <c:v>Bic Flex 4 Sensitive Skin Disposable Razors 3 Pack (1.7%)</c:v>
                </c:pt>
              </c:strCache>
            </c:strRef>
          </c:cat>
          <c:val>
            <c:numRef>
              <c:f>Sheet1!$B$2:$B$11</c:f>
              <c:numCache>
                <c:formatCode>General</c:formatCode>
                <c:ptCount val="10"/>
                <c:pt idx="0">
                  <c:v>0.6565087613286218</c:v>
                </c:pt>
                <c:pt idx="1">
                  <c:v>0.3224414183756268</c:v>
                </c:pt>
                <c:pt idx="2">
                  <c:v>0.020696162435648226</c:v>
                </c:pt>
                <c:pt idx="3">
                  <c:v>0.0006522146492025479</c:v>
                </c:pt>
                <c:pt idx="4">
                  <c:v>0.0005761124392962481</c:v>
                </c:pt>
                <c:pt idx="5">
                  <c:v>0.00036558405426688256</c:v>
                </c:pt>
                <c:pt idx="6">
                  <c:v>0.0003148646769410703</c:v>
                </c:pt>
                <c:pt idx="7">
                  <c:v>0.00030387245598054673</c:v>
                </c:pt>
                <c:pt idx="8">
                  <c:v>0.0002507698161039425</c:v>
                </c:pt>
                <c:pt idx="9">
                  <c:v>0.0002441830364543675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Schick Hydro 5 Blade Sensitive Refills 12 Pack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chick Hydro 5 Blade Sensitive Refills 6 Pack (0.6%)</c:v>
                </c:pt>
                <c:pt idx="1">
                  <c:v>None Blades (83.2%)</c:v>
                </c:pt>
                <c:pt idx="2">
                  <c:v>Schick Hydro 3 Blade Ultra Sensitive Refills 5 Pack (0.0%)</c:v>
                </c:pt>
                <c:pt idx="3">
                  <c:v>None Razors (12.2%)</c:v>
                </c:pt>
                <c:pt idx="4">
                  <c:v>Schick Xtreme 3 Sensitive Disposable Razors 4 Pack (2.8%)</c:v>
                </c:pt>
                <c:pt idx="5">
                  <c:v>Schick Xtreme 3 Sensitive Disposable Razors 8 Pack (1.7%)</c:v>
                </c:pt>
                <c:pt idx="6">
                  <c:v>Schick Xtreme 2 Sensitive Disposable Razors 12 Pack (2.7%)</c:v>
                </c:pt>
                <c:pt idx="7">
                  <c:v>Equate Speed 3 Disposable Razors 4 Pack (2.3%)</c:v>
                </c:pt>
                <c:pt idx="8">
                  <c:v>Gillette Mach 3 1 Handle + 2 Cartridges (2.7%)</c:v>
                </c:pt>
                <c:pt idx="9">
                  <c:v>Bic Flex 4 Sensitive Skin Disposable Razors 3 Pack (1.7%)</c:v>
                </c:pt>
              </c:strCache>
            </c:strRef>
          </c:cat>
          <c:val>
            <c:numRef>
              <c:f>Sheet1!$B$2:$B$11</c:f>
              <c:numCache>
                <c:formatCode>General</c:formatCode>
                <c:ptCount val="10"/>
                <c:pt idx="0">
                  <c:v>0.6623908834370799</c:v>
                </c:pt>
                <c:pt idx="1">
                  <c:v>0.31786543854482274</c:v>
                </c:pt>
                <c:pt idx="2">
                  <c:v>0.018997425878784162</c:v>
                </c:pt>
                <c:pt idx="3">
                  <c:v>0.0013761036920571258</c:v>
                </c:pt>
                <c:pt idx="4">
                  <c:v>0.0012152135083178517</c:v>
                </c:pt>
                <c:pt idx="5">
                  <c:v>0.0007712371530395514</c:v>
                </c:pt>
                <c:pt idx="6">
                  <c:v>0.0006641698753190209</c:v>
                </c:pt>
                <c:pt idx="7">
                  <c:v>0.0006409986479776375</c:v>
                </c:pt>
                <c:pt idx="8">
                  <c:v>0.0005291661479432006</c:v>
                </c:pt>
                <c:pt idx="9">
                  <c:v>0.0005150868498820437</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Schick Hydro 5 Blade Advanced Hydration Refills 6 Pack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chick Hydro 5 Blade Sensitive Refills 6 Pack (0.6%)</c:v>
                </c:pt>
                <c:pt idx="1">
                  <c:v>None Blades (83.2%)</c:v>
                </c:pt>
                <c:pt idx="2">
                  <c:v>Schick Hydro 5 Blade Sensitive Refills 12 Pack (0.4%)</c:v>
                </c:pt>
                <c:pt idx="3">
                  <c:v>Schick Hydro 3 Blade Ultra Sensitive Refills 5 Pack (0.0%)</c:v>
                </c:pt>
                <c:pt idx="4">
                  <c:v>None Razors (12.2%)</c:v>
                </c:pt>
                <c:pt idx="5">
                  <c:v>Schick Xtreme 3 Sensitive Disposable Razors 4 Pack (2.8%)</c:v>
                </c:pt>
                <c:pt idx="6">
                  <c:v>Schick Xtreme 3 Sensitive Disposable Razors 8 Pack (1.7%)</c:v>
                </c:pt>
                <c:pt idx="7">
                  <c:v>Schick Xtreme 2 Sensitive Disposable Razors 12 Pack (2.7%)</c:v>
                </c:pt>
                <c:pt idx="8">
                  <c:v>Equate Speed 3 Disposable Razors 4 Pack (2.3%)</c:v>
                </c:pt>
                <c:pt idx="9">
                  <c:v>Gillette Mach 3 1 Handle + 2 Cartridges (2.7%)</c:v>
                </c:pt>
              </c:strCache>
            </c:strRef>
          </c:cat>
          <c:val>
            <c:numRef>
              <c:f>Sheet1!$B$2:$B$11</c:f>
              <c:numCache>
                <c:formatCode>General</c:formatCode>
                <c:ptCount val="10"/>
                <c:pt idx="0">
                  <c:v>0.416220414938704</c:v>
                </c:pt>
                <c:pt idx="1">
                  <c:v>0.405596850893826</c:v>
                </c:pt>
                <c:pt idx="2">
                  <c:v>0.13165985194946175</c:v>
                </c:pt>
                <c:pt idx="3">
                  <c:v>0.046152626982699695</c:v>
                </c:pt>
                <c:pt idx="4">
                  <c:v>0.0006828422103163792</c:v>
                </c:pt>
                <c:pt idx="5">
                  <c:v>0.0006032120442529724</c:v>
                </c:pt>
                <c:pt idx="6">
                  <c:v>0.00038276672889574025</c:v>
                </c:pt>
                <c:pt idx="7">
                  <c:v>0.000329673367893245</c:v>
                </c:pt>
                <c:pt idx="8">
                  <c:v>0.0003181619568797915</c:v>
                </c:pt>
                <c:pt idx="9">
                  <c:v>0.00026253609628261676</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Schick Hydro 5 Blade Advanced Hydration Refills 6 Pack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chick Hydro 5 Blade Sensitive Refills 6 Pack (0.6%)</c:v>
                </c:pt>
                <c:pt idx="1">
                  <c:v>None Blades (83.2%)</c:v>
                </c:pt>
                <c:pt idx="2">
                  <c:v>Schick Hydro 5 Blade Sensitive Refills 12 Pack (0.4%)</c:v>
                </c:pt>
                <c:pt idx="3">
                  <c:v>Schick Hydro 3 Blade Ultra Sensitive Refills 5 Pack (0.0%)</c:v>
                </c:pt>
                <c:pt idx="4">
                  <c:v>None Razors (12.2%)</c:v>
                </c:pt>
                <c:pt idx="5">
                  <c:v>Schick Xtreme 3 Sensitive Disposable Razors 4 Pack (2.8%)</c:v>
                </c:pt>
                <c:pt idx="6">
                  <c:v>Schick Xtreme 3 Sensitive Disposable Razors 8 Pack (1.7%)</c:v>
                </c:pt>
                <c:pt idx="7">
                  <c:v>Schick Xtreme 2 Sensitive Disposable Razors 12 Pack (2.7%)</c:v>
                </c:pt>
                <c:pt idx="8">
                  <c:v>Equate Speed 3 Disposable Razors 4 Pack (2.3%)</c:v>
                </c:pt>
                <c:pt idx="9">
                  <c:v>Gillette Mach 3 1 Handle + 2 Cartridges (2.7%)</c:v>
                </c:pt>
              </c:strCache>
            </c:strRef>
          </c:cat>
          <c:val>
            <c:numRef>
              <c:f>Sheet1!$B$2:$B$11</c:f>
              <c:numCache>
                <c:formatCode>General</c:formatCode>
                <c:ptCount val="10"/>
                <c:pt idx="0">
                  <c:v>0.4901060620227182</c:v>
                </c:pt>
                <c:pt idx="1">
                  <c:v>0.32752988217246576</c:v>
                </c:pt>
                <c:pt idx="2">
                  <c:v>0.12441720074345515</c:v>
                </c:pt>
                <c:pt idx="3">
                  <c:v>0.057654364006049556</c:v>
                </c:pt>
                <c:pt idx="4">
                  <c:v>0.0005394042601790817</c:v>
                </c:pt>
                <c:pt idx="5">
                  <c:v>0.0004764485400914301</c:v>
                </c:pt>
                <c:pt idx="6">
                  <c:v>0.0003023453060440772</c:v>
                </c:pt>
                <c:pt idx="7">
                  <c:v>0.000260395805966545</c:v>
                </c:pt>
                <c:pt idx="8">
                  <c:v>0.0002513059410903701</c:v>
                </c:pt>
                <c:pt idx="9">
                  <c:v>0.00020739889007339956</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Schick Hydro 5 Blade Chrome Refills 6 Pack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one Blades (83.2%)</c:v>
                </c:pt>
                <c:pt idx="1">
                  <c:v>Schick Hydro 5 Blade Sensitive Refills 6 Pack (0.6%)</c:v>
                </c:pt>
                <c:pt idx="2">
                  <c:v>Schick Hydro 5 Blade Sensitive Refills 12 Pack (0.4%)</c:v>
                </c:pt>
                <c:pt idx="3">
                  <c:v>Schick Hydro 3 Blade Ultra Sensitive Refills 5 Pack (0.0%)</c:v>
                </c:pt>
                <c:pt idx="4">
                  <c:v>None Razors (12.2%)</c:v>
                </c:pt>
                <c:pt idx="5">
                  <c:v>Schick Xtreme 3 Sensitive Disposable Razors 4 Pack (2.8%)</c:v>
                </c:pt>
                <c:pt idx="6">
                  <c:v>Schick Xtreme 3 Sensitive Disposable Razors 8 Pack (1.7%)</c:v>
                </c:pt>
                <c:pt idx="7">
                  <c:v>Schick Xtreme 2 Sensitive Disposable Razors 12 Pack (2.7%)</c:v>
                </c:pt>
                <c:pt idx="8">
                  <c:v>Equate Speed 3 Disposable Razors 4 Pack (2.3%)</c:v>
                </c:pt>
                <c:pt idx="9">
                  <c:v>Gillette Mach 3 1 Handle + 2 Cartridges (2.7%)</c:v>
                </c:pt>
              </c:strCache>
            </c:strRef>
          </c:cat>
          <c:val>
            <c:numRef>
              <c:f>Sheet1!$B$2:$B$11</c:f>
              <c:numCache>
                <c:formatCode>General</c:formatCode>
                <c:ptCount val="10"/>
                <c:pt idx="0">
                  <c:v>0.5174894044782585</c:v>
                </c:pt>
                <c:pt idx="1">
                  <c:v>0.30734184707340645</c:v>
                </c:pt>
                <c:pt idx="2">
                  <c:v>0.11999550421132797</c:v>
                </c:pt>
                <c:pt idx="3">
                  <c:v>0.05472732234729924</c:v>
                </c:pt>
                <c:pt idx="4">
                  <c:v>0.000822390226280322</c:v>
                </c:pt>
                <c:pt idx="5">
                  <c:v>0.0007264865617173437</c:v>
                </c:pt>
                <c:pt idx="6">
                  <c:v>0.0004609902727649171</c:v>
                </c:pt>
                <c:pt idx="7">
                  <c:v>0.00039704656730975133</c:v>
                </c:pt>
                <c:pt idx="8">
                  <c:v>0.0003831826441879315</c:v>
                </c:pt>
                <c:pt idx="9">
                  <c:v>0.0003161888886871508</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Bic Dispo (16.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quate Dispo (19.1%)</c:v>
                </c:pt>
                <c:pt idx="1">
                  <c:v>Gillette Dispo (17.5%)</c:v>
                </c:pt>
                <c:pt idx="2">
                  <c:v>Schick Dispo (8.1%)</c:v>
                </c:pt>
                <c:pt idx="3">
                  <c:v>Gillette Razor (13.9%)</c:v>
                </c:pt>
                <c:pt idx="4">
                  <c:v>Dollar Shave Club Razor (2.0%)</c:v>
                </c:pt>
                <c:pt idx="5">
                  <c:v>Schick Razor (2.1%)</c:v>
                </c:pt>
                <c:pt idx="6">
                  <c:v>Harrys Razor (6.2%)</c:v>
                </c:pt>
                <c:pt idx="7">
                  <c:v>Gillette Blade (7.3%)</c:v>
                </c:pt>
                <c:pt idx="8">
                  <c:v>Equate Razor (1.1%)</c:v>
                </c:pt>
                <c:pt idx="9">
                  <c:v>Harrys Blade (5.0%)</c:v>
                </c:pt>
              </c:strCache>
            </c:strRef>
          </c:cat>
          <c:val>
            <c:numRef>
              <c:f>Sheet1!$B$2:$B$11</c:f>
              <c:numCache>
                <c:formatCode>General</c:formatCode>
                <c:ptCount val="10"/>
                <c:pt idx="0">
                  <c:v>0.3670036681452557</c:v>
                </c:pt>
                <c:pt idx="1">
                  <c:v>0.2523223473179602</c:v>
                </c:pt>
                <c:pt idx="2">
                  <c:v>0.15017751740368165</c:v>
                </c:pt>
                <c:pt idx="3">
                  <c:v>0.04679935713728631</c:v>
                </c:pt>
                <c:pt idx="4">
                  <c:v>0.028170300066057783</c:v>
                </c:pt>
                <c:pt idx="5">
                  <c:v>0.025508624114802533</c:v>
                </c:pt>
                <c:pt idx="6">
                  <c:v>0.02400472416500164</c:v>
                </c:pt>
                <c:pt idx="7">
                  <c:v>0.014131922467246599</c:v>
                </c:pt>
                <c:pt idx="8">
                  <c:v>0.01303669921750564</c:v>
                </c:pt>
                <c:pt idx="9">
                  <c:v>0.01147382693475636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Schick Hydro 5 Blade Chrome Refills 6 Pack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one Blades (83.2%)</c:v>
                </c:pt>
                <c:pt idx="1">
                  <c:v>Schick Hydro 5 Blade Sensitive Refills 6 Pack (0.6%)</c:v>
                </c:pt>
                <c:pt idx="2">
                  <c:v>Schick Hydro 5 Blade Sensitive Refills 12 Pack (0.4%)</c:v>
                </c:pt>
                <c:pt idx="3">
                  <c:v>Schick Hydro 3 Blade Ultra Sensitive Refills 5 Pack (0.0%)</c:v>
                </c:pt>
                <c:pt idx="4">
                  <c:v>None Razors (12.2%)</c:v>
                </c:pt>
                <c:pt idx="5">
                  <c:v>Schick Xtreme 3 Sensitive Disposable Razors 4 Pack (2.8%)</c:v>
                </c:pt>
                <c:pt idx="6">
                  <c:v>Schick Xtreme 3 Sensitive Disposable Razors 8 Pack (1.7%)</c:v>
                </c:pt>
                <c:pt idx="7">
                  <c:v>Schick Xtreme 2 Sensitive Disposable Razors 12 Pack (2.7%)</c:v>
                </c:pt>
                <c:pt idx="8">
                  <c:v>Equate Speed 3 Disposable Razors 4 Pack (2.3%)</c:v>
                </c:pt>
                <c:pt idx="9">
                  <c:v>Gillette Mach 3 1 Handle + 2 Cartridges (2.7%)</c:v>
                </c:pt>
              </c:strCache>
            </c:strRef>
          </c:cat>
          <c:val>
            <c:numRef>
              <c:f>Sheet1!$B$2:$B$11</c:f>
              <c:numCache>
                <c:formatCode>General</c:formatCode>
                <c:ptCount val="10"/>
                <c:pt idx="0">
                  <c:v>0.46597740378557434</c:v>
                </c:pt>
                <c:pt idx="1">
                  <c:v>0.3599660900318067</c:v>
                </c:pt>
                <c:pt idx="2">
                  <c:v>0.10722129977741027</c:v>
                </c:pt>
                <c:pt idx="3">
                  <c:v>0.06649199276177659</c:v>
                </c:pt>
                <c:pt idx="4">
                  <c:v>0.0006329455146140063</c:v>
                </c:pt>
                <c:pt idx="5">
                  <c:v>0.0005590722740957637</c:v>
                </c:pt>
                <c:pt idx="6">
                  <c:v>0.0003547767777393224</c:v>
                </c:pt>
                <c:pt idx="7">
                  <c:v>0.0003055525689695237</c:v>
                </c:pt>
                <c:pt idx="8">
                  <c:v>0.0002948863773456159</c:v>
                </c:pt>
                <c:pt idx="9">
                  <c:v>0.0002433651472539341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Schick Quattro Four Blade Refills 3 Pack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one Blades (83.2%)</c:v>
                </c:pt>
                <c:pt idx="1">
                  <c:v>Equate Easy Fit 5 Blade Refills 4 Pack (0.6%)</c:v>
                </c:pt>
                <c:pt idx="2">
                  <c:v>Gillette Mach 3 Blade Refills 4 Pack (1.3%)</c:v>
                </c:pt>
                <c:pt idx="3">
                  <c:v>Schick Xtreme 2 Sensitive Disposable Razors 12 Pack (2.7%)</c:v>
                </c:pt>
                <c:pt idx="4">
                  <c:v>Schick Xtreme 5 Sensitive Disposable Razors 8 Pack (0.0%)</c:v>
                </c:pt>
                <c:pt idx="5">
                  <c:v>Schick Xtreme 2 Sensitive Disposable Razors 24 Pack (0.0%)</c:v>
                </c:pt>
                <c:pt idx="6">
                  <c:v>Schick Xtreme 5 Sensitive Disposable Razors 2 Pack (0.0%)</c:v>
                </c:pt>
                <c:pt idx="7">
                  <c:v>Schick Xtreme 5 Sensitive Disposable Razors 4 Pack (0.0%)</c:v>
                </c:pt>
                <c:pt idx="8">
                  <c:v>Schick Xtreme 3 Body &amp; Groin Disposable Razors 3 Pack (0.0%)</c:v>
                </c:pt>
                <c:pt idx="9">
                  <c:v>Schick Hydro 5 Ultimate Comfort Disposable Razors 3 Pack (0.0%)</c:v>
                </c:pt>
              </c:strCache>
            </c:strRef>
          </c:cat>
          <c:val>
            <c:numRef>
              <c:f>Sheet1!$B$2:$B$11</c:f>
              <c:numCache>
                <c:formatCode>General</c:formatCode>
                <c:ptCount val="10"/>
                <c:pt idx="0">
                  <c:v>0.9999999999984059</c:v>
                </c:pt>
                <c:pt idx="1">
                  <c:v>1.01714698796588e-13</c:v>
                </c:pt>
                <c:pt idx="2">
                  <c:v>1.01714698796588e-13</c:v>
                </c:pt>
                <c:pt idx="3">
                  <c:v>-0.0</c:v>
                </c:pt>
                <c:pt idx="4">
                  <c:v>-0.0</c:v>
                </c:pt>
                <c:pt idx="5">
                  <c:v>-0.0</c:v>
                </c:pt>
                <c:pt idx="6">
                  <c:v>-0.0</c:v>
                </c:pt>
                <c:pt idx="7">
                  <c:v>-0.0</c:v>
                </c:pt>
                <c:pt idx="8">
                  <c:v>-0.0</c:v>
                </c:pt>
                <c:pt idx="9">
                  <c:v>-0.0</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Schick Quattro Four Blade Refills 3 Pack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one Blades (83.2%)</c:v>
                </c:pt>
                <c:pt idx="1">
                  <c:v>Harry's Men Five Blade Refills 8 Pack (1.6%)</c:v>
                </c:pt>
                <c:pt idx="2">
                  <c:v>Gillette Fusion 5 Proglide Blade Refills 12 Pack (0.8%)</c:v>
                </c:pt>
                <c:pt idx="3">
                  <c:v>Dollar Shave Club 6 Blades Blade Refills 8 Pack (0.3%)</c:v>
                </c:pt>
                <c:pt idx="4">
                  <c:v>Schick Xtreme 2 Sensitive Disposable Razors 12 Pack (2.7%)</c:v>
                </c:pt>
                <c:pt idx="5">
                  <c:v>Schick Xtreme 2 Sensitive Disposable Razors 24 Pack (0.0%)</c:v>
                </c:pt>
                <c:pt idx="6">
                  <c:v>Schick Xtreme 5 Sensitive Disposable Razors 2 Pack (0.0%)</c:v>
                </c:pt>
                <c:pt idx="7">
                  <c:v>Schick Xtreme 5 Sensitive Disposable Razors 4 Pack (0.0%)</c:v>
                </c:pt>
                <c:pt idx="8">
                  <c:v>Schick Xtreme 3 Body &amp; Groin Disposable Razors 3 Pack (0.0%)</c:v>
                </c:pt>
                <c:pt idx="9">
                  <c:v>Schick Hydro 5 Ultimate Comfort Disposable Razors 3 Pack (0.0%)</c:v>
                </c:pt>
              </c:strCache>
            </c:strRef>
          </c:cat>
          <c:val>
            <c:numRef>
              <c:f>Sheet1!$B$2:$B$11</c:f>
              <c:numCache>
                <c:formatCode>General</c:formatCode>
                <c:ptCount val="10"/>
                <c:pt idx="0">
                  <c:v>0.9999999999996501</c:v>
                </c:pt>
                <c:pt idx="1">
                  <c:v>5.456156637418335e-14</c:v>
                </c:pt>
                <c:pt idx="2">
                  <c:v>2.7280783187091676e-14</c:v>
                </c:pt>
                <c:pt idx="3">
                  <c:v>6.820195796772919e-15</c:v>
                </c:pt>
                <c:pt idx="4">
                  <c:v>0.0</c:v>
                </c:pt>
                <c:pt idx="5">
                  <c:v>0.0</c:v>
                </c:pt>
                <c:pt idx="6">
                  <c:v>0.0</c:v>
                </c:pt>
                <c:pt idx="7">
                  <c:v>0.0</c:v>
                </c:pt>
                <c:pt idx="8">
                  <c:v>0.0</c:v>
                </c:pt>
                <c:pt idx="9">
                  <c:v>0.0</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Schick Quattro Four Blade Refills 6 Pack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one Blades (83.2%)</c:v>
                </c:pt>
                <c:pt idx="1">
                  <c:v>Van Der Hagen Men Double Edge Blade Refills 10 Pack (1.2%)</c:v>
                </c:pt>
                <c:pt idx="2">
                  <c:v>Schick Hydro 5 Blade Sensitive Refills 6 Pack (0.6%)</c:v>
                </c:pt>
                <c:pt idx="3">
                  <c:v>Schick Xtreme 2 Sensitive Disposable Razors 12 Pack (2.7%)</c:v>
                </c:pt>
                <c:pt idx="4">
                  <c:v>Schick Xtreme 5 Sensitive Disposable Razors 8 Pack (0.0%)</c:v>
                </c:pt>
                <c:pt idx="5">
                  <c:v>Schick Xtreme 2 Sensitive Disposable Razors 24 Pack (0.0%)</c:v>
                </c:pt>
                <c:pt idx="6">
                  <c:v>Schick Xtreme 5 Sensitive Disposable Razors 2 Pack (0.0%)</c:v>
                </c:pt>
                <c:pt idx="7">
                  <c:v>Schick Xtreme 5 Sensitive Disposable Razors 4 Pack (0.0%)</c:v>
                </c:pt>
                <c:pt idx="8">
                  <c:v>Schick Xtreme 3 Body &amp; Groin Disposable Razors 3 Pack (0.0%)</c:v>
                </c:pt>
                <c:pt idx="9">
                  <c:v>Schick Hydro 5 Ultimate Comfort Disposable Razors 3 Pack (0.0%)</c:v>
                </c:pt>
              </c:strCache>
            </c:strRef>
          </c:cat>
          <c:val>
            <c:numRef>
              <c:f>Sheet1!$B$2:$B$11</c:f>
              <c:numCache>
                <c:formatCode>General</c:formatCode>
                <c:ptCount val="10"/>
                <c:pt idx="0">
                  <c:v>1.0000000000467621</c:v>
                </c:pt>
                <c:pt idx="1">
                  <c:v>4.059651102152491e-13</c:v>
                </c:pt>
                <c:pt idx="2">
                  <c:v>2.0298255510762454e-13</c:v>
                </c:pt>
                <c:pt idx="3">
                  <c:v>-0.0</c:v>
                </c:pt>
                <c:pt idx="4">
                  <c:v>-0.0</c:v>
                </c:pt>
                <c:pt idx="5">
                  <c:v>-0.0</c:v>
                </c:pt>
                <c:pt idx="6">
                  <c:v>-0.0</c:v>
                </c:pt>
                <c:pt idx="7">
                  <c:v>-0.0</c:v>
                </c:pt>
                <c:pt idx="8">
                  <c:v>-0.0</c:v>
                </c:pt>
                <c:pt idx="9">
                  <c:v>-0.0</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Schick Quattro Four Blade Refills 6 Pack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one Blades (83.2%)</c:v>
                </c:pt>
                <c:pt idx="1">
                  <c:v>Harry's Men Five Blade Refills 4 Pack (2.5%)</c:v>
                </c:pt>
                <c:pt idx="2">
                  <c:v>Gillette Fusion 5 Blade Refills 12 Pack (0.9%)</c:v>
                </c:pt>
                <c:pt idx="3">
                  <c:v>Gillette Mach 3 Blade Refills 4 Pack (1.3%)</c:v>
                </c:pt>
                <c:pt idx="4">
                  <c:v>Equate Easy Fit 5 Blade Refills 4 Pack (0.6%)</c:v>
                </c:pt>
                <c:pt idx="5">
                  <c:v>Dollar Shave Club 6 Blades Blade Refills 4 Pack (0.6%)</c:v>
                </c:pt>
                <c:pt idx="6">
                  <c:v>Schick Hydro 5 Blade Sensitive Refills 12 Pack (0.4%)</c:v>
                </c:pt>
                <c:pt idx="7">
                  <c:v>Schick Xtreme 2 Sensitive Disposable Razors 12 Pack (2.7%)</c:v>
                </c:pt>
                <c:pt idx="8">
                  <c:v>Schick Xtreme 3 Body &amp; Groin Disposable Razors 3 Pack (0.0%)</c:v>
                </c:pt>
                <c:pt idx="9">
                  <c:v>Schick Xtreme 2 Sensitive Disposable Razors 24 Pack (0.0%)</c:v>
                </c:pt>
              </c:strCache>
            </c:strRef>
          </c:cat>
          <c:val>
            <c:numRef>
              <c:f>Sheet1!$B$2:$B$11</c:f>
              <c:numCache>
                <c:formatCode>General</c:formatCode>
                <c:ptCount val="10"/>
                <c:pt idx="0">
                  <c:v>0.9999999999939329</c:v>
                </c:pt>
                <c:pt idx="1">
                  <c:v>1.0942542764054779e-13</c:v>
                </c:pt>
                <c:pt idx="2">
                  <c:v>5.4712713820273894e-14</c:v>
                </c:pt>
                <c:pt idx="3">
                  <c:v>5.4712713820273894e-14</c:v>
                </c:pt>
                <c:pt idx="4">
                  <c:v>2.7356356910136947e-14</c:v>
                </c:pt>
                <c:pt idx="5">
                  <c:v>2.7356356910136947e-14</c:v>
                </c:pt>
                <c:pt idx="6">
                  <c:v>1.3678178455068474e-14</c:v>
                </c:pt>
                <c:pt idx="7">
                  <c:v>0.0</c:v>
                </c:pt>
                <c:pt idx="8">
                  <c:v>0.0</c:v>
                </c:pt>
                <c:pt idx="9">
                  <c:v>0.0</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Equate 5 Blades Blade Refills 4 Pack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arry's Men Five Blade Refills 8 Pack (1.6%)</c:v>
                </c:pt>
                <c:pt idx="1">
                  <c:v>Harry's Men Five Blade Refills 4 Pack (2.5%)</c:v>
                </c:pt>
                <c:pt idx="2">
                  <c:v>None Blades (83.2%)</c:v>
                </c:pt>
                <c:pt idx="3">
                  <c:v>Harry's Men Five Blade Refills 12 Pack (0.9%)</c:v>
                </c:pt>
                <c:pt idx="4">
                  <c:v>None Razors (12.2%)</c:v>
                </c:pt>
                <c:pt idx="5">
                  <c:v>Dollar Shave Club 6 1 Handle + 2 Blades (2.0%)</c:v>
                </c:pt>
                <c:pt idx="6">
                  <c:v>Gillette Mach 3 1 Handle + 2 Cartridges (2.7%)</c:v>
                </c:pt>
                <c:pt idx="7">
                  <c:v>Dollar Shave Club 6 Blades Blade Refills 4 Pack (0.6%)</c:v>
                </c:pt>
                <c:pt idx="8">
                  <c:v>Gillette Fusion 5 1 Handle + 2 Cartridges (2.9%)</c:v>
                </c:pt>
                <c:pt idx="9">
                  <c:v>Van Der Hagen Men Double Edge Blade 1 Handle + 5 Cartridges (0.8%)</c:v>
                </c:pt>
              </c:strCache>
            </c:strRef>
          </c:cat>
          <c:val>
            <c:numRef>
              <c:f>Sheet1!$B$2:$B$11</c:f>
              <c:numCache>
                <c:formatCode>General</c:formatCode>
                <c:ptCount val="10"/>
                <c:pt idx="0">
                  <c:v>0.4341901414920318</c:v>
                </c:pt>
                <c:pt idx="1">
                  <c:v>0.33131443890007733</c:v>
                </c:pt>
                <c:pt idx="2">
                  <c:v>0.14353650442123528</c:v>
                </c:pt>
                <c:pt idx="3">
                  <c:v>0.09055943099597483</c:v>
                </c:pt>
                <c:pt idx="4">
                  <c:v>0.0005007566739140889</c:v>
                </c:pt>
                <c:pt idx="5">
                  <c:v>0.00031701931358042436</c:v>
                </c:pt>
                <c:pt idx="6">
                  <c:v>0.00011678498415079861</c:v>
                </c:pt>
                <c:pt idx="7">
                  <c:v>9.337867726356753e-05</c:v>
                </c:pt>
                <c:pt idx="8">
                  <c:v>9.29648626757456e-05</c:v>
                </c:pt>
                <c:pt idx="9">
                  <c:v>8.040949091116309e-0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Equate 5 Blades Blade Refills 4 Pack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arry's Men Five Blade Refills 8 Pack (1.6%)</c:v>
                </c:pt>
                <c:pt idx="1">
                  <c:v>Harry's Men Five Blade Refills 4 Pack (2.5%)</c:v>
                </c:pt>
                <c:pt idx="2">
                  <c:v>None Blades (83.2%)</c:v>
                </c:pt>
                <c:pt idx="3">
                  <c:v>Harry's Men Five Blade Refills 12 Pack (0.9%)</c:v>
                </c:pt>
                <c:pt idx="4">
                  <c:v>None Razors (12.2%)</c:v>
                </c:pt>
                <c:pt idx="5">
                  <c:v>Dollar Shave Club 6 1 Handle + 2 Blades (2.0%)</c:v>
                </c:pt>
                <c:pt idx="6">
                  <c:v>Gillette Mach 3 1 Handle + 2 Cartridges (2.7%)</c:v>
                </c:pt>
                <c:pt idx="7">
                  <c:v>Dollar Shave Club 6 Blades Blade Refills 4 Pack (0.6%)</c:v>
                </c:pt>
                <c:pt idx="8">
                  <c:v>Gillette Fusion 5 1 Handle + 2 Cartridges (2.9%)</c:v>
                </c:pt>
                <c:pt idx="9">
                  <c:v>Van Der Hagen Men Double Edge Blade 1 Handle + 5 Cartridges (0.8%)</c:v>
                </c:pt>
              </c:strCache>
            </c:strRef>
          </c:cat>
          <c:val>
            <c:numRef>
              <c:f>Sheet1!$B$2:$B$11</c:f>
              <c:numCache>
                <c:formatCode>General</c:formatCode>
                <c:ptCount val="10"/>
                <c:pt idx="0">
                  <c:v>0.4251299458061123</c:v>
                </c:pt>
                <c:pt idx="1">
                  <c:v>0.3206292020914832</c:v>
                </c:pt>
                <c:pt idx="2">
                  <c:v>0.16086497763456187</c:v>
                </c:pt>
                <c:pt idx="3">
                  <c:v>0.09218248776688284</c:v>
                </c:pt>
                <c:pt idx="4">
                  <c:v>0.001495897109167742</c:v>
                </c:pt>
                <c:pt idx="5">
                  <c:v>0.0009470404528890454</c:v>
                </c:pt>
                <c:pt idx="6">
                  <c:v>0.0003488731936445684</c:v>
                </c:pt>
                <c:pt idx="7">
                  <c:v>0.0002789526055691954</c:v>
                </c:pt>
                <c:pt idx="8">
                  <c:v>0.00027771626236036136</c:v>
                </c:pt>
                <c:pt idx="9">
                  <c:v>0.0002402099292494901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Equate Easy Fit 5 Blade Refills 4 Pack (0.6%)</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one Blades (83.2%)</c:v>
                </c:pt>
                <c:pt idx="1">
                  <c:v>Gillette Fusion 5 Blade Refills 4 Pack (1.1%)</c:v>
                </c:pt>
                <c:pt idx="2">
                  <c:v>Equate Easy Fit 5 Blade Refills 8 Pack (0.4%)</c:v>
                </c:pt>
                <c:pt idx="3">
                  <c:v>Equate Easy Fit 5 Blade Refills 12 Pack (0.4%)</c:v>
                </c:pt>
                <c:pt idx="4">
                  <c:v>Gillette Fusion 5 Proglide Blade Refills 4 Pack (1.2%)</c:v>
                </c:pt>
                <c:pt idx="5">
                  <c:v>Gillette Fusion 5 Blade Refills 12 Pack (0.9%)</c:v>
                </c:pt>
                <c:pt idx="6">
                  <c:v>Gillette Fusion 5 Proglide Blade Refills 8 Pack (1.0%)</c:v>
                </c:pt>
                <c:pt idx="7">
                  <c:v>Gillette Fusion 5 Proglide Blade Refills 12 Pack (0.8%)</c:v>
                </c:pt>
                <c:pt idx="8">
                  <c:v>None Razors (12.2%)</c:v>
                </c:pt>
                <c:pt idx="9">
                  <c:v>Gillette Mach 3 1 Handle + 2 Cartridges (2.7%)</c:v>
                </c:pt>
              </c:strCache>
            </c:strRef>
          </c:cat>
          <c:val>
            <c:numRef>
              <c:f>Sheet1!$B$2:$B$11</c:f>
              <c:numCache>
                <c:formatCode>General</c:formatCode>
                <c:ptCount val="10"/>
                <c:pt idx="0">
                  <c:v>0.4747910464987444</c:v>
                </c:pt>
                <c:pt idx="1">
                  <c:v>0.19491996219694835</c:v>
                </c:pt>
                <c:pt idx="2">
                  <c:v>0.11273150308473295</c:v>
                </c:pt>
                <c:pt idx="3">
                  <c:v>0.07897142227717496</c:v>
                </c:pt>
                <c:pt idx="4">
                  <c:v>0.04135399057414485</c:v>
                </c:pt>
                <c:pt idx="5">
                  <c:v>0.03752375495454367</c:v>
                </c:pt>
                <c:pt idx="6">
                  <c:v>0.03592087684294101</c:v>
                </c:pt>
                <c:pt idx="7">
                  <c:v>0.023332517893877747</c:v>
                </c:pt>
                <c:pt idx="8">
                  <c:v>0.0008361060193848264</c:v>
                </c:pt>
                <c:pt idx="9">
                  <c:v>0.00023575015290010397</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Equate Easy Fit 5 Blade Refills 4 Pack (0.6%)</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one Blades (83.2%)</c:v>
                </c:pt>
                <c:pt idx="1">
                  <c:v>Gillette Fusion 5 Blade Refills 4 Pack (1.1%)</c:v>
                </c:pt>
                <c:pt idx="2">
                  <c:v>Equate Easy Fit 5 Blade Refills 8 Pack (0.4%)</c:v>
                </c:pt>
                <c:pt idx="3">
                  <c:v>Equate Easy Fit 5 Blade Refills 12 Pack (0.4%)</c:v>
                </c:pt>
                <c:pt idx="4">
                  <c:v>Gillette Fusion 5 Blade Refills 12 Pack (0.9%)</c:v>
                </c:pt>
                <c:pt idx="5">
                  <c:v>Gillette Fusion 5 Proglide Blade Refills 4 Pack (1.2%)</c:v>
                </c:pt>
                <c:pt idx="6">
                  <c:v>Gillette Fusion 5 Proglide Blade Refills 8 Pack (1.0%)</c:v>
                </c:pt>
                <c:pt idx="7">
                  <c:v>Gillette Fusion 5 Proglide Blade Refills 12 Pack (0.8%)</c:v>
                </c:pt>
                <c:pt idx="8">
                  <c:v>None Razors (12.2%)</c:v>
                </c:pt>
                <c:pt idx="9">
                  <c:v>Gillette Mach 3 1 Handle + 2 Cartridges (2.7%)</c:v>
                </c:pt>
              </c:strCache>
            </c:strRef>
          </c:cat>
          <c:val>
            <c:numRef>
              <c:f>Sheet1!$B$2:$B$11</c:f>
              <c:numCache>
                <c:formatCode>General</c:formatCode>
                <c:ptCount val="10"/>
                <c:pt idx="0">
                  <c:v>0.4473619489096524</c:v>
                </c:pt>
                <c:pt idx="1">
                  <c:v>0.17501813001851343</c:v>
                </c:pt>
                <c:pt idx="2">
                  <c:v>0.14695741095526016</c:v>
                </c:pt>
                <c:pt idx="3">
                  <c:v>0.10118515585724965</c:v>
                </c:pt>
                <c:pt idx="4">
                  <c:v>0.04004211724846728</c:v>
                </c:pt>
                <c:pt idx="5">
                  <c:v>0.0349393103637289</c:v>
                </c:pt>
                <c:pt idx="6">
                  <c:v>0.03176585945411071</c:v>
                </c:pt>
                <c:pt idx="7">
                  <c:v>0.022203620555100587</c:v>
                </c:pt>
                <c:pt idx="8">
                  <c:v>0.000967541976610238</c:v>
                </c:pt>
                <c:pt idx="9">
                  <c:v>0.0002728184218308252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Equate Easy Fit 5 Blade Refills 8 Pack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one Blades (83.2%)</c:v>
                </c:pt>
                <c:pt idx="1">
                  <c:v>Equate Easy Fit 5 Blade Refills 4 Pack (0.6%)</c:v>
                </c:pt>
                <c:pt idx="2">
                  <c:v>Gillette Fusion 5 Blade Refills 4 Pack (1.1%)</c:v>
                </c:pt>
                <c:pt idx="3">
                  <c:v>Equate Easy Fit 5 Blade Refills 12 Pack (0.4%)</c:v>
                </c:pt>
                <c:pt idx="4">
                  <c:v>Gillette Fusion 5 Proglide Blade Refills 4 Pack (1.2%)</c:v>
                </c:pt>
                <c:pt idx="5">
                  <c:v>Gillette Fusion 5 Blade Refills 12 Pack (0.9%)</c:v>
                </c:pt>
                <c:pt idx="6">
                  <c:v>Gillette Fusion 5 Proglide Blade Refills 8 Pack (1.0%)</c:v>
                </c:pt>
                <c:pt idx="7">
                  <c:v>Gillette Fusion 5 Proglide Blade Refills 12 Pack (0.8%)</c:v>
                </c:pt>
                <c:pt idx="8">
                  <c:v>None Razors (12.2%)</c:v>
                </c:pt>
                <c:pt idx="9">
                  <c:v>Gillette Mach 3 1 Handle + 2 Cartridges (2.7%)</c:v>
                </c:pt>
              </c:strCache>
            </c:strRef>
          </c:cat>
          <c:val>
            <c:numRef>
              <c:f>Sheet1!$B$2:$B$11</c:f>
              <c:numCache>
                <c:formatCode>General</c:formatCode>
                <c:ptCount val="10"/>
                <c:pt idx="0">
                  <c:v>0.27810434352164737</c:v>
                </c:pt>
                <c:pt idx="1">
                  <c:v>0.2599682396714809</c:v>
                </c:pt>
                <c:pt idx="2">
                  <c:v>0.1856746665052718</c:v>
                </c:pt>
                <c:pt idx="3">
                  <c:v>0.10636100653866441</c:v>
                </c:pt>
                <c:pt idx="4">
                  <c:v>0.051598655334601846</c:v>
                </c:pt>
                <c:pt idx="5">
                  <c:v>0.04701817254687777</c:v>
                </c:pt>
                <c:pt idx="6">
                  <c:v>0.043090133179219496</c:v>
                </c:pt>
                <c:pt idx="7">
                  <c:v>0.027425680184552416</c:v>
                </c:pt>
                <c:pt idx="8">
                  <c:v>0.001395156856268742</c:v>
                </c:pt>
                <c:pt idx="9">
                  <c:v>0.000393377518103917</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Schick Razor (2.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quate Dispo (19.1%)</c:v>
                </c:pt>
                <c:pt idx="1">
                  <c:v>Schick Dispo (8.1%)</c:v>
                </c:pt>
                <c:pt idx="2">
                  <c:v>Bic Dispo (16.9%)</c:v>
                </c:pt>
                <c:pt idx="3">
                  <c:v>Gillette Dispo (17.5%)</c:v>
                </c:pt>
                <c:pt idx="4">
                  <c:v>Gillette Razor (13.9%)</c:v>
                </c:pt>
                <c:pt idx="5">
                  <c:v>Dollar Shave Club Razor (2.0%)</c:v>
                </c:pt>
                <c:pt idx="6">
                  <c:v>Equate Razor (1.1%)</c:v>
                </c:pt>
                <c:pt idx="7">
                  <c:v>Harrys Razor (6.2%)</c:v>
                </c:pt>
                <c:pt idx="8">
                  <c:v>Gillette Blade (7.3%)</c:v>
                </c:pt>
                <c:pt idx="9">
                  <c:v>Harrys Blade (5.0%)</c:v>
                </c:pt>
              </c:strCache>
            </c:strRef>
          </c:cat>
          <c:val>
            <c:numRef>
              <c:f>Sheet1!$B$2:$B$11</c:f>
              <c:numCache>
                <c:formatCode>General</c:formatCode>
                <c:ptCount val="10"/>
                <c:pt idx="0">
                  <c:v>0.23428882520033206</c:v>
                </c:pt>
                <c:pt idx="1">
                  <c:v>0.2244785802897139</c:v>
                </c:pt>
                <c:pt idx="2">
                  <c:v>0.13185059359708345</c:v>
                </c:pt>
                <c:pt idx="3">
                  <c:v>0.12956185481568208</c:v>
                </c:pt>
                <c:pt idx="4">
                  <c:v>0.08983505925738516</c:v>
                </c:pt>
                <c:pt idx="5">
                  <c:v>0.03886416413285771</c:v>
                </c:pt>
                <c:pt idx="6">
                  <c:v>0.033730114256230646</c:v>
                </c:pt>
                <c:pt idx="7">
                  <c:v>0.027334484817647848</c:v>
                </c:pt>
                <c:pt idx="8">
                  <c:v>0.0208903934106596</c:v>
                </c:pt>
                <c:pt idx="9">
                  <c:v>0.01349497215504107</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Equate Easy Fit 5 Blade Refills 8 Pack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quate Easy Fit 5 Blade Refills 4 Pack (0.6%)</c:v>
                </c:pt>
                <c:pt idx="1">
                  <c:v>None Blades (83.2%)</c:v>
                </c:pt>
                <c:pt idx="2">
                  <c:v>Gillette Fusion 5 Blade Refills 4 Pack (1.1%)</c:v>
                </c:pt>
                <c:pt idx="3">
                  <c:v>Equate Easy Fit 5 Blade Refills 12 Pack (0.4%)</c:v>
                </c:pt>
                <c:pt idx="4">
                  <c:v>Gillette Fusion 5 Blade Refills 12 Pack (0.9%)</c:v>
                </c:pt>
                <c:pt idx="5">
                  <c:v>Gillette Fusion 5 Proglide Blade Refills 4 Pack (1.2%)</c:v>
                </c:pt>
                <c:pt idx="6">
                  <c:v>Gillette Fusion 5 Proglide Blade Refills 8 Pack (1.0%)</c:v>
                </c:pt>
                <c:pt idx="7">
                  <c:v>Gillette Fusion 5 Proglide Blade Refills 12 Pack (0.8%)</c:v>
                </c:pt>
                <c:pt idx="8">
                  <c:v>None Razors (12.2%)</c:v>
                </c:pt>
                <c:pt idx="9">
                  <c:v>Gillette Mach 3 1 Handle + 2 Cartridges (2.7%)</c:v>
                </c:pt>
              </c:strCache>
            </c:strRef>
          </c:cat>
          <c:val>
            <c:numRef>
              <c:f>Sheet1!$B$2:$B$11</c:f>
              <c:numCache>
                <c:formatCode>General</c:formatCode>
                <c:ptCount val="10"/>
                <c:pt idx="0">
                  <c:v>0.3678357975778885</c:v>
                </c:pt>
                <c:pt idx="1">
                  <c:v>0.22762037579546116</c:v>
                </c:pt>
                <c:pt idx="2">
                  <c:v>0.16595255588440735</c:v>
                </c:pt>
                <c:pt idx="3">
                  <c:v>0.12716181867649046</c:v>
                </c:pt>
                <c:pt idx="4">
                  <c:v>0.037190803618331984</c:v>
                </c:pt>
                <c:pt idx="5">
                  <c:v>0.027876401989298687</c:v>
                </c:pt>
                <c:pt idx="6">
                  <c:v>0.027070492615197506</c:v>
                </c:pt>
                <c:pt idx="7">
                  <c:v>0.018765262345889898</c:v>
                </c:pt>
                <c:pt idx="8">
                  <c:v>0.0009676187219291228</c:v>
                </c:pt>
                <c:pt idx="9">
                  <c:v>0.0002728439572986206</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Equate Easy Fit 5 Blade Refills 12 Pack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one Blades (83.2%)</c:v>
                </c:pt>
                <c:pt idx="1">
                  <c:v>Gillette Fusion 5 Blade Refills 4 Pack (1.1%)</c:v>
                </c:pt>
                <c:pt idx="2">
                  <c:v>Equate Easy Fit 5 Blade Refills 4 Pack (0.6%)</c:v>
                </c:pt>
                <c:pt idx="3">
                  <c:v>Equate Easy Fit 5 Blade Refills 8 Pack (0.4%)</c:v>
                </c:pt>
                <c:pt idx="4">
                  <c:v>Gillette Fusion 5 Blade Refills 12 Pack (0.9%)</c:v>
                </c:pt>
                <c:pt idx="5">
                  <c:v>Gillette Fusion 5 Proglide Blade Refills 8 Pack (1.0%)</c:v>
                </c:pt>
                <c:pt idx="6">
                  <c:v>Gillette Fusion 5 Proglide Blade Refills 12 Pack (0.8%)</c:v>
                </c:pt>
                <c:pt idx="7">
                  <c:v>Gillette Fusion 5 Proglide Blade Refills 4 Pack (1.2%)</c:v>
                </c:pt>
                <c:pt idx="8">
                  <c:v>None Razors (12.2%)</c:v>
                </c:pt>
                <c:pt idx="9">
                  <c:v>Gillette Mach 3 1 Handle + 2 Cartridges (2.7%)</c:v>
                </c:pt>
              </c:strCache>
            </c:strRef>
          </c:cat>
          <c:val>
            <c:numRef>
              <c:f>Sheet1!$B$2:$B$11</c:f>
              <c:numCache>
                <c:formatCode>General</c:formatCode>
                <c:ptCount val="10"/>
                <c:pt idx="0">
                  <c:v>0.30843090016880575</c:v>
                </c:pt>
                <c:pt idx="1">
                  <c:v>0.16212227888805264</c:v>
                </c:pt>
                <c:pt idx="2">
                  <c:v>0.15418391226516343</c:v>
                </c:pt>
                <c:pt idx="3">
                  <c:v>0.13053138987153706</c:v>
                </c:pt>
                <c:pt idx="4">
                  <c:v>0.11393642157577384</c:v>
                </c:pt>
                <c:pt idx="5">
                  <c:v>0.048160327244894253</c:v>
                </c:pt>
                <c:pt idx="6">
                  <c:v>0.04132711837564149</c:v>
                </c:pt>
                <c:pt idx="7">
                  <c:v>0.04058367048215903</c:v>
                </c:pt>
                <c:pt idx="8">
                  <c:v>0.001330610130344414</c:v>
                </c:pt>
                <c:pt idx="9">
                  <c:v>0.00037517592402921984</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Equate Easy Fit 5 Blade Refills 12 Pack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one Blades (83.2%)</c:v>
                </c:pt>
                <c:pt idx="1">
                  <c:v>Equate Easy Fit 5 Blade Refills 4 Pack (0.6%)</c:v>
                </c:pt>
                <c:pt idx="2">
                  <c:v>Gillette Fusion 5 Blade Refills 4 Pack (1.1%)</c:v>
                </c:pt>
                <c:pt idx="3">
                  <c:v>Equate Easy Fit 5 Blade Refills 8 Pack (0.4%)</c:v>
                </c:pt>
                <c:pt idx="4">
                  <c:v>Gillette Fusion 5 Blade Refills 12 Pack (0.9%)</c:v>
                </c:pt>
                <c:pt idx="5">
                  <c:v>Gillette Fusion 5 Proglide Blade Refills 4 Pack (1.2%)</c:v>
                </c:pt>
                <c:pt idx="6">
                  <c:v>Gillette Fusion 5 Proglide Blade Refills 8 Pack (1.0%)</c:v>
                </c:pt>
                <c:pt idx="7">
                  <c:v>Gillette Fusion 5 Proglide Blade Refills 12 Pack (0.8%)</c:v>
                </c:pt>
                <c:pt idx="8">
                  <c:v>None Razors (12.2%)</c:v>
                </c:pt>
                <c:pt idx="9">
                  <c:v>Gillette Mach 3 1 Handle + 2 Cartridges (2.7%)</c:v>
                </c:pt>
              </c:strCache>
            </c:strRef>
          </c:cat>
          <c:val>
            <c:numRef>
              <c:f>Sheet1!$B$2:$B$11</c:f>
              <c:numCache>
                <c:formatCode>General</c:formatCode>
                <c:ptCount val="10"/>
                <c:pt idx="0">
                  <c:v>0.34009935467694</c:v>
                </c:pt>
                <c:pt idx="1">
                  <c:v>0.1947995624064077</c:v>
                </c:pt>
                <c:pt idx="2">
                  <c:v>0.18705357207559783</c:v>
                </c:pt>
                <c:pt idx="3">
                  <c:v>0.14553885713825163</c:v>
                </c:pt>
                <c:pt idx="4">
                  <c:v>0.04923884519601066</c:v>
                </c:pt>
                <c:pt idx="5">
                  <c:v>0.0348803906633762</c:v>
                </c:pt>
                <c:pt idx="6">
                  <c:v>0.02985046485823962</c:v>
                </c:pt>
                <c:pt idx="7">
                  <c:v>0.017722889181028142</c:v>
                </c:pt>
                <c:pt idx="8">
                  <c:v>0.0014998076289978795</c:v>
                </c:pt>
                <c:pt idx="9">
                  <c:v>0.000422911191397312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Schick Xtreme 2 Sensitive Disposable Razors 12 Pack</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5.470000000000001</c:v>
                </c:pt>
                <c:pt idx="1">
                  <c:v>5.7700000000000005</c:v>
                </c:pt>
                <c:pt idx="2">
                  <c:v>6.47</c:v>
                </c:pt>
                <c:pt idx="3">
                  <c:v>7.07</c:v>
                </c:pt>
                <c:pt idx="4">
                  <c:v>8.07</c:v>
                </c:pt>
              </c:numCache>
            </c:numRef>
          </c:xVal>
          <c:yVal>
            <c:numRef>
              <c:f>Sheet1!$B$2:$B$6</c:f>
              <c:numCache>
                <c:formatCode>General</c:formatCode>
                <c:ptCount val="5"/>
                <c:pt idx="0">
                  <c:v>0.08896232559524755</c:v>
                </c:pt>
                <c:pt idx="1">
                  <c:v>0.05924352356986351</c:v>
                </c:pt>
                <c:pt idx="2">
                  <c:v>0.0</c:v>
                </c:pt>
                <c:pt idx="3">
                  <c:v>-0.1337238454521389</c:v>
                </c:pt>
                <c:pt idx="4">
                  <c:v>-0.25963423410289466</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Schick Xtreme 3 Sensitive Disposable Razors 4 Pack</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5.470000000000001</c:v>
                </c:pt>
                <c:pt idx="1">
                  <c:v>5.7700000000000005</c:v>
                </c:pt>
                <c:pt idx="2">
                  <c:v>6.47</c:v>
                </c:pt>
                <c:pt idx="3">
                  <c:v>7.07</c:v>
                </c:pt>
                <c:pt idx="4">
                  <c:v>8.07</c:v>
                </c:pt>
              </c:numCache>
            </c:numRef>
          </c:xVal>
          <c:yVal>
            <c:numRef>
              <c:f>Sheet1!$B$9:$B$13</c:f>
              <c:numCache>
                <c:formatCode>General</c:formatCode>
                <c:ptCount val="5"/>
                <c:pt idx="0">
                  <c:v>0.11237831809305171</c:v>
                </c:pt>
                <c:pt idx="1">
                  <c:v>0.07499693265707238</c:v>
                </c:pt>
                <c:pt idx="2">
                  <c:v>0.0</c:v>
                </c:pt>
                <c:pt idx="3">
                  <c:v>-0.16904405688094434</c:v>
                </c:pt>
                <c:pt idx="4">
                  <c:v>-0.34496888657031827</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8.07"/>
          <c:min val="5.470000000000001"/>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Schick Xtreme 2 Sensitive Disposable Razors 24 Pack</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10.17</c:v>
                </c:pt>
                <c:pt idx="1">
                  <c:v>10.77</c:v>
                </c:pt>
                <c:pt idx="2">
                  <c:v>11.97</c:v>
                </c:pt>
                <c:pt idx="3">
                  <c:v>13.17</c:v>
                </c:pt>
                <c:pt idx="4">
                  <c:v>14.97</c:v>
                </c:pt>
              </c:numCache>
            </c:numRef>
          </c:xVal>
          <c:yVal>
            <c:numRef>
              <c:f>Sheet1!$B$2:$B$6</c:f>
              <c:numCache>
                <c:formatCode>General</c:formatCode>
                <c:ptCount val="5"/>
                <c:pt idx="0">
                  <c:v>0.1879461201574765</c:v>
                </c:pt>
                <c:pt idx="1">
                  <c:v>0.10497146075286164</c:v>
                </c:pt>
                <c:pt idx="2">
                  <c:v>0.0</c:v>
                </c:pt>
                <c:pt idx="3">
                  <c:v>-0.09960373870953829</c:v>
                </c:pt>
                <c:pt idx="4">
                  <c:v>-0.2910879566407398</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Schick Xtreme 5 Sensitive Disposable Razors 2 Pack</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0.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5.470000000000001</c:v>
                </c:pt>
                <c:pt idx="1">
                  <c:v>5.7700000000000005</c:v>
                </c:pt>
                <c:pt idx="2">
                  <c:v>6.47</c:v>
                </c:pt>
                <c:pt idx="3">
                  <c:v>7.07</c:v>
                </c:pt>
                <c:pt idx="4">
                  <c:v>8.07</c:v>
                </c:pt>
              </c:numCache>
            </c:numRef>
          </c:xVal>
          <c:yVal>
            <c:numRef>
              <c:f>Sheet1!$B$9:$B$13</c:f>
              <c:numCache>
                <c:formatCode>General</c:formatCode>
                <c:ptCount val="5"/>
                <c:pt idx="0">
                  <c:v>0.10555443836946064</c:v>
                </c:pt>
                <c:pt idx="1">
                  <c:v>0.07073503247958832</c:v>
                </c:pt>
                <c:pt idx="2">
                  <c:v>0.0</c:v>
                </c:pt>
                <c:pt idx="3">
                  <c:v>-0.16206742431874474</c:v>
                </c:pt>
                <c:pt idx="4">
                  <c:v>-0.3199528676957684</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Schick Xtreme 5 Sensitive Disposable Razors 4 Pack</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nchorCtr="0"/>
                  <a:lstStyle/>
                  <a:p>
                    <a:r>
                      <a:t>-2.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10.17</c:v>
                </c:pt>
                <c:pt idx="1">
                  <c:v>10.77</c:v>
                </c:pt>
                <c:pt idx="2">
                  <c:v>11.97</c:v>
                </c:pt>
                <c:pt idx="3">
                  <c:v>13.17</c:v>
                </c:pt>
                <c:pt idx="4">
                  <c:v>14.97</c:v>
                </c:pt>
              </c:numCache>
            </c:numRef>
          </c:xVal>
          <c:yVal>
            <c:numRef>
              <c:f>Sheet1!$B$16:$B$20</c:f>
              <c:numCache>
                <c:formatCode>General</c:formatCode>
                <c:ptCount val="5"/>
                <c:pt idx="0">
                  <c:v>0.23338960643226642</c:v>
                </c:pt>
                <c:pt idx="1">
                  <c:v>0.10979867513050418</c:v>
                </c:pt>
                <c:pt idx="2">
                  <c:v>0.0</c:v>
                </c:pt>
                <c:pt idx="3">
                  <c:v>-0.10038370390586791</c:v>
                </c:pt>
                <c:pt idx="4">
                  <c:v>-0.23061396168087492</c:v>
                </c:pt>
              </c:numCache>
            </c:numRef>
          </c:yVal>
          <c:smooth val="0"/>
          <c:extLst>
            <c:ext xmlns:c16="http://schemas.microsoft.com/office/drawing/2014/chart" uri="{C3380CC4-5D6E-409C-BE32-E72D297353CC}">
              <c16:uniqueId val="{0000007D-1ABB-4592-8776-98B59FCA8F1B}"/>
            </c:ext>
          </c:extLst>
        </c:ser>
        <c:ser>
          <c:idx val="5"/>
          <c:order val="3"/>
          <c:tx>
            <c:strRef>
              <c:f>Sheet1!$B$22</c:f>
              <c:strCache>
                <c:ptCount val="1"/>
                <c:pt idx="0">
                  <c:v>Schick Xtreme 5 Sensitive Disposable Razors 8 Pack</c:v>
                </c:pt>
              </c:strCache>
            </c:strRef>
          </c:tx>
          <c:spPr>
            <a:ln w="19050" cap="rnd">
              <a:solidFill>
                <a:srgbClr val="92D050"/>
              </a:solidFill>
              <a:round/>
            </a:ln>
            <a:effectLst/>
          </c:spPr>
          <c:marker>
            <c:symbol val="circle"/>
            <c:size val="5"/>
            <c:spPr>
              <a:solidFill>
                <a:srgbClr val="92D050"/>
              </a:solidFill>
              <a:ln w="9525">
                <a:solidFill>
                  <a:srgbClr val="FFFFFF"/>
                </a:solidFill>
              </a:ln>
              <a:effectLst/>
            </c:spPr>
          </c:marker>
          <c:dLbls>
            <c:dLbl>
              <c:idx val="0"/>
              <c:tx>
                <c:rich>
                  <a:bodyPr anchorCtr="0"/>
                  <a:lstStyle/>
                  <a:p>
                    <a:r>
                      <a:t>-1.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3:$A$27</c:f>
              <c:numCache>
                <c:formatCode>General</c:formatCode>
                <c:ptCount val="5"/>
                <c:pt idx="0">
                  <c:v>16.97</c:v>
                </c:pt>
                <c:pt idx="1">
                  <c:v>17.97</c:v>
                </c:pt>
                <c:pt idx="2">
                  <c:v>19.97</c:v>
                </c:pt>
                <c:pt idx="3">
                  <c:v>21.97</c:v>
                </c:pt>
                <c:pt idx="4">
                  <c:v>24.97</c:v>
                </c:pt>
              </c:numCache>
            </c:numRef>
          </c:xVal>
          <c:yVal>
            <c:numRef>
              <c:f>Sheet1!$B$23:$B$27</c:f>
              <c:numCache>
                <c:formatCode>General</c:formatCode>
                <c:ptCount val="5"/>
                <c:pt idx="0">
                  <c:v>0.21857499481305898</c:v>
                </c:pt>
                <c:pt idx="1">
                  <c:v>0.10084857057750089</c:v>
                </c:pt>
                <c:pt idx="2">
                  <c:v>0.0</c:v>
                </c:pt>
                <c:pt idx="3">
                  <c:v>-0.0532937720425452</c:v>
                </c:pt>
                <c:pt idx="4">
                  <c:v>-0.10281293710869634</c:v>
                </c:pt>
              </c:numCache>
            </c:numRef>
          </c:yVal>
          <c:smooth val="0"/>
          <c:extLst>
            <c:ext xmlns:c16="http://schemas.microsoft.com/office/drawing/2014/chart" uri="{C3380CC4-5D6E-409C-BE32-E72D297353CC}">
              <c16:uniqueId val="{0000007D-1ABB-4592-8776-98B59FCA8F1B}"/>
            </c:ext>
          </c:extLst>
        </c:ser>
        <c:ser>
          <c:idx val="6"/>
          <c:order val="4"/>
          <c:tx>
            <c:strRef>
              <c:f>Sheet1!$B$29</c:f>
              <c:strCache>
                <c:ptCount val="1"/>
                <c:pt idx="0">
                  <c:v>Schick Xtreme 3 Body &amp; Groin Disposable Razors 3 Pack</c:v>
                </c:pt>
              </c:strCache>
            </c:strRef>
          </c:tx>
          <c:spPr>
            <a:ln w="19050" cap="rnd">
              <a:solidFill>
                <a:srgbClr val="00B050"/>
              </a:solidFill>
              <a:round/>
            </a:ln>
            <a:effectLst/>
          </c:spPr>
          <c:marker>
            <c:symbol val="circle"/>
            <c:size val="5"/>
            <c:spPr>
              <a:solidFill>
                <a:srgbClr val="00B050"/>
              </a:solidFill>
              <a:ln w="9525">
                <a:solidFill>
                  <a:srgbClr val="FFFFFF"/>
                </a:solidFill>
              </a:ln>
              <a:effectLst/>
            </c:spPr>
          </c:marker>
          <c:dLbls>
            <c:dLbl>
              <c:idx val="0"/>
              <c:tx>
                <c:rich>
                  <a:bodyPr anchorCtr="0"/>
                  <a:lstStyle/>
                  <a:p>
                    <a:r>
                      <a:t>-1.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30:$A$34</c:f>
              <c:numCache>
                <c:formatCode>General</c:formatCode>
                <c:ptCount val="5"/>
                <c:pt idx="0">
                  <c:v>8.47</c:v>
                </c:pt>
                <c:pt idx="1">
                  <c:v>8.97</c:v>
                </c:pt>
                <c:pt idx="2">
                  <c:v>9.97</c:v>
                </c:pt>
                <c:pt idx="3">
                  <c:v>10.97</c:v>
                </c:pt>
                <c:pt idx="4">
                  <c:v>12.47</c:v>
                </c:pt>
              </c:numCache>
            </c:numRef>
          </c:xVal>
          <c:yVal>
            <c:numRef>
              <c:f>Sheet1!$B$30:$B$34</c:f>
              <c:numCache>
                <c:formatCode>General</c:formatCode>
                <c:ptCount val="5"/>
                <c:pt idx="0">
                  <c:v>0.17507432631031733</c:v>
                </c:pt>
                <c:pt idx="1">
                  <c:v>0.08443175515898921</c:v>
                </c:pt>
                <c:pt idx="2">
                  <c:v>0.0</c:v>
                </c:pt>
                <c:pt idx="3">
                  <c:v>-0.17501407077603987</c:v>
                </c:pt>
                <c:pt idx="4">
                  <c:v>-0.29182619270697485</c:v>
                </c:pt>
              </c:numCache>
            </c:numRef>
          </c:yVal>
          <c:smooth val="0"/>
          <c:extLst>
            <c:ext xmlns:c16="http://schemas.microsoft.com/office/drawing/2014/chart" uri="{C3380CC4-5D6E-409C-BE32-E72D297353CC}">
              <c16:uniqueId val="{0000007D-1ABB-4592-8776-98B59FCA8F1B}"/>
            </c:ext>
          </c:extLst>
        </c:ser>
        <c:ser>
          <c:idx val="7"/>
          <c:order val="5"/>
          <c:tx>
            <c:strRef>
              <c:f>Sheet1!$B$36</c:f>
              <c:strCache>
                <c:ptCount val="1"/>
                <c:pt idx="0">
                  <c:v>Schick Hydro 5 Ultimate Comfort Disposable Razors 3 Pack</c:v>
                </c:pt>
              </c:strCache>
            </c:strRef>
          </c:tx>
          <c:spPr>
            <a:ln w="19050" cap="rnd">
              <a:solidFill>
                <a:srgbClr val="B8B60D"/>
              </a:solidFill>
              <a:round/>
            </a:ln>
            <a:effectLst/>
          </c:spPr>
          <c:marker>
            <c:symbol val="circle"/>
            <c:size val="5"/>
            <c:spPr>
              <a:solidFill>
                <a:srgbClr val="B8B60D"/>
              </a:solidFill>
              <a:ln w="9525">
                <a:solidFill>
                  <a:srgbClr val="FFFFFF"/>
                </a:solidFill>
              </a:ln>
              <a:effectLst/>
            </c:spPr>
          </c:marker>
          <c:dLbls>
            <c:dLbl>
              <c:idx val="0"/>
              <c:tx>
                <c:rich>
                  <a:bodyPr anchorCtr="0"/>
                  <a:lstStyle/>
                  <a:p>
                    <a:r>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37:$A$41</c:f>
              <c:numCache>
                <c:formatCode>General</c:formatCode>
                <c:ptCount val="5"/>
                <c:pt idx="0">
                  <c:v>8.47</c:v>
                </c:pt>
                <c:pt idx="1">
                  <c:v>8.97</c:v>
                </c:pt>
                <c:pt idx="2">
                  <c:v>9.97</c:v>
                </c:pt>
                <c:pt idx="3">
                  <c:v>10.97</c:v>
                </c:pt>
                <c:pt idx="4">
                  <c:v>12.47</c:v>
                </c:pt>
              </c:numCache>
            </c:numRef>
          </c:xVal>
          <c:yVal>
            <c:numRef>
              <c:f>Sheet1!$B$37:$B$41</c:f>
              <c:numCache>
                <c:formatCode>General</c:formatCode>
                <c:ptCount val="5"/>
                <c:pt idx="0">
                  <c:v>0.1355910333377988</c:v>
                </c:pt>
                <c:pt idx="1">
                  <c:v>0.06995983772153323</c:v>
                </c:pt>
                <c:pt idx="2">
                  <c:v>0.0</c:v>
                </c:pt>
                <c:pt idx="3">
                  <c:v>-0.15231884668545362</c:v>
                </c:pt>
                <c:pt idx="4">
                  <c:v>-0.25358270986069553</c:v>
                </c:pt>
              </c:numCache>
            </c:numRef>
          </c:yVal>
          <c:smooth val="0"/>
          <c:extLst>
            <c:ext xmlns:c16="http://schemas.microsoft.com/office/drawing/2014/chart" uri="{C3380CC4-5D6E-409C-BE32-E72D297353CC}">
              <c16:uniqueId val="{0000007D-1ABB-4592-8776-98B59FCA8F1B}"/>
            </c:ext>
          </c:extLst>
        </c:ser>
        <c:ser>
          <c:idx val="8"/>
          <c:order val="6"/>
          <c:tx>
            <c:strRef>
              <c:f>Sheet1!$B$43</c:f>
              <c:strCache>
                <c:ptCount val="1"/>
                <c:pt idx="0">
                  <c:v>Schick First 4 Blade Disposable Razors 3 Pack</c:v>
                </c:pt>
              </c:strCache>
            </c:strRef>
          </c:tx>
          <c:spPr>
            <a:ln w="19050" cap="rnd">
              <a:solidFill>
                <a:srgbClr val="008E87"/>
              </a:solidFill>
              <a:round/>
            </a:ln>
            <a:effectLst/>
          </c:spPr>
          <c:marker>
            <c:symbol val="circle"/>
            <c:size val="5"/>
            <c:spPr>
              <a:solidFill>
                <a:srgbClr val="008E87"/>
              </a:solidFill>
              <a:ln w="9525">
                <a:solidFill>
                  <a:srgbClr val="FFFFFF"/>
                </a:solidFill>
              </a:ln>
              <a:effectLst/>
            </c:spPr>
          </c:marker>
          <c:dLbls>
            <c:dLbl>
              <c:idx val="0"/>
              <c:tx>
                <c:rich>
                  <a:bodyPr anchorCtr="0"/>
                  <a:lstStyle/>
                  <a:p>
                    <a:r>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2.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44:$A$48</c:f>
              <c:numCache>
                <c:formatCode>General</c:formatCode>
                <c:ptCount val="5"/>
                <c:pt idx="0">
                  <c:v>5.470000000000001</c:v>
                </c:pt>
                <c:pt idx="1">
                  <c:v>5.7700000000000005</c:v>
                </c:pt>
                <c:pt idx="2">
                  <c:v>6.47</c:v>
                </c:pt>
                <c:pt idx="3">
                  <c:v>7.07</c:v>
                </c:pt>
                <c:pt idx="4">
                  <c:v>8.07</c:v>
                </c:pt>
              </c:numCache>
            </c:numRef>
          </c:xVal>
          <c:yVal>
            <c:numRef>
              <c:f>Sheet1!$B$44:$B$48</c:f>
              <c:numCache>
                <c:formatCode>General</c:formatCode>
                <c:ptCount val="5"/>
                <c:pt idx="0">
                  <c:v>0.18536484947090714</c:v>
                </c:pt>
                <c:pt idx="1">
                  <c:v>0.12129968196345203</c:v>
                </c:pt>
                <c:pt idx="2">
                  <c:v>0.0</c:v>
                </c:pt>
                <c:pt idx="3">
                  <c:v>-0.22091986542679226</c:v>
                </c:pt>
                <c:pt idx="4">
                  <c:v>-0.3899278944658295</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24.97"/>
          <c:min val="5.470000000000001"/>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Schick Xtreme 3 Sensitive Disposable Razors 8 Pack</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2.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9.27</c:v>
                </c:pt>
                <c:pt idx="1">
                  <c:v>9.870000000000001</c:v>
                </c:pt>
                <c:pt idx="2">
                  <c:v>10.97</c:v>
                </c:pt>
                <c:pt idx="3">
                  <c:v>11.97</c:v>
                </c:pt>
                <c:pt idx="4">
                  <c:v>13.47</c:v>
                </c:pt>
              </c:numCache>
            </c:numRef>
          </c:xVal>
          <c:yVal>
            <c:numRef>
              <c:f>Sheet1!$B$2:$B$6</c:f>
              <c:numCache>
                <c:formatCode>General</c:formatCode>
                <c:ptCount val="5"/>
                <c:pt idx="0">
                  <c:v>0.27189499750506807</c:v>
                </c:pt>
                <c:pt idx="1">
                  <c:v>0.21061913608498026</c:v>
                </c:pt>
                <c:pt idx="2">
                  <c:v>0.0</c:v>
                </c:pt>
                <c:pt idx="3">
                  <c:v>-0.09237430950314762</c:v>
                </c:pt>
                <c:pt idx="4">
                  <c:v>-0.23608477215865342</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Schick Xtreme 3 Sensitive Disposable Razors 12 Pack</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2.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2.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2.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12.57</c:v>
                </c:pt>
                <c:pt idx="1">
                  <c:v>13.47</c:v>
                </c:pt>
                <c:pt idx="2">
                  <c:v>14.97</c:v>
                </c:pt>
                <c:pt idx="3">
                  <c:v>15.97</c:v>
                </c:pt>
                <c:pt idx="4">
                  <c:v>18.57</c:v>
                </c:pt>
              </c:numCache>
            </c:numRef>
          </c:xVal>
          <c:yVal>
            <c:numRef>
              <c:f>Sheet1!$B$9:$B$13</c:f>
              <c:numCache>
                <c:formatCode>General</c:formatCode>
                <c:ptCount val="5"/>
                <c:pt idx="0">
                  <c:v>0.36084804343087873</c:v>
                </c:pt>
                <c:pt idx="1">
                  <c:v>0.20319105363299897</c:v>
                </c:pt>
                <c:pt idx="2">
                  <c:v>0.0</c:v>
                </c:pt>
                <c:pt idx="3">
                  <c:v>-0.14750159689573747</c:v>
                </c:pt>
                <c:pt idx="4">
                  <c:v>-0.3916094319860178</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18.57"/>
          <c:min val="9.27"/>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Schick Hydro 3 Blade Ultra Sensitive 1 Handle + 4 Cartridges</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2.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8.47</c:v>
                </c:pt>
                <c:pt idx="1">
                  <c:v>8.97</c:v>
                </c:pt>
                <c:pt idx="2">
                  <c:v>9.97</c:v>
                </c:pt>
                <c:pt idx="3">
                  <c:v>10.97</c:v>
                </c:pt>
                <c:pt idx="4">
                  <c:v>12.47</c:v>
                </c:pt>
              </c:numCache>
            </c:numRef>
          </c:xVal>
          <c:yVal>
            <c:numRef>
              <c:f>Sheet1!$B$2:$B$6</c:f>
              <c:numCache>
                <c:formatCode>General</c:formatCode>
                <c:ptCount val="5"/>
                <c:pt idx="0">
                  <c:v>0.14868556690766832</c:v>
                </c:pt>
                <c:pt idx="1">
                  <c:v>0.06639597741961945</c:v>
                </c:pt>
                <c:pt idx="2">
                  <c:v>0.0</c:v>
                </c:pt>
                <c:pt idx="3">
                  <c:v>-0.23236339722033852</c:v>
                </c:pt>
                <c:pt idx="4">
                  <c:v>-0.3651197738826376</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Schick Hydro 5 Blade Sensitive 1 Handle + 3 Cartridges</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8.47</c:v>
                </c:pt>
                <c:pt idx="1">
                  <c:v>8.97</c:v>
                </c:pt>
                <c:pt idx="2">
                  <c:v>9.97</c:v>
                </c:pt>
                <c:pt idx="3">
                  <c:v>10.97</c:v>
                </c:pt>
                <c:pt idx="4">
                  <c:v>12.47</c:v>
                </c:pt>
              </c:numCache>
            </c:numRef>
          </c:xVal>
          <c:yVal>
            <c:numRef>
              <c:f>Sheet1!$B$9:$B$13</c:f>
              <c:numCache>
                <c:formatCode>General</c:formatCode>
                <c:ptCount val="5"/>
                <c:pt idx="0">
                  <c:v>0.08778073201564478</c:v>
                </c:pt>
                <c:pt idx="1">
                  <c:v>0.04205227708442429</c:v>
                </c:pt>
                <c:pt idx="2">
                  <c:v>0.0</c:v>
                </c:pt>
                <c:pt idx="3">
                  <c:v>-0.154864825840297</c:v>
                </c:pt>
                <c:pt idx="4">
                  <c:v>-0.2506734024659057</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12.47"/>
          <c:min val="8.47"/>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Schick Hydro 3 Blade Pro Sensitive 1 Handle + 3 Cartridges</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8.47</c:v>
                </c:pt>
                <c:pt idx="1">
                  <c:v>8.97</c:v>
                </c:pt>
                <c:pt idx="2">
                  <c:v>9.97</c:v>
                </c:pt>
                <c:pt idx="3">
                  <c:v>10.97</c:v>
                </c:pt>
                <c:pt idx="4">
                  <c:v>12.47</c:v>
                </c:pt>
              </c:numCache>
            </c:numRef>
          </c:xVal>
          <c:yVal>
            <c:numRef>
              <c:f>Sheet1!$B$2:$B$6</c:f>
              <c:numCache>
                <c:formatCode>General</c:formatCode>
                <c:ptCount val="5"/>
                <c:pt idx="0">
                  <c:v>0.1084594232421426</c:v>
                </c:pt>
                <c:pt idx="1">
                  <c:v>0.05236767363765291</c:v>
                </c:pt>
                <c:pt idx="2">
                  <c:v>0.0</c:v>
                </c:pt>
                <c:pt idx="3">
                  <c:v>-0.16730907326892322</c:v>
                </c:pt>
                <c:pt idx="4">
                  <c:v>-0.2723374210093826</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Schick Hydro 3 Blade Ingrown Defense 1 Handle + 3 Cartridges</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8.47</c:v>
                </c:pt>
                <c:pt idx="1">
                  <c:v>8.97</c:v>
                </c:pt>
                <c:pt idx="2">
                  <c:v>9.97</c:v>
                </c:pt>
                <c:pt idx="3">
                  <c:v>10.97</c:v>
                </c:pt>
                <c:pt idx="4">
                  <c:v>12.47</c:v>
                </c:pt>
              </c:numCache>
            </c:numRef>
          </c:xVal>
          <c:yVal>
            <c:numRef>
              <c:f>Sheet1!$B$9:$B$13</c:f>
              <c:numCache>
                <c:formatCode>General</c:formatCode>
                <c:ptCount val="5"/>
                <c:pt idx="0">
                  <c:v>0.1026292743078875</c:v>
                </c:pt>
                <c:pt idx="1">
                  <c:v>0.05141508658560817</c:v>
                </c:pt>
                <c:pt idx="2">
                  <c:v>0.0</c:v>
                </c:pt>
                <c:pt idx="3">
                  <c:v>-0.17396391242360668</c:v>
                </c:pt>
                <c:pt idx="4">
                  <c:v>-0.2843862600959267</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Schick Hydro 5 Blade Advanced Hydration 1 Handle + 3 Cartridges</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8.47</c:v>
                </c:pt>
                <c:pt idx="1">
                  <c:v>8.97</c:v>
                </c:pt>
                <c:pt idx="2">
                  <c:v>9.97</c:v>
                </c:pt>
                <c:pt idx="3">
                  <c:v>10.97</c:v>
                </c:pt>
                <c:pt idx="4">
                  <c:v>12.47</c:v>
                </c:pt>
              </c:numCache>
            </c:numRef>
          </c:xVal>
          <c:yVal>
            <c:numRef>
              <c:f>Sheet1!$B$16:$B$20</c:f>
              <c:numCache>
                <c:formatCode>General</c:formatCode>
                <c:ptCount val="5"/>
                <c:pt idx="0">
                  <c:v>0.09006440418286209</c:v>
                </c:pt>
                <c:pt idx="1">
                  <c:v>0.04671412417367902</c:v>
                </c:pt>
                <c:pt idx="2">
                  <c:v>0.0</c:v>
                </c:pt>
                <c:pt idx="3">
                  <c:v>-0.1623458266870879</c:v>
                </c:pt>
                <c:pt idx="4">
                  <c:v>-0.2558627976157633</c:v>
                </c:pt>
              </c:numCache>
            </c:numRef>
          </c:yVal>
          <c:smooth val="0"/>
          <c:extLst>
            <c:ext xmlns:c16="http://schemas.microsoft.com/office/drawing/2014/chart" uri="{C3380CC4-5D6E-409C-BE32-E72D297353CC}">
              <c16:uniqueId val="{0000007D-1ABB-4592-8776-98B59FCA8F1B}"/>
            </c:ext>
          </c:extLst>
        </c:ser>
        <c:ser>
          <c:idx val="5"/>
          <c:order val="3"/>
          <c:tx>
            <c:strRef>
              <c:f>Sheet1!$B$22</c:f>
              <c:strCache>
                <c:ptCount val="1"/>
                <c:pt idx="0">
                  <c:v>Schick Quattro Four Blade 1 Handle + 4 Cartriges</c:v>
                </c:pt>
              </c:strCache>
            </c:strRef>
          </c:tx>
          <c:spPr>
            <a:ln w="19050" cap="rnd">
              <a:solidFill>
                <a:srgbClr val="92D050"/>
              </a:solidFill>
              <a:round/>
            </a:ln>
            <a:effectLst/>
          </c:spPr>
          <c:marker>
            <c:symbol val="circle"/>
            <c:size val="5"/>
            <c:spPr>
              <a:solidFill>
                <a:srgbClr val="92D050"/>
              </a:solidFill>
              <a:ln w="9525">
                <a:solidFill>
                  <a:srgbClr val="FFFFFF"/>
                </a:solidFill>
              </a:ln>
              <a:effectLst/>
            </c:spPr>
          </c:marker>
          <c:dLbls>
            <c:dLbl>
              <c:idx val="0"/>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3:$A$27</c:f>
              <c:numCache>
                <c:formatCode>General</c:formatCode>
                <c:ptCount val="5"/>
                <c:pt idx="0">
                  <c:v>8.47</c:v>
                </c:pt>
                <c:pt idx="1">
                  <c:v>8.97</c:v>
                </c:pt>
                <c:pt idx="2">
                  <c:v>9.97</c:v>
                </c:pt>
                <c:pt idx="3">
                  <c:v>10.97</c:v>
                </c:pt>
                <c:pt idx="4">
                  <c:v>12.47</c:v>
                </c:pt>
              </c:numCache>
            </c:numRef>
          </c:xVal>
          <c:yVal>
            <c:numRef>
              <c:f>Sheet1!$B$23:$B$27</c:f>
              <c:numCache>
                <c:formatCode>General</c:formatCode>
                <c:ptCount val="5"/>
                <c:pt idx="0">
                  <c:v>0.10769438519193945</c:v>
                </c:pt>
                <c:pt idx="1">
                  <c:v>0.0500723985263564</c:v>
                </c:pt>
                <c:pt idx="2">
                  <c:v>0.0</c:v>
                </c:pt>
                <c:pt idx="3">
                  <c:v>-0.18608352587012483</c:v>
                </c:pt>
                <c:pt idx="4">
                  <c:v>-0.29437591851011563</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12.47"/>
          <c:min val="8.47"/>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Schick Hydro 5 Blade Sensitive 1 Handle + 5 Cartridges</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3.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12.57</c:v>
                </c:pt>
                <c:pt idx="1">
                  <c:v>13.47</c:v>
                </c:pt>
                <c:pt idx="2">
                  <c:v>14.97</c:v>
                </c:pt>
                <c:pt idx="3">
                  <c:v>15.97</c:v>
                </c:pt>
                <c:pt idx="4">
                  <c:v>18.57</c:v>
                </c:pt>
              </c:numCache>
            </c:numRef>
          </c:xVal>
          <c:yVal>
            <c:numRef>
              <c:f>Sheet1!$B$2:$B$6</c:f>
              <c:numCache>
                <c:formatCode>General</c:formatCode>
                <c:ptCount val="5"/>
                <c:pt idx="0">
                  <c:v>0.3061119765319474</c:v>
                </c:pt>
                <c:pt idx="1">
                  <c:v>0.08544509781182305</c:v>
                </c:pt>
                <c:pt idx="2">
                  <c:v>0.0</c:v>
                </c:pt>
                <c:pt idx="3">
                  <c:v>-0.05569901234298368</c:v>
                </c:pt>
                <c:pt idx="4">
                  <c:v>-0.14099643336560233</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Schick Hydro 5 Blade Sensitive 1 Handle + 8 Cartridges</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0.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16.97</c:v>
                </c:pt>
                <c:pt idx="1">
                  <c:v>17.97</c:v>
                </c:pt>
                <c:pt idx="2">
                  <c:v>19.97</c:v>
                </c:pt>
                <c:pt idx="3">
                  <c:v>21.97</c:v>
                </c:pt>
                <c:pt idx="4">
                  <c:v>24.97</c:v>
                </c:pt>
              </c:numCache>
            </c:numRef>
          </c:xVal>
          <c:yVal>
            <c:numRef>
              <c:f>Sheet1!$B$9:$B$13</c:f>
              <c:numCache>
                <c:formatCode>General</c:formatCode>
                <c:ptCount val="5"/>
                <c:pt idx="0">
                  <c:v>0.0804587773461995</c:v>
                </c:pt>
                <c:pt idx="1">
                  <c:v>0.04585483565955347</c:v>
                </c:pt>
                <c:pt idx="2">
                  <c:v>0.0</c:v>
                </c:pt>
                <c:pt idx="3">
                  <c:v>-0.03595429776601284</c:v>
                </c:pt>
                <c:pt idx="4">
                  <c:v>-0.09223225344987362</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Schick Hydro 5 Blade Chrome 1 Handle + 3 Cartridges + Docking Station/Stand + Travel Cover</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nchorCtr="0"/>
                  <a:lstStyle/>
                  <a:p>
                    <a:r>
                      <a:t>-0.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16.97</c:v>
                </c:pt>
                <c:pt idx="1">
                  <c:v>17.97</c:v>
                </c:pt>
                <c:pt idx="2">
                  <c:v>19.97</c:v>
                </c:pt>
                <c:pt idx="3">
                  <c:v>21.97</c:v>
                </c:pt>
                <c:pt idx="4">
                  <c:v>24.97</c:v>
                </c:pt>
              </c:numCache>
            </c:numRef>
          </c:xVal>
          <c:yVal>
            <c:numRef>
              <c:f>Sheet1!$B$16:$B$20</c:f>
              <c:numCache>
                <c:formatCode>General</c:formatCode>
                <c:ptCount val="5"/>
                <c:pt idx="0">
                  <c:v>0.05963107865630496</c:v>
                </c:pt>
                <c:pt idx="1">
                  <c:v>0.03609043801477658</c:v>
                </c:pt>
                <c:pt idx="2">
                  <c:v>0.0</c:v>
                </c:pt>
                <c:pt idx="3">
                  <c:v>-0.030699541783719562</c:v>
                </c:pt>
                <c:pt idx="4">
                  <c:v>-0.07852419168299746</c:v>
                </c:pt>
              </c:numCache>
            </c:numRef>
          </c:yVal>
          <c:smooth val="0"/>
          <c:extLst>
            <c:ext xmlns:c16="http://schemas.microsoft.com/office/drawing/2014/chart" uri="{C3380CC4-5D6E-409C-BE32-E72D297353CC}">
              <c16:uniqueId val="{0000007D-1ABB-4592-8776-98B59FCA8F1B}"/>
            </c:ext>
          </c:extLst>
        </c:ser>
        <c:ser>
          <c:idx val="5"/>
          <c:order val="3"/>
          <c:tx>
            <c:strRef>
              <c:f>Sheet1!$B$22</c:f>
              <c:strCache>
                <c:ptCount val="1"/>
                <c:pt idx="0">
                  <c:v>Schick Hydro 5 Groomer 1 Handle + 1 Cartridge</c:v>
                </c:pt>
              </c:strCache>
            </c:strRef>
          </c:tx>
          <c:spPr>
            <a:ln w="19050" cap="rnd">
              <a:solidFill>
                <a:srgbClr val="92D050"/>
              </a:solidFill>
              <a:round/>
            </a:ln>
            <a:effectLst/>
          </c:spPr>
          <c:marker>
            <c:symbol val="circle"/>
            <c:size val="5"/>
            <c:spPr>
              <a:solidFill>
                <a:srgbClr val="92D050"/>
              </a:solidFill>
              <a:ln w="9525">
                <a:solidFill>
                  <a:srgbClr val="FFFFFF"/>
                </a:solidFill>
              </a:ln>
              <a:effectLst/>
            </c:spPr>
          </c:marker>
          <c:dLbls>
            <c:dLbl>
              <c:idx val="0"/>
              <c:tx>
                <c:rich>
                  <a:bodyPr anchorCtr="0"/>
                  <a:lstStyle/>
                  <a:p>
                    <a:r>
                      <a:t>-2.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3:$A$27</c:f>
              <c:numCache>
                <c:formatCode>General</c:formatCode>
                <c:ptCount val="5"/>
                <c:pt idx="0">
                  <c:v>12.57</c:v>
                </c:pt>
                <c:pt idx="1">
                  <c:v>13.47</c:v>
                </c:pt>
                <c:pt idx="2">
                  <c:v>14.97</c:v>
                </c:pt>
                <c:pt idx="3">
                  <c:v>15.97</c:v>
                </c:pt>
                <c:pt idx="4">
                  <c:v>18.57</c:v>
                </c:pt>
              </c:numCache>
            </c:numRef>
          </c:xVal>
          <c:yVal>
            <c:numRef>
              <c:f>Sheet1!$B$23:$B$27</c:f>
              <c:numCache>
                <c:formatCode>General</c:formatCode>
                <c:ptCount val="5"/>
                <c:pt idx="0">
                  <c:v>0.20254615641979146</c:v>
                </c:pt>
                <c:pt idx="1">
                  <c:v>0.05554322110409066</c:v>
                </c:pt>
                <c:pt idx="2">
                  <c:v>0.0</c:v>
                </c:pt>
                <c:pt idx="3">
                  <c:v>-0.048597767169512356</c:v>
                </c:pt>
                <c:pt idx="4">
                  <c:v>-0.10804078981695989</c:v>
                </c:pt>
              </c:numCache>
            </c:numRef>
          </c:yVal>
          <c:smooth val="0"/>
          <c:extLst>
            <c:ext xmlns:c16="http://schemas.microsoft.com/office/drawing/2014/chart" uri="{C3380CC4-5D6E-409C-BE32-E72D297353CC}">
              <c16:uniqueId val="{0000007D-1ABB-4592-8776-98B59FCA8F1B}"/>
            </c:ext>
          </c:extLst>
        </c:ser>
        <c:ser>
          <c:idx val="6"/>
          <c:order val="4"/>
          <c:tx>
            <c:strRef>
              <c:f>Sheet1!$B$29</c:f>
              <c:strCache>
                <c:ptCount val="1"/>
                <c:pt idx="0">
                  <c:v>Wilkinson Sword Classic Double Edge 1 Handle + 5 Cartridges</c:v>
                </c:pt>
              </c:strCache>
            </c:strRef>
          </c:tx>
          <c:spPr>
            <a:ln w="19050" cap="rnd">
              <a:solidFill>
                <a:srgbClr val="00B050"/>
              </a:solidFill>
              <a:round/>
            </a:ln>
            <a:effectLst/>
          </c:spPr>
          <c:marker>
            <c:symbol val="circle"/>
            <c:size val="5"/>
            <c:spPr>
              <a:solidFill>
                <a:srgbClr val="00B050"/>
              </a:solidFill>
              <a:ln w="9525">
                <a:solidFill>
                  <a:srgbClr val="FFFFFF"/>
                </a:solidFill>
              </a:ln>
              <a:effectLst/>
            </c:spPr>
          </c:marker>
          <c:dLbls>
            <c:dLbl>
              <c:idx val="0"/>
              <c:tx>
                <c:rich>
                  <a:bodyPr anchorCtr="0"/>
                  <a:lstStyle/>
                  <a:p>
                    <a:r>
                      <a:t>-2.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30:$A$34</c:f>
              <c:numCache>
                <c:formatCode>General</c:formatCode>
                <c:ptCount val="5"/>
                <c:pt idx="0">
                  <c:v>12.57</c:v>
                </c:pt>
                <c:pt idx="1">
                  <c:v>13.47</c:v>
                </c:pt>
                <c:pt idx="2">
                  <c:v>14.97</c:v>
                </c:pt>
                <c:pt idx="3">
                  <c:v>15.97</c:v>
                </c:pt>
                <c:pt idx="4">
                  <c:v>18.57</c:v>
                </c:pt>
              </c:numCache>
            </c:numRef>
          </c:xVal>
          <c:yVal>
            <c:numRef>
              <c:f>Sheet1!$B$30:$B$34</c:f>
              <c:numCache>
                <c:formatCode>General</c:formatCode>
                <c:ptCount val="5"/>
                <c:pt idx="0">
                  <c:v>0.20776412437450645</c:v>
                </c:pt>
                <c:pt idx="1">
                  <c:v>0.06690612164722677</c:v>
                </c:pt>
                <c:pt idx="2">
                  <c:v>0.0</c:v>
                </c:pt>
                <c:pt idx="3">
                  <c:v>-0.06752638909076299</c:v>
                </c:pt>
                <c:pt idx="4">
                  <c:v>-0.14350615481789802</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24.97"/>
          <c:min val="12.57"/>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Equate 2 Blade Disposable Razors 5 Pack</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0.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0.77</c:v>
                </c:pt>
                <c:pt idx="1">
                  <c:v>0.87</c:v>
                </c:pt>
                <c:pt idx="2">
                  <c:v>0.98</c:v>
                </c:pt>
                <c:pt idx="3">
                  <c:v>1.07</c:v>
                </c:pt>
                <c:pt idx="4">
                  <c:v>1.27</c:v>
                </c:pt>
              </c:numCache>
            </c:numRef>
          </c:xVal>
          <c:yVal>
            <c:numRef>
              <c:f>Sheet1!$B$2:$B$6</c:f>
              <c:numCache>
                <c:formatCode>General</c:formatCode>
                <c:ptCount val="5"/>
                <c:pt idx="0">
                  <c:v>0.027339158021221083</c:v>
                </c:pt>
                <c:pt idx="1">
                  <c:v>0.014231814891517501</c:v>
                </c:pt>
                <c:pt idx="2">
                  <c:v>0.0</c:v>
                </c:pt>
                <c:pt idx="3">
                  <c:v>-0.011499960365236424</c:v>
                </c:pt>
                <c:pt idx="4">
                  <c:v>-0.0365940671847202</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Equate 2 Blade Disposable Razors 12 Pack</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0.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1.77</c:v>
                </c:pt>
                <c:pt idx="1">
                  <c:v>1.97</c:v>
                </c:pt>
                <c:pt idx="2">
                  <c:v>2.17</c:v>
                </c:pt>
                <c:pt idx="3">
                  <c:v>2.37</c:v>
                </c:pt>
                <c:pt idx="4">
                  <c:v>2.67</c:v>
                </c:pt>
              </c:numCache>
            </c:numRef>
          </c:xVal>
          <c:yVal>
            <c:numRef>
              <c:f>Sheet1!$B$9:$B$13</c:f>
              <c:numCache>
                <c:formatCode>General</c:formatCode>
                <c:ptCount val="5"/>
                <c:pt idx="0">
                  <c:v>0.020382753148779666</c:v>
                </c:pt>
                <c:pt idx="1">
                  <c:v>0.01011983709553817</c:v>
                </c:pt>
                <c:pt idx="2">
                  <c:v>0.0</c:v>
                </c:pt>
                <c:pt idx="3">
                  <c:v>-0.009980020514313664</c:v>
                </c:pt>
                <c:pt idx="4">
                  <c:v>-0.024694763816632957</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2.67"/>
          <c:min val="0.77"/>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Schick Razor (2.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quate Dispo (19.1%)</c:v>
                </c:pt>
                <c:pt idx="1">
                  <c:v>Schick Dispo (8.1%)</c:v>
                </c:pt>
                <c:pt idx="2">
                  <c:v>Bic Dispo (16.9%)</c:v>
                </c:pt>
                <c:pt idx="3">
                  <c:v>Gillette Dispo (17.5%)</c:v>
                </c:pt>
                <c:pt idx="4">
                  <c:v>Gillette Razor (13.9%)</c:v>
                </c:pt>
                <c:pt idx="5">
                  <c:v>Dollar Shave Club Razor (2.0%)</c:v>
                </c:pt>
                <c:pt idx="6">
                  <c:v>Equate Razor (1.1%)</c:v>
                </c:pt>
                <c:pt idx="7">
                  <c:v>Gillette Blade (7.3%)</c:v>
                </c:pt>
                <c:pt idx="8">
                  <c:v>Harrys Razor (6.2%)</c:v>
                </c:pt>
                <c:pt idx="9">
                  <c:v>Dollar Shave Club Blade (0.9%)</c:v>
                </c:pt>
              </c:strCache>
            </c:strRef>
          </c:cat>
          <c:val>
            <c:numRef>
              <c:f>Sheet1!$B$2:$B$11</c:f>
              <c:numCache>
                <c:formatCode>General</c:formatCode>
                <c:ptCount val="10"/>
                <c:pt idx="0">
                  <c:v>0.2049775399903663</c:v>
                </c:pt>
                <c:pt idx="1">
                  <c:v>0.19805634552481327</c:v>
                </c:pt>
                <c:pt idx="2">
                  <c:v>0.13539799384570153</c:v>
                </c:pt>
                <c:pt idx="3">
                  <c:v>0.12918928676274372</c:v>
                </c:pt>
                <c:pt idx="4">
                  <c:v>0.10855128188726798</c:v>
                </c:pt>
                <c:pt idx="5">
                  <c:v>0.05726661220217854</c:v>
                </c:pt>
                <c:pt idx="6">
                  <c:v>0.0509150209732723</c:v>
                </c:pt>
                <c:pt idx="7">
                  <c:v>0.026500521074733014</c:v>
                </c:pt>
                <c:pt idx="8">
                  <c:v>0.02073274423723905</c:v>
                </c:pt>
                <c:pt idx="9">
                  <c:v>0.018363456229185657</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Equate 2 Blade Disposable Razors 20 Pack</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0.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2.77</c:v>
                </c:pt>
                <c:pt idx="1">
                  <c:v>3.07</c:v>
                </c:pt>
                <c:pt idx="2">
                  <c:v>3.47</c:v>
                </c:pt>
                <c:pt idx="3">
                  <c:v>3.77</c:v>
                </c:pt>
                <c:pt idx="4">
                  <c:v>4.170000000000001</c:v>
                </c:pt>
              </c:numCache>
            </c:numRef>
          </c:xVal>
          <c:yVal>
            <c:numRef>
              <c:f>Sheet1!$B$2:$B$6</c:f>
              <c:numCache>
                <c:formatCode>General</c:formatCode>
                <c:ptCount val="5"/>
                <c:pt idx="0">
                  <c:v>0.08722929779521602</c:v>
                </c:pt>
                <c:pt idx="1">
                  <c:v>0.0485059712708603</c:v>
                </c:pt>
                <c:pt idx="2">
                  <c:v>0.0</c:v>
                </c:pt>
                <c:pt idx="3">
                  <c:v>-0.03422540110859089</c:v>
                </c:pt>
                <c:pt idx="4">
                  <c:v>-0.08082071854963004</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Equate Caliber 3 Disposable Razors 6 Pack</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3.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5.470000000000001</c:v>
                </c:pt>
                <c:pt idx="1">
                  <c:v>5.7700000000000005</c:v>
                </c:pt>
                <c:pt idx="2">
                  <c:v>6.47</c:v>
                </c:pt>
                <c:pt idx="3">
                  <c:v>7.07</c:v>
                </c:pt>
                <c:pt idx="4">
                  <c:v>8.07</c:v>
                </c:pt>
              </c:numCache>
            </c:numRef>
          </c:xVal>
          <c:yVal>
            <c:numRef>
              <c:f>Sheet1!$B$9:$B$13</c:f>
              <c:numCache>
                <c:formatCode>General</c:formatCode>
                <c:ptCount val="5"/>
                <c:pt idx="0">
                  <c:v>0.23295095995308282</c:v>
                </c:pt>
                <c:pt idx="1">
                  <c:v>0.15149813445677193</c:v>
                </c:pt>
                <c:pt idx="2">
                  <c:v>0.0</c:v>
                </c:pt>
                <c:pt idx="3">
                  <c:v>-0.2854722653657587</c:v>
                </c:pt>
                <c:pt idx="4">
                  <c:v>-0.437393130645313</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Equate Caliber 5 Disposable Razors 6 Pack</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nchorCtr="0"/>
                  <a:lstStyle/>
                  <a:p>
                    <a:r>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7.07</c:v>
                </c:pt>
                <c:pt idx="1">
                  <c:v>7.37</c:v>
                </c:pt>
                <c:pt idx="2">
                  <c:v>8.37</c:v>
                </c:pt>
                <c:pt idx="3">
                  <c:v>9.27</c:v>
                </c:pt>
                <c:pt idx="4">
                  <c:v>10.47</c:v>
                </c:pt>
              </c:numCache>
            </c:numRef>
          </c:xVal>
          <c:yVal>
            <c:numRef>
              <c:f>Sheet1!$B$16:$B$20</c:f>
              <c:numCache>
                <c:formatCode>General</c:formatCode>
                <c:ptCount val="5"/>
                <c:pt idx="0">
                  <c:v>0.22464323129209235</c:v>
                </c:pt>
                <c:pt idx="1">
                  <c:v>0.1679506325322528</c:v>
                </c:pt>
                <c:pt idx="2">
                  <c:v>0.0</c:v>
                </c:pt>
                <c:pt idx="3">
                  <c:v>-0.11184632051810516</c:v>
                </c:pt>
                <c:pt idx="4">
                  <c:v>-0.22484139319907262</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10.47"/>
          <c:min val="2.77"/>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Equate Caliber 3 Disposable Razors 3 Pack</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0.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3.47</c:v>
                </c:pt>
                <c:pt idx="1">
                  <c:v>3.77</c:v>
                </c:pt>
                <c:pt idx="2">
                  <c:v>4.17</c:v>
                </c:pt>
                <c:pt idx="3">
                  <c:v>4.57</c:v>
                </c:pt>
                <c:pt idx="4">
                  <c:v>4.970000000000001</c:v>
                </c:pt>
              </c:numCache>
            </c:numRef>
          </c:xVal>
          <c:yVal>
            <c:numRef>
              <c:f>Sheet1!$B$2:$B$6</c:f>
              <c:numCache>
                <c:formatCode>General</c:formatCode>
                <c:ptCount val="5"/>
                <c:pt idx="0">
                  <c:v>0.05504766813424907</c:v>
                </c:pt>
                <c:pt idx="1">
                  <c:v>0.023351296320017225</c:v>
                </c:pt>
                <c:pt idx="2">
                  <c:v>0.0</c:v>
                </c:pt>
                <c:pt idx="3">
                  <c:v>-0.02241386625681842</c:v>
                </c:pt>
                <c:pt idx="4">
                  <c:v>-0.07492527103549375</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Equate Caliber 5 Disposable Razors 3 Pack</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4.57</c:v>
                </c:pt>
                <c:pt idx="1">
                  <c:v>4.87</c:v>
                </c:pt>
                <c:pt idx="2">
                  <c:v>5.47</c:v>
                </c:pt>
                <c:pt idx="3">
                  <c:v>5.970000000000001</c:v>
                </c:pt>
                <c:pt idx="4">
                  <c:v>6.7700000000000005</c:v>
                </c:pt>
              </c:numCache>
            </c:numRef>
          </c:xVal>
          <c:yVal>
            <c:numRef>
              <c:f>Sheet1!$B$9:$B$13</c:f>
              <c:numCache>
                <c:formatCode>General</c:formatCode>
                <c:ptCount val="5"/>
                <c:pt idx="0">
                  <c:v>0.13078965723388702</c:v>
                </c:pt>
                <c:pt idx="1">
                  <c:v>0.08479395383508787</c:v>
                </c:pt>
                <c:pt idx="2">
                  <c:v>0.0</c:v>
                </c:pt>
                <c:pt idx="3">
                  <c:v>-0.11760963731333028</c:v>
                </c:pt>
                <c:pt idx="4">
                  <c:v>-0.33511250443919055</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6.7700000000000005"/>
          <c:min val="3.47"/>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Equate Speed 3 Disposable Razors 4 Pack</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0.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3.37</c:v>
                </c:pt>
                <c:pt idx="1">
                  <c:v>3.57</c:v>
                </c:pt>
                <c:pt idx="2">
                  <c:v>3.97</c:v>
                </c:pt>
                <c:pt idx="3">
                  <c:v>4.37</c:v>
                </c:pt>
                <c:pt idx="4">
                  <c:v>4.970000000000001</c:v>
                </c:pt>
              </c:numCache>
            </c:numRef>
          </c:xVal>
          <c:yVal>
            <c:numRef>
              <c:f>Sheet1!$B$2:$B$6</c:f>
              <c:numCache>
                <c:formatCode>General</c:formatCode>
                <c:ptCount val="5"/>
                <c:pt idx="0">
                  <c:v>0.06260563091354249</c:v>
                </c:pt>
                <c:pt idx="1">
                  <c:v>0.037834587491796745</c:v>
                </c:pt>
                <c:pt idx="2">
                  <c:v>0.0</c:v>
                </c:pt>
                <c:pt idx="3">
                  <c:v>-0.026871966219361842</c:v>
                </c:pt>
                <c:pt idx="4">
                  <c:v>-0.09215271037423016</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Equate Speed 3 Disposable Razors 8 Pack</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2.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4.970000000000001</c:v>
                </c:pt>
                <c:pt idx="1">
                  <c:v>5.37</c:v>
                </c:pt>
                <c:pt idx="2">
                  <c:v>5.97</c:v>
                </c:pt>
                <c:pt idx="3">
                  <c:v>6.57</c:v>
                </c:pt>
                <c:pt idx="4">
                  <c:v>7.37</c:v>
                </c:pt>
              </c:numCache>
            </c:numRef>
          </c:xVal>
          <c:yVal>
            <c:numRef>
              <c:f>Sheet1!$B$9:$B$13</c:f>
              <c:numCache>
                <c:formatCode>General</c:formatCode>
                <c:ptCount val="5"/>
                <c:pt idx="0">
                  <c:v>0.13156707068392992</c:v>
                </c:pt>
                <c:pt idx="1">
                  <c:v>0.09044100300345878</c:v>
                </c:pt>
                <c:pt idx="2">
                  <c:v>0.0</c:v>
                </c:pt>
                <c:pt idx="3">
                  <c:v>-0.11290514748876378</c:v>
                </c:pt>
                <c:pt idx="4">
                  <c:v>-0.3355858864756271</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7.37"/>
          <c:min val="3.37"/>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Equate 5 Blades 1 Handle + 2 Cartridges</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2.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6.7700000000000005</c:v>
                </c:pt>
                <c:pt idx="1">
                  <c:v>7.2700000000000005</c:v>
                </c:pt>
                <c:pt idx="2">
                  <c:v>7.97</c:v>
                </c:pt>
                <c:pt idx="3">
                  <c:v>8.77</c:v>
                </c:pt>
                <c:pt idx="4">
                  <c:v>9.97</c:v>
                </c:pt>
              </c:numCache>
            </c:numRef>
          </c:xVal>
          <c:yVal>
            <c:numRef>
              <c:f>Sheet1!$B$2:$B$6</c:f>
              <c:numCache>
                <c:formatCode>General</c:formatCode>
                <c:ptCount val="5"/>
                <c:pt idx="0">
                  <c:v>0.32480408461099763</c:v>
                </c:pt>
                <c:pt idx="1">
                  <c:v>0.16005480274962292</c:v>
                </c:pt>
                <c:pt idx="2">
                  <c:v>0.0</c:v>
                </c:pt>
                <c:pt idx="3">
                  <c:v>-0.12985892763921617</c:v>
                </c:pt>
                <c:pt idx="4">
                  <c:v>-0.20845355717865782</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Equate Easy Fit 5 blades 1 Handle + 5 Cartridges</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10.17</c:v>
                </c:pt>
                <c:pt idx="1">
                  <c:v>10.77</c:v>
                </c:pt>
                <c:pt idx="2">
                  <c:v>11.97</c:v>
                </c:pt>
                <c:pt idx="3">
                  <c:v>13.17</c:v>
                </c:pt>
                <c:pt idx="4">
                  <c:v>14.97</c:v>
                </c:pt>
              </c:numCache>
            </c:numRef>
          </c:xVal>
          <c:yVal>
            <c:numRef>
              <c:f>Sheet1!$B$9:$B$13</c:f>
              <c:numCache>
                <c:formatCode>General</c:formatCode>
                <c:ptCount val="5"/>
                <c:pt idx="0">
                  <c:v>0.16465547994106614</c:v>
                </c:pt>
                <c:pt idx="1">
                  <c:v>0.0825727624913078</c:v>
                </c:pt>
                <c:pt idx="2">
                  <c:v>0.0</c:v>
                </c:pt>
                <c:pt idx="3">
                  <c:v>-0.09182760608703806</c:v>
                </c:pt>
                <c:pt idx="4">
                  <c:v>-0.16749285411696174</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14.97"/>
          <c:min val="6.7700000000000005"/>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Equate Easy Fit 5 blades 1 Handle + 2 Cartridges</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6.7700000000000005</c:v>
                </c:pt>
                <c:pt idx="1">
                  <c:v>7.2700000000000005</c:v>
                </c:pt>
                <c:pt idx="2">
                  <c:v>7.97</c:v>
                </c:pt>
                <c:pt idx="3">
                  <c:v>8.77</c:v>
                </c:pt>
                <c:pt idx="4">
                  <c:v>9.97</c:v>
                </c:pt>
              </c:numCache>
            </c:numRef>
          </c:xVal>
          <c:yVal>
            <c:numRef>
              <c:f>Sheet1!$B$2:$B$6</c:f>
              <c:numCache>
                <c:formatCode>General</c:formatCode>
                <c:ptCount val="5"/>
                <c:pt idx="0">
                  <c:v>0.19374800945326123</c:v>
                </c:pt>
                <c:pt idx="1">
                  <c:v>0.09608874969505476</c:v>
                </c:pt>
                <c:pt idx="2">
                  <c:v>0.0</c:v>
                </c:pt>
                <c:pt idx="3">
                  <c:v>-0.0955177368172672</c:v>
                </c:pt>
                <c:pt idx="4">
                  <c:v>-0.15686914822616746</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9.97"/>
          <c:min val="6.7700000000000005"/>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Schick Hydro 3 Blade Ultra Sensitive Refills 5 Pack</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8.47</c:v>
                </c:pt>
                <c:pt idx="1">
                  <c:v>8.97</c:v>
                </c:pt>
                <c:pt idx="2">
                  <c:v>9.97</c:v>
                </c:pt>
                <c:pt idx="3">
                  <c:v>10.97</c:v>
                </c:pt>
                <c:pt idx="4">
                  <c:v>12.47</c:v>
                </c:pt>
              </c:numCache>
            </c:numRef>
          </c:xVal>
          <c:yVal>
            <c:numRef>
              <c:f>Sheet1!$B$2:$B$6</c:f>
              <c:numCache>
                <c:formatCode>General</c:formatCode>
                <c:ptCount val="5"/>
                <c:pt idx="0">
                  <c:v>0.06396874341112568</c:v>
                </c:pt>
                <c:pt idx="1">
                  <c:v>0.03564669942592041</c:v>
                </c:pt>
                <c:pt idx="2">
                  <c:v>0.0</c:v>
                </c:pt>
                <c:pt idx="3">
                  <c:v>-0.07688234103416745</c:v>
                </c:pt>
                <c:pt idx="4">
                  <c:v>-0.3125741128666594</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Schick Hydro 5 Blade Sensitive Refills 6 Pack</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0.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12.57</c:v>
                </c:pt>
                <c:pt idx="1">
                  <c:v>13.47</c:v>
                </c:pt>
                <c:pt idx="2">
                  <c:v>14.97</c:v>
                </c:pt>
                <c:pt idx="3">
                  <c:v>15.97</c:v>
                </c:pt>
                <c:pt idx="4">
                  <c:v>18.57</c:v>
                </c:pt>
              </c:numCache>
            </c:numRef>
          </c:xVal>
          <c:yVal>
            <c:numRef>
              <c:f>Sheet1!$B$9:$B$13</c:f>
              <c:numCache>
                <c:formatCode>General</c:formatCode>
                <c:ptCount val="5"/>
                <c:pt idx="0">
                  <c:v>0.09701776196631832</c:v>
                </c:pt>
                <c:pt idx="1">
                  <c:v>0.054699585228571754</c:v>
                </c:pt>
                <c:pt idx="2">
                  <c:v>0.0</c:v>
                </c:pt>
                <c:pt idx="3">
                  <c:v>-0.035248623486349565</c:v>
                </c:pt>
                <c:pt idx="4">
                  <c:v>-0.17714436026774763</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Schick Hydro 5 Blade Sensitive Refills 12 Pack</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nchorCtr="0"/>
                  <a:lstStyle/>
                  <a:p>
                    <a:r>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22.97</c:v>
                </c:pt>
                <c:pt idx="1">
                  <c:v>23.97</c:v>
                </c:pt>
                <c:pt idx="2">
                  <c:v>26.97</c:v>
                </c:pt>
                <c:pt idx="3">
                  <c:v>29.67</c:v>
                </c:pt>
                <c:pt idx="4">
                  <c:v>34.169999999999995</c:v>
                </c:pt>
              </c:numCache>
            </c:numRef>
          </c:xVal>
          <c:yVal>
            <c:numRef>
              <c:f>Sheet1!$B$16:$B$20</c:f>
              <c:numCache>
                <c:formatCode>General</c:formatCode>
                <c:ptCount val="5"/>
                <c:pt idx="0">
                  <c:v>0.1902004861745371</c:v>
                </c:pt>
                <c:pt idx="1">
                  <c:v>0.14528550416445754</c:v>
                </c:pt>
                <c:pt idx="2">
                  <c:v>0.0</c:v>
                </c:pt>
                <c:pt idx="3">
                  <c:v>-0.06257532614361025</c:v>
                </c:pt>
                <c:pt idx="4">
                  <c:v>-0.15535087166698017</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34.169999999999995"/>
          <c:min val="8.47"/>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Schick Hydro 3 Blade Pro Sensitive Refills 6 Pack</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0.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8.47</c:v>
                </c:pt>
                <c:pt idx="1">
                  <c:v>8.97</c:v>
                </c:pt>
                <c:pt idx="2">
                  <c:v>9.97</c:v>
                </c:pt>
                <c:pt idx="3">
                  <c:v>10.97</c:v>
                </c:pt>
                <c:pt idx="4">
                  <c:v>12.47</c:v>
                </c:pt>
              </c:numCache>
            </c:numRef>
          </c:xVal>
          <c:yVal>
            <c:numRef>
              <c:f>Sheet1!$B$2:$B$6</c:f>
              <c:numCache>
                <c:formatCode>General</c:formatCode>
                <c:ptCount val="5"/>
                <c:pt idx="0">
                  <c:v>0.04955642952862407</c:v>
                </c:pt>
                <c:pt idx="1">
                  <c:v>0.02563532586028019</c:v>
                </c:pt>
                <c:pt idx="2">
                  <c:v>0.0</c:v>
                </c:pt>
                <c:pt idx="3">
                  <c:v>-0.054319702170760126</c:v>
                </c:pt>
                <c:pt idx="4">
                  <c:v>-0.24589274463447</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Schick Hydro 5 Blade Sensitive Refills 4 Pack</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0.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8.47</c:v>
                </c:pt>
                <c:pt idx="1">
                  <c:v>8.97</c:v>
                </c:pt>
                <c:pt idx="2">
                  <c:v>9.97</c:v>
                </c:pt>
                <c:pt idx="3">
                  <c:v>10.97</c:v>
                </c:pt>
                <c:pt idx="4">
                  <c:v>11.97</c:v>
                </c:pt>
              </c:numCache>
            </c:numRef>
          </c:xVal>
          <c:yVal>
            <c:numRef>
              <c:f>Sheet1!$B$9:$B$13</c:f>
              <c:numCache>
                <c:formatCode>General</c:formatCode>
                <c:ptCount val="5"/>
                <c:pt idx="0">
                  <c:v>0.06444348094977129</c:v>
                </c:pt>
                <c:pt idx="1">
                  <c:v>0.03210934209054589</c:v>
                </c:pt>
                <c:pt idx="2">
                  <c:v>0.0</c:v>
                </c:pt>
                <c:pt idx="3">
                  <c:v>-0.0531856892631962</c:v>
                </c:pt>
                <c:pt idx="4">
                  <c:v>-0.16720267892370672</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Schick Quattro Four Blade Refills 3 Pack</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nchorCtr="0"/>
                  <a:lstStyle/>
                  <a:p>
                    <a:r>
                      <a:t>-0.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2.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4.170000000000001</c:v>
                </c:pt>
                <c:pt idx="1">
                  <c:v>4.37</c:v>
                </c:pt>
                <c:pt idx="2">
                  <c:v>4.97</c:v>
                </c:pt>
                <c:pt idx="3">
                  <c:v>5.470000000000001</c:v>
                </c:pt>
                <c:pt idx="4">
                  <c:v>6.170000000000001</c:v>
                </c:pt>
              </c:numCache>
            </c:numRef>
          </c:xVal>
          <c:yVal>
            <c:numRef>
              <c:f>Sheet1!$B$16:$B$20</c:f>
              <c:numCache>
                <c:formatCode>General</c:formatCode>
                <c:ptCount val="5"/>
                <c:pt idx="0">
                  <c:v>0.12127686428528732</c:v>
                </c:pt>
                <c:pt idx="1">
                  <c:v>0.09006488648996322</c:v>
                </c:pt>
                <c:pt idx="2">
                  <c:v>0.0</c:v>
                </c:pt>
                <c:pt idx="3">
                  <c:v>-0.1938876701087778</c:v>
                </c:pt>
                <c:pt idx="4">
                  <c:v>-0.4086479382865042</c:v>
                </c:pt>
              </c:numCache>
            </c:numRef>
          </c:yVal>
          <c:smooth val="0"/>
          <c:extLst>
            <c:ext xmlns:c16="http://schemas.microsoft.com/office/drawing/2014/chart" uri="{C3380CC4-5D6E-409C-BE32-E72D297353CC}">
              <c16:uniqueId val="{0000007D-1ABB-4592-8776-98B59FCA8F1B}"/>
            </c:ext>
          </c:extLst>
        </c:ser>
        <c:ser>
          <c:idx val="5"/>
          <c:order val="3"/>
          <c:tx>
            <c:strRef>
              <c:f>Sheet1!$B$22</c:f>
              <c:strCache>
                <c:ptCount val="1"/>
                <c:pt idx="0">
                  <c:v>Schick Quattro Four Blade Refills 6 Pack</c:v>
                </c:pt>
              </c:strCache>
            </c:strRef>
          </c:tx>
          <c:spPr>
            <a:ln w="19050" cap="rnd">
              <a:solidFill>
                <a:srgbClr val="92D050"/>
              </a:solidFill>
              <a:round/>
            </a:ln>
            <a:effectLst/>
          </c:spPr>
          <c:marker>
            <c:symbol val="circle"/>
            <c:size val="5"/>
            <c:spPr>
              <a:solidFill>
                <a:srgbClr val="92D050"/>
              </a:solidFill>
              <a:ln w="9525">
                <a:solidFill>
                  <a:srgbClr val="FFFFFF"/>
                </a:solidFill>
              </a:ln>
              <a:effectLst/>
            </c:spPr>
          </c:marker>
          <c:dLbls>
            <c:dLbl>
              <c:idx val="0"/>
              <c:tx>
                <c:rich>
                  <a:bodyPr anchorCtr="0"/>
                  <a:lstStyle/>
                  <a:p>
                    <a:r>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3:$A$27</c:f>
              <c:numCache>
                <c:formatCode>General</c:formatCode>
                <c:ptCount val="5"/>
                <c:pt idx="0">
                  <c:v>8.47</c:v>
                </c:pt>
                <c:pt idx="1">
                  <c:v>8.97</c:v>
                </c:pt>
                <c:pt idx="2">
                  <c:v>9.97</c:v>
                </c:pt>
                <c:pt idx="3">
                  <c:v>10.97</c:v>
                </c:pt>
                <c:pt idx="4">
                  <c:v>11.97</c:v>
                </c:pt>
              </c:numCache>
            </c:numRef>
          </c:xVal>
          <c:yVal>
            <c:numRef>
              <c:f>Sheet1!$B$23:$B$27</c:f>
              <c:numCache>
                <c:formatCode>General</c:formatCode>
                <c:ptCount val="5"/>
                <c:pt idx="0">
                  <c:v>0.06517769474188038</c:v>
                </c:pt>
                <c:pt idx="1">
                  <c:v>0.036127869205548606</c:v>
                </c:pt>
                <c:pt idx="2">
                  <c:v>0.0</c:v>
                </c:pt>
                <c:pt idx="3">
                  <c:v>-0.07605744891792249</c:v>
                </c:pt>
                <c:pt idx="4">
                  <c:v>-0.18859910686598497</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12.47"/>
          <c:min val="4.170000000000001"/>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Schick Hydro 3 Blade Ingrown Defense Refills 6 Pack</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12.57</c:v>
                </c:pt>
                <c:pt idx="1">
                  <c:v>13.47</c:v>
                </c:pt>
                <c:pt idx="2">
                  <c:v>14.97</c:v>
                </c:pt>
                <c:pt idx="3">
                  <c:v>15.97</c:v>
                </c:pt>
                <c:pt idx="4">
                  <c:v>18.57</c:v>
                </c:pt>
              </c:numCache>
            </c:numRef>
          </c:xVal>
          <c:yVal>
            <c:numRef>
              <c:f>Sheet1!$B$2:$B$6</c:f>
              <c:numCache>
                <c:formatCode>General</c:formatCode>
                <c:ptCount val="5"/>
                <c:pt idx="0">
                  <c:v>0.15309569431544134</c:v>
                </c:pt>
                <c:pt idx="1">
                  <c:v>0.09379904935641013</c:v>
                </c:pt>
                <c:pt idx="2">
                  <c:v>0.0</c:v>
                </c:pt>
                <c:pt idx="3">
                  <c:v>-0.06443286433611575</c:v>
                </c:pt>
                <c:pt idx="4">
                  <c:v>-0.27091692427391156</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Schick Hydro 5 Blade Advanced Hydration Refills 6 Pack</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12.57</c:v>
                </c:pt>
                <c:pt idx="1">
                  <c:v>13.47</c:v>
                </c:pt>
                <c:pt idx="2">
                  <c:v>14.97</c:v>
                </c:pt>
                <c:pt idx="3">
                  <c:v>15.97</c:v>
                </c:pt>
                <c:pt idx="4">
                  <c:v>18.57</c:v>
                </c:pt>
              </c:numCache>
            </c:numRef>
          </c:xVal>
          <c:yVal>
            <c:numRef>
              <c:f>Sheet1!$B$9:$B$13</c:f>
              <c:numCache>
                <c:formatCode>General</c:formatCode>
                <c:ptCount val="5"/>
                <c:pt idx="0">
                  <c:v>0.13970961196463527</c:v>
                </c:pt>
                <c:pt idx="1">
                  <c:v>0.08248387462614667</c:v>
                </c:pt>
                <c:pt idx="2">
                  <c:v>0.0</c:v>
                </c:pt>
                <c:pt idx="3">
                  <c:v>-0.0548797567824763</c:v>
                </c:pt>
                <c:pt idx="4">
                  <c:v>-0.2474842606035794</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Schick Hydro 5 Blade Chrome Refills 6 Pack</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12.57</c:v>
                </c:pt>
                <c:pt idx="1">
                  <c:v>13.47</c:v>
                </c:pt>
                <c:pt idx="2">
                  <c:v>14.97</c:v>
                </c:pt>
                <c:pt idx="3">
                  <c:v>15.97</c:v>
                </c:pt>
                <c:pt idx="4">
                  <c:v>18.57</c:v>
                </c:pt>
              </c:numCache>
            </c:numRef>
          </c:xVal>
          <c:yVal>
            <c:numRef>
              <c:f>Sheet1!$B$16:$B$20</c:f>
              <c:numCache>
                <c:formatCode>General</c:formatCode>
                <c:ptCount val="5"/>
                <c:pt idx="0">
                  <c:v>0.10900826648015328</c:v>
                </c:pt>
                <c:pt idx="1">
                  <c:v>0.061148770879385084</c:v>
                </c:pt>
                <c:pt idx="2">
                  <c:v>0.0</c:v>
                </c:pt>
                <c:pt idx="3">
                  <c:v>-0.05111110999930411</c:v>
                </c:pt>
                <c:pt idx="4">
                  <c:v>-0.18186748380936807</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18.57"/>
          <c:min val="12.57"/>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Equate 5 Blades Blade Refills 4 Pack</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1.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6.7700000000000005</c:v>
                </c:pt>
                <c:pt idx="1">
                  <c:v>7.2700000000000005</c:v>
                </c:pt>
                <c:pt idx="2">
                  <c:v>7.97</c:v>
                </c:pt>
                <c:pt idx="3">
                  <c:v>8.77</c:v>
                </c:pt>
                <c:pt idx="4">
                  <c:v>9.97</c:v>
                </c:pt>
              </c:numCache>
            </c:numRef>
          </c:xVal>
          <c:yVal>
            <c:numRef>
              <c:f>Sheet1!$B$2:$B$6</c:f>
              <c:numCache>
                <c:formatCode>General</c:formatCode>
                <c:ptCount val="5"/>
                <c:pt idx="0">
                  <c:v>0.21843719091767316</c:v>
                </c:pt>
                <c:pt idx="1">
                  <c:v>0.09066553658459604</c:v>
                </c:pt>
                <c:pt idx="2">
                  <c:v>0.0</c:v>
                </c:pt>
                <c:pt idx="3">
                  <c:v>-0.040517477461250326</c:v>
                </c:pt>
                <c:pt idx="4">
                  <c:v>-0.08587833664485196</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9.97"/>
          <c:min val="6.7700000000000005"/>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Equate Easy Fit 5 Blade Refills 4 Pack</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0.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7.57</c:v>
                </c:pt>
                <c:pt idx="1">
                  <c:v>8.07</c:v>
                </c:pt>
                <c:pt idx="2">
                  <c:v>8.97</c:v>
                </c:pt>
                <c:pt idx="3">
                  <c:v>9.870000000000001</c:v>
                </c:pt>
                <c:pt idx="4">
                  <c:v>10.97</c:v>
                </c:pt>
              </c:numCache>
            </c:numRef>
          </c:xVal>
          <c:yVal>
            <c:numRef>
              <c:f>Sheet1!$B$2:$B$6</c:f>
              <c:numCache>
                <c:formatCode>General</c:formatCode>
                <c:ptCount val="5"/>
                <c:pt idx="0">
                  <c:v>0.07008868919391005</c:v>
                </c:pt>
                <c:pt idx="1">
                  <c:v>0.04427465816477435</c:v>
                </c:pt>
                <c:pt idx="2">
                  <c:v>0.0</c:v>
                </c:pt>
                <c:pt idx="3">
                  <c:v>-0.03059957570673548</c:v>
                </c:pt>
                <c:pt idx="4">
                  <c:v>-0.09897137115662372</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Equate Easy Fit 5 Blade Refills 8 Pack</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0.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13.47</c:v>
                </c:pt>
                <c:pt idx="1">
                  <c:v>13.97</c:v>
                </c:pt>
                <c:pt idx="2">
                  <c:v>15.97</c:v>
                </c:pt>
                <c:pt idx="3">
                  <c:v>17.97</c:v>
                </c:pt>
                <c:pt idx="4">
                  <c:v>19.97</c:v>
                </c:pt>
              </c:numCache>
            </c:numRef>
          </c:xVal>
          <c:yVal>
            <c:numRef>
              <c:f>Sheet1!$B$9:$B$13</c:f>
              <c:numCache>
                <c:formatCode>General</c:formatCode>
                <c:ptCount val="5"/>
                <c:pt idx="0">
                  <c:v>0.11616457852638612</c:v>
                </c:pt>
                <c:pt idx="1">
                  <c:v>0.09271958291480406</c:v>
                </c:pt>
                <c:pt idx="2">
                  <c:v>0.0</c:v>
                </c:pt>
                <c:pt idx="3">
                  <c:v>-0.1377509843916325</c:v>
                </c:pt>
                <c:pt idx="4">
                  <c:v>-0.21162621812242252</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Equate Easy Fit 5 Blade Refills 12 Pack</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16.97</c:v>
                </c:pt>
                <c:pt idx="1">
                  <c:v>17.97</c:v>
                </c:pt>
                <c:pt idx="2">
                  <c:v>19.97</c:v>
                </c:pt>
                <c:pt idx="3">
                  <c:v>21.97</c:v>
                </c:pt>
                <c:pt idx="4">
                  <c:v>22.97</c:v>
                </c:pt>
              </c:numCache>
            </c:numRef>
          </c:xVal>
          <c:yVal>
            <c:numRef>
              <c:f>Sheet1!$B$16:$B$20</c:f>
              <c:numCache>
                <c:formatCode>General</c:formatCode>
                <c:ptCount val="5"/>
                <c:pt idx="0">
                  <c:v>0.1467765608891175</c:v>
                </c:pt>
                <c:pt idx="1">
                  <c:v>0.08562325046921342</c:v>
                </c:pt>
                <c:pt idx="2">
                  <c:v>0.0</c:v>
                </c:pt>
                <c:pt idx="3">
                  <c:v>-0.07944401466275275</c:v>
                </c:pt>
                <c:pt idx="4">
                  <c:v>-0.11385136703507953</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22.97"/>
          <c:min val="7.57"/>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Equate Razor (1.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quate Dispo (19.1%)</c:v>
                </c:pt>
                <c:pt idx="1">
                  <c:v>Bic Dispo (16.9%)</c:v>
                </c:pt>
                <c:pt idx="2">
                  <c:v>Gillette Razor (13.9%)</c:v>
                </c:pt>
                <c:pt idx="3">
                  <c:v>Schick Razor (2.1%)</c:v>
                </c:pt>
                <c:pt idx="4">
                  <c:v>Schick Dispo (8.1%)</c:v>
                </c:pt>
                <c:pt idx="5">
                  <c:v>Gillette Dispo (17.5%)</c:v>
                </c:pt>
                <c:pt idx="6">
                  <c:v>Harrys Razor (6.2%)</c:v>
                </c:pt>
                <c:pt idx="7">
                  <c:v>Dollar Shave Club Razor (2.0%)</c:v>
                </c:pt>
                <c:pt idx="8">
                  <c:v>Harrys Blade (5.0%)</c:v>
                </c:pt>
                <c:pt idx="9">
                  <c:v>Gillette Blade (7.3%)</c:v>
                </c:pt>
              </c:strCache>
            </c:strRef>
          </c:cat>
          <c:val>
            <c:numRef>
              <c:f>Sheet1!$B$2:$B$11</c:f>
              <c:numCache>
                <c:formatCode>General</c:formatCode>
                <c:ptCount val="10"/>
                <c:pt idx="0">
                  <c:v>0.343238902776974</c:v>
                </c:pt>
                <c:pt idx="1">
                  <c:v>0.13368537611831743</c:v>
                </c:pt>
                <c:pt idx="2">
                  <c:v>0.110945267908573</c:v>
                </c:pt>
                <c:pt idx="3">
                  <c:v>0.07799903037378987</c:v>
                </c:pt>
                <c:pt idx="4">
                  <c:v>0.07612533721363281</c:v>
                </c:pt>
                <c:pt idx="5">
                  <c:v>0.05700490609204042</c:v>
                </c:pt>
                <c:pt idx="6">
                  <c:v>0.04657387515266379</c:v>
                </c:pt>
                <c:pt idx="7">
                  <c:v>0.03905915036461305</c:v>
                </c:pt>
                <c:pt idx="8">
                  <c:v>0.029243354368570194</c:v>
                </c:pt>
                <c:pt idx="9">
                  <c:v>0.02634251715762837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5</c:f>
              <c:strCache>
                <c:ptCount val="14"/>
                <c:pt idx="0">
                  <c:v>5.47</c:v>
                </c:pt>
                <c:pt idx="1">
                  <c:v>5.67</c:v>
                </c:pt>
                <c:pt idx="2">
                  <c:v>5.87</c:v>
                </c:pt>
                <c:pt idx="3">
                  <c:v>6.07</c:v>
                </c:pt>
                <c:pt idx="4">
                  <c:v>6.27</c:v>
                </c:pt>
                <c:pt idx="5">
                  <c:v>6.47</c:v>
                </c:pt>
                <c:pt idx="6">
                  <c:v>6.67</c:v>
                </c:pt>
                <c:pt idx="7">
                  <c:v>6.87</c:v>
                </c:pt>
                <c:pt idx="8">
                  <c:v>7.07</c:v>
                </c:pt>
                <c:pt idx="9">
                  <c:v>7.27</c:v>
                </c:pt>
                <c:pt idx="10">
                  <c:v>7.47</c:v>
                </c:pt>
                <c:pt idx="11">
                  <c:v>7.67</c:v>
                </c:pt>
                <c:pt idx="12">
                  <c:v>7.87</c:v>
                </c:pt>
                <c:pt idx="13">
                  <c:v>8.07</c:v>
                </c:pt>
              </c:strCache>
            </c:strRef>
          </c:cat>
          <c:val>
            <c:numRef>
              <c:f>Sheet1!$B$2:$B$15</c:f>
              <c:numCache>
                <c:formatCode>General</c:formatCode>
                <c:ptCount val="14"/>
                <c:pt idx="0">
                  <c:v>108.89623255952483</c:v>
                </c:pt>
                <c:pt idx="1">
                  <c:v>106.88183612346236</c:v>
                </c:pt>
                <c:pt idx="2">
                  <c:v>104.99771635916828</c:v>
                </c:pt>
                <c:pt idx="3">
                  <c:v>103.23056139733487</c:v>
                </c:pt>
                <c:pt idx="4">
                  <c:v>101.56828427844727</c:v>
                </c:pt>
                <c:pt idx="5">
                  <c:v>100.0</c:v>
                </c:pt>
                <c:pt idx="6">
                  <c:v>94.94053439056367</c:v>
                </c:pt>
                <c:pt idx="7">
                  <c:v>90.51571204200411</c:v>
                </c:pt>
                <c:pt idx="8">
                  <c:v>86.6276154547861</c:v>
                </c:pt>
                <c:pt idx="9">
                  <c:v>83.7892148778836</c:v>
                </c:pt>
                <c:pt idx="10">
                  <c:v>81.12516505930894</c:v>
                </c:pt>
                <c:pt idx="11">
                  <c:v>78.62076794848088</c:v>
                </c:pt>
                <c:pt idx="12">
                  <c:v>76.26220556394324</c:v>
                </c:pt>
                <c:pt idx="13">
                  <c:v>74.03657658971059</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5</c:f>
              <c:strCache>
                <c:ptCount val="14"/>
                <c:pt idx="0">
                  <c:v>5.47</c:v>
                </c:pt>
                <c:pt idx="1">
                  <c:v>5.67</c:v>
                </c:pt>
                <c:pt idx="2">
                  <c:v>5.87</c:v>
                </c:pt>
                <c:pt idx="3">
                  <c:v>6.07</c:v>
                </c:pt>
                <c:pt idx="4">
                  <c:v>6.27</c:v>
                </c:pt>
                <c:pt idx="5">
                  <c:v>6.47</c:v>
                </c:pt>
                <c:pt idx="6">
                  <c:v>6.67</c:v>
                </c:pt>
                <c:pt idx="7">
                  <c:v>6.87</c:v>
                </c:pt>
                <c:pt idx="8">
                  <c:v>7.07</c:v>
                </c:pt>
                <c:pt idx="9">
                  <c:v>7.27</c:v>
                </c:pt>
                <c:pt idx="10">
                  <c:v>7.47</c:v>
                </c:pt>
                <c:pt idx="11">
                  <c:v>7.67</c:v>
                </c:pt>
                <c:pt idx="12">
                  <c:v>7.87</c:v>
                </c:pt>
                <c:pt idx="13">
                  <c:v>8.07</c:v>
                </c:pt>
              </c:strCache>
            </c:strRef>
          </c:cat>
          <c:val>
            <c:numRef>
              <c:f>Sheet1!$C$2:$C$15</c:f>
              <c:numCache>
                <c:formatCode>General</c:formatCode>
                <c:ptCount val="14"/>
                <c:pt idx="0">
                  <c:v>92.35918395610679</c:v>
                </c:pt>
                <c:pt idx="1">
                  <c:v>93.90239359023627</c:v>
                </c:pt>
                <c:pt idx="2">
                  <c:v>95.43873075343532</c:v>
                </c:pt>
                <c:pt idx="3">
                  <c:v>96.96775014893608</c:v>
                </c:pt>
                <c:pt idx="4">
                  <c:v>98.48856251676519</c:v>
                </c:pt>
                <c:pt idx="5">
                  <c:v>100.0</c:v>
                </c:pt>
                <c:pt idx="6">
                  <c:v>97.82952498780215</c:v>
                </c:pt>
                <c:pt idx="7">
                  <c:v>96.0235594892946</c:v>
                </c:pt>
                <c:pt idx="8">
                  <c:v>94.53334140481539</c:v>
                </c:pt>
                <c:pt idx="9">
                  <c:v>93.97605916020105</c:v>
                </c:pt>
                <c:pt idx="10">
                  <c:v>93.44756817511755</c:v>
                </c:pt>
                <c:pt idx="11">
                  <c:v>92.94634166483961</c:v>
                </c:pt>
                <c:pt idx="12">
                  <c:v>92.47014170943739</c:v>
                </c:pt>
                <c:pt idx="13">
                  <c:v>92.01619859404207</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5</c:f>
              <c:strCache>
                <c:ptCount val="14"/>
                <c:pt idx="0">
                  <c:v>5.47</c:v>
                </c:pt>
                <c:pt idx="1">
                  <c:v>5.67</c:v>
                </c:pt>
                <c:pt idx="2">
                  <c:v>5.87</c:v>
                </c:pt>
                <c:pt idx="3">
                  <c:v>6.07</c:v>
                </c:pt>
                <c:pt idx="4">
                  <c:v>6.27</c:v>
                </c:pt>
                <c:pt idx="5">
                  <c:v>6.47</c:v>
                </c:pt>
                <c:pt idx="6">
                  <c:v>6.67</c:v>
                </c:pt>
                <c:pt idx="7">
                  <c:v>6.87</c:v>
                </c:pt>
                <c:pt idx="8">
                  <c:v>7.07</c:v>
                </c:pt>
                <c:pt idx="9">
                  <c:v>7.27</c:v>
                </c:pt>
                <c:pt idx="10">
                  <c:v>7.47</c:v>
                </c:pt>
                <c:pt idx="11">
                  <c:v>7.67</c:v>
                </c:pt>
                <c:pt idx="12">
                  <c:v>7.87</c:v>
                </c:pt>
                <c:pt idx="13">
                  <c:v>8.07</c:v>
                </c:pt>
              </c:strCache>
            </c:strRef>
          </c:cat>
          <c:val>
            <c:numRef>
              <c:f>Sheet1!$D$2:$D$15</c:f>
              <c:numCache>
                <c:formatCode>General</c:formatCode>
                <c:ptCount val="14"/>
                <c:pt idx="0">
                  <c:v>86.94521456334685</c:v>
                </c:pt>
                <c:pt idx="1">
                  <c:v>89.64586714223466</c:v>
                </c:pt>
                <c:pt idx="2">
                  <c:v>92.29861718639663</c:v>
                </c:pt>
                <c:pt idx="3">
                  <c:v>94.90698267389355</c:v>
                </c:pt>
                <c:pt idx="4">
                  <c:v>97.47351041229277</c:v>
                </c:pt>
                <c:pt idx="5">
                  <c:v>100.0</c:v>
                </c:pt>
                <c:pt idx="6">
                  <c:v>98.76810735611103</c:v>
                </c:pt>
                <c:pt idx="7">
                  <c:v>97.81408032259566</c:v>
                </c:pt>
                <c:pt idx="8">
                  <c:v>97.10491646577137</c:v>
                </c:pt>
                <c:pt idx="9">
                  <c:v>97.30122366231727</c:v>
                </c:pt>
                <c:pt idx="10">
                  <c:v>97.47816383900854</c:v>
                </c:pt>
                <c:pt idx="11">
                  <c:v>97.63857069386506</c:v>
                </c:pt>
                <c:pt idx="12">
                  <c:v>97.78403612117759</c:v>
                </c:pt>
                <c:pt idx="13">
                  <c:v>97.91513601308142</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5</c:f>
              <c:strCache>
                <c:ptCount val="14"/>
                <c:pt idx="0">
                  <c:v>5.47</c:v>
                </c:pt>
                <c:pt idx="1">
                  <c:v>5.67</c:v>
                </c:pt>
                <c:pt idx="2">
                  <c:v>5.87</c:v>
                </c:pt>
                <c:pt idx="3">
                  <c:v>6.07</c:v>
                </c:pt>
                <c:pt idx="4">
                  <c:v>6.27</c:v>
                </c:pt>
                <c:pt idx="5">
                  <c:v>6.47</c:v>
                </c:pt>
                <c:pt idx="6">
                  <c:v>6.67</c:v>
                </c:pt>
                <c:pt idx="7">
                  <c:v>6.87</c:v>
                </c:pt>
                <c:pt idx="8">
                  <c:v>7.07</c:v>
                </c:pt>
                <c:pt idx="9">
                  <c:v>7.27</c:v>
                </c:pt>
                <c:pt idx="10">
                  <c:v>7.47</c:v>
                </c:pt>
                <c:pt idx="11">
                  <c:v>7.67</c:v>
                </c:pt>
                <c:pt idx="12">
                  <c:v>7.87</c:v>
                </c:pt>
                <c:pt idx="13">
                  <c:v>8.07</c:v>
                </c:pt>
              </c:strCache>
            </c:strRef>
          </c:cat>
          <c:val>
            <c:numRef>
              <c:f>Sheet1!$E$2:$E$15</c:f>
              <c:numCache>
                <c:formatCode>General</c:formatCode>
                <c:ptCount val="14"/>
                <c:pt idx="0">
                  <c:v>0.7241085765708276</c:v>
                </c:pt>
                <c:pt idx="1">
                  <c:v>0.7338401964448725</c:v>
                </c:pt>
                <c:pt idx="2">
                  <c:v>0.7429086735677048</c:v>
                </c:pt>
                <c:pt idx="3">
                  <c:v>0.7513795574699221</c:v>
                </c:pt>
                <c:pt idx="4">
                  <c:v>0.7593100341056501</c:v>
                </c:pt>
                <c:pt idx="5">
                  <c:v>0.7667502185227862</c:v>
                </c:pt>
                <c:pt idx="6">
                  <c:v>0.7737442149688796</c:v>
                </c:pt>
                <c:pt idx="7">
                  <c:v>0.7803309918256809</c:v>
                </c:pt>
                <c:pt idx="8">
                  <c:v>0.7865451080399473</c:v>
                </c:pt>
                <c:pt idx="9">
                  <c:v>0.7924173196482018</c:v>
                </c:pt>
                <c:pt idx="10">
                  <c:v>0.7979750888677947</c:v>
                </c:pt>
                <c:pt idx="11">
                  <c:v>0.8032430135387779</c:v>
                </c:pt>
                <c:pt idx="12">
                  <c:v>0.8082431910854418</c:v>
                </c:pt>
                <c:pt idx="13">
                  <c:v>0.812995528357178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3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1.0"/>
          <c:min val="0.6"/>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6</c:f>
              <c:strCache>
                <c:ptCount val="25"/>
                <c:pt idx="0">
                  <c:v>10.17</c:v>
                </c:pt>
                <c:pt idx="1">
                  <c:v>10.37</c:v>
                </c:pt>
                <c:pt idx="2">
                  <c:v>10.57</c:v>
                </c:pt>
                <c:pt idx="3">
                  <c:v>10.77</c:v>
                </c:pt>
                <c:pt idx="4">
                  <c:v>10.97</c:v>
                </c:pt>
                <c:pt idx="5">
                  <c:v>11.17</c:v>
                </c:pt>
                <c:pt idx="6">
                  <c:v>11.37</c:v>
                </c:pt>
                <c:pt idx="7">
                  <c:v>11.57</c:v>
                </c:pt>
                <c:pt idx="8">
                  <c:v>11.77</c:v>
                </c:pt>
                <c:pt idx="9">
                  <c:v>11.97</c:v>
                </c:pt>
                <c:pt idx="10">
                  <c:v>12.17</c:v>
                </c:pt>
                <c:pt idx="11">
                  <c:v>12.37</c:v>
                </c:pt>
                <c:pt idx="12">
                  <c:v>12.57</c:v>
                </c:pt>
                <c:pt idx="13">
                  <c:v>12.77</c:v>
                </c:pt>
                <c:pt idx="14">
                  <c:v>12.97</c:v>
                </c:pt>
                <c:pt idx="15">
                  <c:v>13.17</c:v>
                </c:pt>
                <c:pt idx="16">
                  <c:v>13.37</c:v>
                </c:pt>
                <c:pt idx="17">
                  <c:v>13.57</c:v>
                </c:pt>
                <c:pt idx="18">
                  <c:v>13.77</c:v>
                </c:pt>
                <c:pt idx="19">
                  <c:v>13.97</c:v>
                </c:pt>
                <c:pt idx="20">
                  <c:v>14.17</c:v>
                </c:pt>
                <c:pt idx="21">
                  <c:v>14.37</c:v>
                </c:pt>
                <c:pt idx="22">
                  <c:v>14.57</c:v>
                </c:pt>
                <c:pt idx="23">
                  <c:v>14.77</c:v>
                </c:pt>
                <c:pt idx="24">
                  <c:v>14.97</c:v>
                </c:pt>
              </c:strCache>
            </c:strRef>
          </c:cat>
          <c:val>
            <c:numRef>
              <c:f>Sheet1!$B$2:$B$26</c:f>
              <c:numCache>
                <c:formatCode>General</c:formatCode>
                <c:ptCount val="25"/>
                <c:pt idx="0">
                  <c:v>118.7946120157477</c:v>
                </c:pt>
                <c:pt idx="1">
                  <c:v>115.77628937730876</c:v>
                </c:pt>
                <c:pt idx="2">
                  <c:v>113.02485599779241</c:v>
                </c:pt>
                <c:pt idx="3">
                  <c:v>110.49714607528625</c:v>
                </c:pt>
                <c:pt idx="4">
                  <c:v>108.15919927412307</c:v>
                </c:pt>
                <c:pt idx="5">
                  <c:v>106.39044679209088</c:v>
                </c:pt>
                <c:pt idx="6">
                  <c:v>104.69470539007106</c:v>
                </c:pt>
                <c:pt idx="7">
                  <c:v>103.06724371243664</c:v>
                </c:pt>
                <c:pt idx="8">
                  <c:v>101.50368936525737</c:v>
                </c:pt>
                <c:pt idx="9">
                  <c:v>100.0</c:v>
                </c:pt>
                <c:pt idx="10">
                  <c:v>98.55243683778988</c:v>
                </c:pt>
                <c:pt idx="11">
                  <c:v>97.15754039998397</c:v>
                </c:pt>
                <c:pt idx="12">
                  <c:v>95.81210824174508</c:v>
                </c:pt>
                <c:pt idx="13">
                  <c:v>93.8060887095616</c:v>
                </c:pt>
                <c:pt idx="14">
                  <c:v>91.88391070694507</c:v>
                </c:pt>
                <c:pt idx="15">
                  <c:v>90.03962612904617</c:v>
                </c:pt>
                <c:pt idx="16">
                  <c:v>88.26790551338608</c:v>
                </c:pt>
                <c:pt idx="17">
                  <c:v>86.16407070900893</c:v>
                </c:pt>
                <c:pt idx="18">
                  <c:v>83.74243447791801</c:v>
                </c:pt>
                <c:pt idx="19">
                  <c:v>81.40553193786879</c:v>
                </c:pt>
                <c:pt idx="20">
                  <c:v>79.15021505526511</c:v>
                </c:pt>
                <c:pt idx="21">
                  <c:v>76.9736303884198</c:v>
                </c:pt>
                <c:pt idx="22">
                  <c:v>74.8731730034431</c:v>
                </c:pt>
                <c:pt idx="23">
                  <c:v>72.84644284441575</c:v>
                </c:pt>
                <c:pt idx="24">
                  <c:v>70.89120433592606</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6</c:f>
              <c:strCache>
                <c:ptCount val="25"/>
                <c:pt idx="0">
                  <c:v>10.17</c:v>
                </c:pt>
                <c:pt idx="1">
                  <c:v>10.37</c:v>
                </c:pt>
                <c:pt idx="2">
                  <c:v>10.57</c:v>
                </c:pt>
                <c:pt idx="3">
                  <c:v>10.77</c:v>
                </c:pt>
                <c:pt idx="4">
                  <c:v>10.97</c:v>
                </c:pt>
                <c:pt idx="5">
                  <c:v>11.17</c:v>
                </c:pt>
                <c:pt idx="6">
                  <c:v>11.37</c:v>
                </c:pt>
                <c:pt idx="7">
                  <c:v>11.57</c:v>
                </c:pt>
                <c:pt idx="8">
                  <c:v>11.77</c:v>
                </c:pt>
                <c:pt idx="9">
                  <c:v>11.97</c:v>
                </c:pt>
                <c:pt idx="10">
                  <c:v>12.17</c:v>
                </c:pt>
                <c:pt idx="11">
                  <c:v>12.37</c:v>
                </c:pt>
                <c:pt idx="12">
                  <c:v>12.57</c:v>
                </c:pt>
                <c:pt idx="13">
                  <c:v>12.77</c:v>
                </c:pt>
                <c:pt idx="14">
                  <c:v>12.97</c:v>
                </c:pt>
                <c:pt idx="15">
                  <c:v>13.17</c:v>
                </c:pt>
                <c:pt idx="16">
                  <c:v>13.37</c:v>
                </c:pt>
                <c:pt idx="17">
                  <c:v>13.57</c:v>
                </c:pt>
                <c:pt idx="18">
                  <c:v>13.77</c:v>
                </c:pt>
                <c:pt idx="19">
                  <c:v>13.97</c:v>
                </c:pt>
                <c:pt idx="20">
                  <c:v>14.17</c:v>
                </c:pt>
                <c:pt idx="21">
                  <c:v>14.37</c:v>
                </c:pt>
                <c:pt idx="22">
                  <c:v>14.57</c:v>
                </c:pt>
                <c:pt idx="23">
                  <c:v>14.77</c:v>
                </c:pt>
                <c:pt idx="24">
                  <c:v>14.97</c:v>
                </c:pt>
              </c:strCache>
            </c:strRef>
          </c:cat>
          <c:val>
            <c:numRef>
              <c:f>Sheet1!$C$2:$C$26</c:f>
              <c:numCache>
                <c:formatCode>General</c:formatCode>
                <c:ptCount val="25"/>
                <c:pt idx="0">
                  <c:v>101.04136446879299</c:v>
                </c:pt>
                <c:pt idx="1">
                  <c:v>100.3990632167304</c:v>
                </c:pt>
                <c:pt idx="2">
                  <c:v>99.89182580888438</c:v>
                </c:pt>
                <c:pt idx="3">
                  <c:v>99.49417956070259</c:v>
                </c:pt>
                <c:pt idx="4">
                  <c:v>99.1862044736685</c:v>
                </c:pt>
                <c:pt idx="5">
                  <c:v>99.32968941095446</c:v>
                </c:pt>
                <c:pt idx="6">
                  <c:v>99.48372662887259</c:v>
                </c:pt>
                <c:pt idx="7">
                  <c:v>99.64738136785068</c:v>
                </c:pt>
                <c:pt idx="8">
                  <c:v>99.81975782279513</c:v>
                </c:pt>
                <c:pt idx="9">
                  <c:v>100.0</c:v>
                </c:pt>
                <c:pt idx="10">
                  <c:v>100.18729217548668</c:v>
                </c:pt>
                <c:pt idx="11">
                  <c:v>100.38085899665097</c:v>
                </c:pt>
                <c:pt idx="12">
                  <c:v>100.57996527039337</c:v>
                </c:pt>
                <c:pt idx="13">
                  <c:v>100.0333361717163</c:v>
                </c:pt>
                <c:pt idx="14">
                  <c:v>99.5108448684369</c:v>
                </c:pt>
                <c:pt idx="15">
                  <c:v>99.01013413234703</c:v>
                </c:pt>
                <c:pt idx="16">
                  <c:v>98.52914112228434</c:v>
                </c:pt>
                <c:pt idx="17">
                  <c:v>97.61525388072204</c:v>
                </c:pt>
                <c:pt idx="18">
                  <c:v>96.26837768363458</c:v>
                </c:pt>
                <c:pt idx="19">
                  <c:v>94.93983825315276</c:v>
                </c:pt>
                <c:pt idx="20">
                  <c:v>93.63011773654557</c:v>
                </c:pt>
                <c:pt idx="21">
                  <c:v>92.33984322752879</c:v>
                </c:pt>
                <c:pt idx="22">
                  <c:v>91.06975532870393</c:v>
                </c:pt>
                <c:pt idx="23">
                  <c:v>89.82067514950622</c:v>
                </c:pt>
                <c:pt idx="24">
                  <c:v>88.59347098617924</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6</c:f>
              <c:strCache>
                <c:ptCount val="25"/>
                <c:pt idx="0">
                  <c:v>10.17</c:v>
                </c:pt>
                <c:pt idx="1">
                  <c:v>10.37</c:v>
                </c:pt>
                <c:pt idx="2">
                  <c:v>10.57</c:v>
                </c:pt>
                <c:pt idx="3">
                  <c:v>10.77</c:v>
                </c:pt>
                <c:pt idx="4">
                  <c:v>10.97</c:v>
                </c:pt>
                <c:pt idx="5">
                  <c:v>11.17</c:v>
                </c:pt>
                <c:pt idx="6">
                  <c:v>11.37</c:v>
                </c:pt>
                <c:pt idx="7">
                  <c:v>11.57</c:v>
                </c:pt>
                <c:pt idx="8">
                  <c:v>11.77</c:v>
                </c:pt>
                <c:pt idx="9">
                  <c:v>11.97</c:v>
                </c:pt>
                <c:pt idx="10">
                  <c:v>12.17</c:v>
                </c:pt>
                <c:pt idx="11">
                  <c:v>12.37</c:v>
                </c:pt>
                <c:pt idx="12">
                  <c:v>12.57</c:v>
                </c:pt>
                <c:pt idx="13">
                  <c:v>12.77</c:v>
                </c:pt>
                <c:pt idx="14">
                  <c:v>12.97</c:v>
                </c:pt>
                <c:pt idx="15">
                  <c:v>13.17</c:v>
                </c:pt>
                <c:pt idx="16">
                  <c:v>13.37</c:v>
                </c:pt>
                <c:pt idx="17">
                  <c:v>13.57</c:v>
                </c:pt>
                <c:pt idx="18">
                  <c:v>13.77</c:v>
                </c:pt>
                <c:pt idx="19">
                  <c:v>13.97</c:v>
                </c:pt>
                <c:pt idx="20">
                  <c:v>14.17</c:v>
                </c:pt>
                <c:pt idx="21">
                  <c:v>14.37</c:v>
                </c:pt>
                <c:pt idx="22">
                  <c:v>14.57</c:v>
                </c:pt>
                <c:pt idx="23">
                  <c:v>14.77</c:v>
                </c:pt>
                <c:pt idx="24">
                  <c:v>14.97</c:v>
                </c:pt>
              </c:strCache>
            </c:strRef>
          </c:cat>
          <c:val>
            <c:numRef>
              <c:f>Sheet1!$D$2:$D$26</c:f>
              <c:numCache>
                <c:formatCode>General</c:formatCode>
                <c:ptCount val="25"/>
                <c:pt idx="0">
                  <c:v>94.83098595135276</c:v>
                </c:pt>
                <c:pt idx="1">
                  <c:v>95.01650231526241</c:v>
                </c:pt>
                <c:pt idx="2">
                  <c:v>95.29173066296947</c:v>
                </c:pt>
                <c:pt idx="3">
                  <c:v>95.63725613695593</c:v>
                </c:pt>
                <c:pt idx="4">
                  <c:v>96.03796768490534</c:v>
                </c:pt>
                <c:pt idx="5">
                  <c:v>96.852038570862</c:v>
                </c:pt>
                <c:pt idx="6">
                  <c:v>97.65492266951841</c:v>
                </c:pt>
                <c:pt idx="7">
                  <c:v>98.44701006172508</c:v>
                </c:pt>
                <c:pt idx="8">
                  <c:v>99.22861755589963</c:v>
                </c:pt>
                <c:pt idx="9">
                  <c:v>100.0</c:v>
                </c:pt>
                <c:pt idx="10">
                  <c:v>100.76136020003665</c:v>
                </c:pt>
                <c:pt idx="11">
                  <c:v>101.51285758328615</c:v>
                </c:pt>
                <c:pt idx="12">
                  <c:v>102.25461573538497</c:v>
                </c:pt>
                <c:pt idx="13">
                  <c:v>102.21624953440657</c:v>
                </c:pt>
                <c:pt idx="14">
                  <c:v>102.18119626819595</c:v>
                </c:pt>
                <c:pt idx="15">
                  <c:v>102.1483455113043</c:v>
                </c:pt>
                <c:pt idx="16">
                  <c:v>102.11676926722933</c:v>
                </c:pt>
                <c:pt idx="17">
                  <c:v>101.61410603091056</c:v>
                </c:pt>
                <c:pt idx="18">
                  <c:v>100.6352240708071</c:v>
                </c:pt>
                <c:pt idx="19">
                  <c:v>99.65151215748085</c:v>
                </c:pt>
                <c:pt idx="20">
                  <c:v>98.66474369094205</c:v>
                </c:pt>
                <c:pt idx="21">
                  <c:v>97.67678366165093</c:v>
                </c:pt>
                <c:pt idx="22">
                  <c:v>96.68956215296696</c:v>
                </c:pt>
                <c:pt idx="23">
                  <c:v>95.70504487052705</c:v>
                </c:pt>
                <c:pt idx="24">
                  <c:v>94.72520212329403</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6</c:f>
              <c:strCache>
                <c:ptCount val="25"/>
                <c:pt idx="0">
                  <c:v>10.17</c:v>
                </c:pt>
                <c:pt idx="1">
                  <c:v>10.37</c:v>
                </c:pt>
                <c:pt idx="2">
                  <c:v>10.57</c:v>
                </c:pt>
                <c:pt idx="3">
                  <c:v>10.77</c:v>
                </c:pt>
                <c:pt idx="4">
                  <c:v>10.97</c:v>
                </c:pt>
                <c:pt idx="5">
                  <c:v>11.17</c:v>
                </c:pt>
                <c:pt idx="6">
                  <c:v>11.37</c:v>
                </c:pt>
                <c:pt idx="7">
                  <c:v>11.57</c:v>
                </c:pt>
                <c:pt idx="8">
                  <c:v>11.77</c:v>
                </c:pt>
                <c:pt idx="9">
                  <c:v>11.97</c:v>
                </c:pt>
                <c:pt idx="10">
                  <c:v>12.17</c:v>
                </c:pt>
                <c:pt idx="11">
                  <c:v>12.37</c:v>
                </c:pt>
                <c:pt idx="12">
                  <c:v>12.57</c:v>
                </c:pt>
                <c:pt idx="13">
                  <c:v>12.77</c:v>
                </c:pt>
                <c:pt idx="14">
                  <c:v>12.97</c:v>
                </c:pt>
                <c:pt idx="15">
                  <c:v>13.17</c:v>
                </c:pt>
                <c:pt idx="16">
                  <c:v>13.37</c:v>
                </c:pt>
                <c:pt idx="17">
                  <c:v>13.57</c:v>
                </c:pt>
                <c:pt idx="18">
                  <c:v>13.77</c:v>
                </c:pt>
                <c:pt idx="19">
                  <c:v>13.97</c:v>
                </c:pt>
                <c:pt idx="20">
                  <c:v>14.17</c:v>
                </c:pt>
                <c:pt idx="21">
                  <c:v>14.37</c:v>
                </c:pt>
                <c:pt idx="22">
                  <c:v>14.57</c:v>
                </c:pt>
                <c:pt idx="23">
                  <c:v>14.77</c:v>
                </c:pt>
                <c:pt idx="24">
                  <c:v>14.97</c:v>
                </c:pt>
              </c:strCache>
            </c:strRef>
          </c:cat>
          <c:val>
            <c:numRef>
              <c:f>Sheet1!$E$2:$E$26</c:f>
              <c:numCache>
                <c:formatCode>General</c:formatCode>
                <c:ptCount val="25"/>
                <c:pt idx="0">
                  <c:v>0.7004050745918783</c:v>
                </c:pt>
                <c:pt idx="1">
                  <c:v>0.706183183085767</c:v>
                </c:pt>
                <c:pt idx="2">
                  <c:v>0.7117426308987136</c:v>
                </c:pt>
                <c:pt idx="3">
                  <c:v>0.7170955996842527</c:v>
                </c:pt>
                <c:pt idx="4">
                  <c:v>0.7222533827346767</c:v>
                </c:pt>
                <c:pt idx="5">
                  <c:v>0.7272264645120323</c:v>
                </c:pt>
                <c:pt idx="6">
                  <c:v>0.7320245917853476</c:v>
                </c:pt>
                <c:pt idx="7">
                  <c:v>0.7366568373897496</c:v>
                </c:pt>
                <c:pt idx="8">
                  <c:v>0.741131657485081</c:v>
                </c:pt>
                <c:pt idx="9">
                  <c:v>0.7454569430743025</c:v>
                </c:pt>
                <c:pt idx="10">
                  <c:v>0.7496400664420215</c:v>
                </c:pt>
                <c:pt idx="11">
                  <c:v>0.7536879230880681</c:v>
                </c:pt>
                <c:pt idx="12">
                  <c:v>0.7576069696578681</c:v>
                </c:pt>
                <c:pt idx="13">
                  <c:v>0.7614032583084889</c:v>
                </c:pt>
                <c:pt idx="14">
                  <c:v>0.7650824678950966</c:v>
                </c:pt>
                <c:pt idx="15">
                  <c:v>0.768649932315824</c:v>
                </c:pt>
                <c:pt idx="16">
                  <c:v>0.7721106663125956</c:v>
                </c:pt>
                <c:pt idx="17">
                  <c:v>0.775469388990376</c:v>
                </c:pt>
                <c:pt idx="18">
                  <c:v>0.7787305452868122</c:v>
                </c:pt>
                <c:pt idx="19">
                  <c:v>0.7818983255976666</c:v>
                </c:pt>
                <c:pt idx="20">
                  <c:v>0.7849766837402543</c:v>
                </c:pt>
                <c:pt idx="21">
                  <c:v>0.7879693534167992</c:v>
                </c:pt>
                <c:pt idx="22">
                  <c:v>0.7908798633218533</c:v>
                </c:pt>
                <c:pt idx="23">
                  <c:v>0.7937115510223022</c:v>
                </c:pt>
                <c:pt idx="24">
                  <c:v>0.796467575724743</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4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1.0"/>
          <c:min val="0.6"/>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5</c:f>
              <c:strCache>
                <c:ptCount val="14"/>
                <c:pt idx="0">
                  <c:v>5.47</c:v>
                </c:pt>
                <c:pt idx="1">
                  <c:v>5.67</c:v>
                </c:pt>
                <c:pt idx="2">
                  <c:v>5.87</c:v>
                </c:pt>
                <c:pt idx="3">
                  <c:v>6.07</c:v>
                </c:pt>
                <c:pt idx="4">
                  <c:v>6.27</c:v>
                </c:pt>
                <c:pt idx="5">
                  <c:v>6.47</c:v>
                </c:pt>
                <c:pt idx="6">
                  <c:v>6.67</c:v>
                </c:pt>
                <c:pt idx="7">
                  <c:v>6.87</c:v>
                </c:pt>
                <c:pt idx="8">
                  <c:v>7.07</c:v>
                </c:pt>
                <c:pt idx="9">
                  <c:v>7.27</c:v>
                </c:pt>
                <c:pt idx="10">
                  <c:v>7.47</c:v>
                </c:pt>
                <c:pt idx="11">
                  <c:v>7.67</c:v>
                </c:pt>
                <c:pt idx="12">
                  <c:v>7.87</c:v>
                </c:pt>
                <c:pt idx="13">
                  <c:v>8.07</c:v>
                </c:pt>
              </c:strCache>
            </c:strRef>
          </c:cat>
          <c:val>
            <c:numRef>
              <c:f>Sheet1!$B$2:$B$15</c:f>
              <c:numCache>
                <c:formatCode>General</c:formatCode>
                <c:ptCount val="14"/>
                <c:pt idx="0">
                  <c:v>110.55544383694607</c:v>
                </c:pt>
                <c:pt idx="1">
                  <c:v>108.19990841168368</c:v>
                </c:pt>
                <c:pt idx="2">
                  <c:v>105.97903446654445</c:v>
                </c:pt>
                <c:pt idx="3">
                  <c:v>103.87961536686632</c:v>
                </c:pt>
                <c:pt idx="4">
                  <c:v>101.89001794528313</c:v>
                </c:pt>
                <c:pt idx="5">
                  <c:v>100.0</c:v>
                </c:pt>
                <c:pt idx="6">
                  <c:v>93.63730888899107</c:v>
                </c:pt>
                <c:pt idx="7">
                  <c:v>88.3118092925764</c:v>
                </c:pt>
                <c:pt idx="8">
                  <c:v>83.79325756812545</c:v>
                </c:pt>
                <c:pt idx="9">
                  <c:v>80.1360808987515</c:v>
                </c:pt>
                <c:pt idx="10">
                  <c:v>76.75120924145857</c:v>
                </c:pt>
                <c:pt idx="11">
                  <c:v>73.61537201725514</c:v>
                </c:pt>
                <c:pt idx="12">
                  <c:v>70.70666962073543</c:v>
                </c:pt>
                <c:pt idx="13">
                  <c:v>68.0047132304231</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5</c:f>
              <c:strCache>
                <c:ptCount val="14"/>
                <c:pt idx="0">
                  <c:v>5.47</c:v>
                </c:pt>
                <c:pt idx="1">
                  <c:v>5.67</c:v>
                </c:pt>
                <c:pt idx="2">
                  <c:v>5.87</c:v>
                </c:pt>
                <c:pt idx="3">
                  <c:v>6.07</c:v>
                </c:pt>
                <c:pt idx="4">
                  <c:v>6.27</c:v>
                </c:pt>
                <c:pt idx="5">
                  <c:v>6.47</c:v>
                </c:pt>
                <c:pt idx="6">
                  <c:v>6.67</c:v>
                </c:pt>
                <c:pt idx="7">
                  <c:v>6.87</c:v>
                </c:pt>
                <c:pt idx="8">
                  <c:v>7.07</c:v>
                </c:pt>
                <c:pt idx="9">
                  <c:v>7.27</c:v>
                </c:pt>
                <c:pt idx="10">
                  <c:v>7.47</c:v>
                </c:pt>
                <c:pt idx="11">
                  <c:v>7.67</c:v>
                </c:pt>
                <c:pt idx="12">
                  <c:v>7.87</c:v>
                </c:pt>
                <c:pt idx="13">
                  <c:v>8.07</c:v>
                </c:pt>
              </c:strCache>
            </c:strRef>
          </c:cat>
          <c:val>
            <c:numRef>
              <c:f>Sheet1!$C$2:$C$15</c:f>
              <c:numCache>
                <c:formatCode>General</c:formatCode>
                <c:ptCount val="14"/>
                <c:pt idx="0">
                  <c:v>93.67542683138959</c:v>
                </c:pt>
                <c:pt idx="1">
                  <c:v>94.98657060408762</c:v>
                </c:pt>
                <c:pt idx="2">
                  <c:v>96.27456377119027</c:v>
                </c:pt>
                <c:pt idx="3">
                  <c:v>97.53948767099617</c:v>
                </c:pt>
                <c:pt idx="4">
                  <c:v>98.78132106054514</c:v>
                </c:pt>
                <c:pt idx="5">
                  <c:v>100.0</c:v>
                </c:pt>
                <c:pt idx="6">
                  <c:v>96.49831098814599</c:v>
                </c:pt>
                <c:pt idx="7">
                  <c:v>93.7087196721912</c:v>
                </c:pt>
                <c:pt idx="8">
                  <c:v>91.47471745827534</c:v>
                </c:pt>
                <c:pt idx="9">
                  <c:v>89.92778209758578</c:v>
                </c:pt>
                <c:pt idx="10">
                  <c:v>88.47211878800061</c:v>
                </c:pt>
                <c:pt idx="11">
                  <c:v>87.10499193984921</c:v>
                </c:pt>
                <c:pt idx="12">
                  <c:v>85.82251282904542</c:v>
                </c:pt>
                <c:pt idx="13">
                  <c:v>84.62001972886387</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5</c:f>
              <c:strCache>
                <c:ptCount val="14"/>
                <c:pt idx="0">
                  <c:v>5.47</c:v>
                </c:pt>
                <c:pt idx="1">
                  <c:v>5.67</c:v>
                </c:pt>
                <c:pt idx="2">
                  <c:v>5.87</c:v>
                </c:pt>
                <c:pt idx="3">
                  <c:v>6.07</c:v>
                </c:pt>
                <c:pt idx="4">
                  <c:v>6.27</c:v>
                </c:pt>
                <c:pt idx="5">
                  <c:v>6.47</c:v>
                </c:pt>
                <c:pt idx="6">
                  <c:v>6.67</c:v>
                </c:pt>
                <c:pt idx="7">
                  <c:v>6.87</c:v>
                </c:pt>
                <c:pt idx="8">
                  <c:v>7.07</c:v>
                </c:pt>
                <c:pt idx="9">
                  <c:v>7.27</c:v>
                </c:pt>
                <c:pt idx="10">
                  <c:v>7.47</c:v>
                </c:pt>
                <c:pt idx="11">
                  <c:v>7.67</c:v>
                </c:pt>
                <c:pt idx="12">
                  <c:v>7.87</c:v>
                </c:pt>
                <c:pt idx="13">
                  <c:v>8.07</c:v>
                </c:pt>
              </c:strCache>
            </c:strRef>
          </c:cat>
          <c:val>
            <c:numRef>
              <c:f>Sheet1!$D$2:$D$15</c:f>
              <c:numCache>
                <c:formatCode>General</c:formatCode>
                <c:ptCount val="14"/>
                <c:pt idx="0">
                  <c:v>88.32476147544077</c:v>
                </c:pt>
                <c:pt idx="1">
                  <c:v>90.7942866750161</c:v>
                </c:pt>
                <c:pt idx="2">
                  <c:v>93.19276449862038</c:v>
                </c:pt>
                <c:pt idx="3">
                  <c:v>95.5242973367128</c:v>
                </c:pt>
                <c:pt idx="4">
                  <c:v>97.79237327734556</c:v>
                </c:pt>
                <c:pt idx="5">
                  <c:v>100.0</c:v>
                </c:pt>
                <c:pt idx="6">
                  <c:v>97.40305971744858</c:v>
                </c:pt>
                <c:pt idx="7">
                  <c:v>95.4149666334256</c:v>
                </c:pt>
                <c:pt idx="8">
                  <c:v>93.9028346005156</c:v>
                </c:pt>
                <c:pt idx="9">
                  <c:v>93.02720374772477</c:v>
                </c:pt>
                <c:pt idx="10">
                  <c:v>92.18447687886919</c:v>
                </c:pt>
                <c:pt idx="11">
                  <c:v>91.37862160977585</c:v>
                </c:pt>
                <c:pt idx="12">
                  <c:v>90.61161904769838</c:v>
                </c:pt>
                <c:pt idx="13">
                  <c:v>89.8839242607254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5</c:f>
              <c:strCache>
                <c:ptCount val="14"/>
                <c:pt idx="0">
                  <c:v>5.47</c:v>
                </c:pt>
                <c:pt idx="1">
                  <c:v>5.67</c:v>
                </c:pt>
                <c:pt idx="2">
                  <c:v>5.87</c:v>
                </c:pt>
                <c:pt idx="3">
                  <c:v>6.07</c:v>
                </c:pt>
                <c:pt idx="4">
                  <c:v>6.27</c:v>
                </c:pt>
                <c:pt idx="5">
                  <c:v>6.47</c:v>
                </c:pt>
                <c:pt idx="6">
                  <c:v>6.67</c:v>
                </c:pt>
                <c:pt idx="7">
                  <c:v>6.87</c:v>
                </c:pt>
                <c:pt idx="8">
                  <c:v>7.07</c:v>
                </c:pt>
                <c:pt idx="9">
                  <c:v>7.27</c:v>
                </c:pt>
                <c:pt idx="10">
                  <c:v>7.47</c:v>
                </c:pt>
                <c:pt idx="11">
                  <c:v>7.67</c:v>
                </c:pt>
                <c:pt idx="12">
                  <c:v>7.87</c:v>
                </c:pt>
                <c:pt idx="13">
                  <c:v>8.07</c:v>
                </c:pt>
              </c:strCache>
            </c:strRef>
          </c:cat>
          <c:val>
            <c:numRef>
              <c:f>Sheet1!$E$2:$E$15</c:f>
              <c:numCache>
                <c:formatCode>General</c:formatCode>
                <c:ptCount val="14"/>
                <c:pt idx="0">
                  <c:v>0.7263440003075411</c:v>
                </c:pt>
                <c:pt idx="1">
                  <c:v>0.7359967692561287</c:v>
                </c:pt>
                <c:pt idx="2">
                  <c:v>0.7449917686000426</c:v>
                </c:pt>
                <c:pt idx="3">
                  <c:v>0.7533940167516061</c:v>
                </c:pt>
                <c:pt idx="4">
                  <c:v>0.7612602363129585</c:v>
                </c:pt>
                <c:pt idx="5">
                  <c:v>0.7686401362723725</c:v>
                </c:pt>
                <c:pt idx="6">
                  <c:v>0.7755774635205772</c:v>
                </c:pt>
                <c:pt idx="7">
                  <c:v>0.7821108706961062</c:v>
                </c:pt>
                <c:pt idx="8">
                  <c:v>0.7882746367301626</c:v>
                </c:pt>
                <c:pt idx="9">
                  <c:v>0.7940992684569808</c:v>
                </c:pt>
                <c:pt idx="10">
                  <c:v>0.7996120055799532</c:v>
                </c:pt>
                <c:pt idx="11">
                  <c:v>0.8048372466339309</c:v>
                </c:pt>
                <c:pt idx="12">
                  <c:v>0.8097969099977445</c:v>
                </c:pt>
                <c:pt idx="13">
                  <c:v>0.8145107412245662</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13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1.0"/>
          <c:min val="0.6"/>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6</c:f>
              <c:strCache>
                <c:ptCount val="25"/>
                <c:pt idx="0">
                  <c:v>10.17</c:v>
                </c:pt>
                <c:pt idx="1">
                  <c:v>10.37</c:v>
                </c:pt>
                <c:pt idx="2">
                  <c:v>10.57</c:v>
                </c:pt>
                <c:pt idx="3">
                  <c:v>10.77</c:v>
                </c:pt>
                <c:pt idx="4">
                  <c:v>10.97</c:v>
                </c:pt>
                <c:pt idx="5">
                  <c:v>11.17</c:v>
                </c:pt>
                <c:pt idx="6">
                  <c:v>11.37</c:v>
                </c:pt>
                <c:pt idx="7">
                  <c:v>11.57</c:v>
                </c:pt>
                <c:pt idx="8">
                  <c:v>11.77</c:v>
                </c:pt>
                <c:pt idx="9">
                  <c:v>11.97</c:v>
                </c:pt>
                <c:pt idx="10">
                  <c:v>12.17</c:v>
                </c:pt>
                <c:pt idx="11">
                  <c:v>12.37</c:v>
                </c:pt>
                <c:pt idx="12">
                  <c:v>12.57</c:v>
                </c:pt>
                <c:pt idx="13">
                  <c:v>12.77</c:v>
                </c:pt>
                <c:pt idx="14">
                  <c:v>12.97</c:v>
                </c:pt>
                <c:pt idx="15">
                  <c:v>13.17</c:v>
                </c:pt>
                <c:pt idx="16">
                  <c:v>13.37</c:v>
                </c:pt>
                <c:pt idx="17">
                  <c:v>13.57</c:v>
                </c:pt>
                <c:pt idx="18">
                  <c:v>13.77</c:v>
                </c:pt>
                <c:pt idx="19">
                  <c:v>13.97</c:v>
                </c:pt>
                <c:pt idx="20">
                  <c:v>14.17</c:v>
                </c:pt>
                <c:pt idx="21">
                  <c:v>14.37</c:v>
                </c:pt>
                <c:pt idx="22">
                  <c:v>14.57</c:v>
                </c:pt>
                <c:pt idx="23">
                  <c:v>14.77</c:v>
                </c:pt>
                <c:pt idx="24">
                  <c:v>14.97</c:v>
                </c:pt>
              </c:strCache>
            </c:strRef>
          </c:cat>
          <c:val>
            <c:numRef>
              <c:f>Sheet1!$B$2:$B$26</c:f>
              <c:numCache>
                <c:formatCode>General</c:formatCode>
                <c:ptCount val="25"/>
                <c:pt idx="0">
                  <c:v>123.33896064322664</c:v>
                </c:pt>
                <c:pt idx="1">
                  <c:v>118.63782042815407</c:v>
                </c:pt>
                <c:pt idx="2">
                  <c:v>114.55767805803619</c:v>
                </c:pt>
                <c:pt idx="3">
                  <c:v>110.97986751305041</c:v>
                </c:pt>
                <c:pt idx="4">
                  <c:v>107.81192530006378</c:v>
                </c:pt>
                <c:pt idx="5">
                  <c:v>106.09666253851455</c:v>
                </c:pt>
                <c:pt idx="6">
                  <c:v>104.46398949582114</c:v>
                </c:pt>
                <c:pt idx="7">
                  <c:v>102.90744780405706</c:v>
                </c:pt>
                <c:pt idx="8">
                  <c:v>101.4212077901812</c:v>
                </c:pt>
                <c:pt idx="9">
                  <c:v>100.0</c:v>
                </c:pt>
                <c:pt idx="10">
                  <c:v>98.6390545999119</c:v>
                </c:pt>
                <c:pt idx="11">
                  <c:v>97.33404774694844</c:v>
                </c:pt>
                <c:pt idx="12">
                  <c:v>96.08105411475606</c:v>
                </c:pt>
                <c:pt idx="13">
                  <c:v>93.92648747731205</c:v>
                </c:pt>
                <c:pt idx="14">
                  <c:v>91.8902104699379</c:v>
                </c:pt>
                <c:pt idx="15">
                  <c:v>89.96162960941322</c:v>
                </c:pt>
                <c:pt idx="16">
                  <c:v>88.13139335623778</c:v>
                </c:pt>
                <c:pt idx="17">
                  <c:v>86.46749075558112</c:v>
                </c:pt>
                <c:pt idx="18">
                  <c:v>84.9472788858991</c:v>
                </c:pt>
                <c:pt idx="19">
                  <c:v>83.48524033920458</c:v>
                </c:pt>
                <c:pt idx="20">
                  <c:v>82.07802885749193</c:v>
                </c:pt>
                <c:pt idx="21">
                  <c:v>80.72254067097975</c:v>
                </c:pt>
                <c:pt idx="22">
                  <c:v>79.41589429348186</c:v>
                </c:pt>
                <c:pt idx="23">
                  <c:v>78.15541214529343</c:v>
                </c:pt>
                <c:pt idx="24">
                  <c:v>76.93860383191256</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6</c:f>
              <c:strCache>
                <c:ptCount val="25"/>
                <c:pt idx="0">
                  <c:v>10.17</c:v>
                </c:pt>
                <c:pt idx="1">
                  <c:v>10.37</c:v>
                </c:pt>
                <c:pt idx="2">
                  <c:v>10.57</c:v>
                </c:pt>
                <c:pt idx="3">
                  <c:v>10.77</c:v>
                </c:pt>
                <c:pt idx="4">
                  <c:v>10.97</c:v>
                </c:pt>
                <c:pt idx="5">
                  <c:v>11.17</c:v>
                </c:pt>
                <c:pt idx="6">
                  <c:v>11.37</c:v>
                </c:pt>
                <c:pt idx="7">
                  <c:v>11.57</c:v>
                </c:pt>
                <c:pt idx="8">
                  <c:v>11.77</c:v>
                </c:pt>
                <c:pt idx="9">
                  <c:v>11.97</c:v>
                </c:pt>
                <c:pt idx="10">
                  <c:v>12.17</c:v>
                </c:pt>
                <c:pt idx="11">
                  <c:v>12.37</c:v>
                </c:pt>
                <c:pt idx="12">
                  <c:v>12.57</c:v>
                </c:pt>
                <c:pt idx="13">
                  <c:v>12.77</c:v>
                </c:pt>
                <c:pt idx="14">
                  <c:v>12.97</c:v>
                </c:pt>
                <c:pt idx="15">
                  <c:v>13.17</c:v>
                </c:pt>
                <c:pt idx="16">
                  <c:v>13.37</c:v>
                </c:pt>
                <c:pt idx="17">
                  <c:v>13.57</c:v>
                </c:pt>
                <c:pt idx="18">
                  <c:v>13.77</c:v>
                </c:pt>
                <c:pt idx="19">
                  <c:v>13.97</c:v>
                </c:pt>
                <c:pt idx="20">
                  <c:v>14.17</c:v>
                </c:pt>
                <c:pt idx="21">
                  <c:v>14.37</c:v>
                </c:pt>
                <c:pt idx="22">
                  <c:v>14.57</c:v>
                </c:pt>
                <c:pt idx="23">
                  <c:v>14.77</c:v>
                </c:pt>
                <c:pt idx="24">
                  <c:v>14.97</c:v>
                </c:pt>
              </c:strCache>
            </c:strRef>
          </c:cat>
          <c:val>
            <c:numRef>
              <c:f>Sheet1!$C$2:$C$26</c:f>
              <c:numCache>
                <c:formatCode>General</c:formatCode>
                <c:ptCount val="25"/>
                <c:pt idx="0">
                  <c:v>104.93372583109384</c:v>
                </c:pt>
                <c:pt idx="1">
                  <c:v>102.90832270483772</c:v>
                </c:pt>
                <c:pt idx="2">
                  <c:v>101.27418536894723</c:v>
                </c:pt>
                <c:pt idx="3">
                  <c:v>99.9557191283683</c:v>
                </c:pt>
                <c:pt idx="4">
                  <c:v>98.89339225565543</c:v>
                </c:pt>
                <c:pt idx="5">
                  <c:v>99.07588476807578</c:v>
                </c:pt>
                <c:pt idx="6">
                  <c:v>99.27983161656022</c:v>
                </c:pt>
                <c:pt idx="7">
                  <c:v>99.50309940748706</c:v>
                </c:pt>
                <c:pt idx="8">
                  <c:v>99.74374519340876</c:v>
                </c:pt>
                <c:pt idx="9">
                  <c:v>100.0</c:v>
                </c:pt>
                <c:pt idx="10">
                  <c:v>100.27025356990582</c:v>
                </c:pt>
                <c:pt idx="11">
                  <c:v>100.55304029456367</c:v>
                </c:pt>
                <c:pt idx="12">
                  <c:v>100.84702628705176</c:v>
                </c:pt>
                <c:pt idx="13">
                  <c:v>100.14321267359587</c:v>
                </c:pt>
                <c:pt idx="14">
                  <c:v>99.49592012606858</c:v>
                </c:pt>
                <c:pt idx="15">
                  <c:v>98.8993989087918</c:v>
                </c:pt>
                <c:pt idx="16">
                  <c:v>98.3485811849562</c:v>
                </c:pt>
                <c:pt idx="17">
                  <c:v>97.92496748650143</c:v>
                </c:pt>
                <c:pt idx="18">
                  <c:v>97.61087715834681</c:v>
                </c:pt>
                <c:pt idx="19">
                  <c:v>97.31418969208295</c:v>
                </c:pt>
                <c:pt idx="20">
                  <c:v>97.0338407070184</c:v>
                </c:pt>
                <c:pt idx="21">
                  <c:v>96.76883495634</c:v>
                </c:pt>
                <c:pt idx="22">
                  <c:v>96.51824181961051</c:v>
                </c:pt>
                <c:pt idx="23">
                  <c:v>96.28119104432379</c:v>
                </c:pt>
                <c:pt idx="24">
                  <c:v>96.05686873318187</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6</c:f>
              <c:strCache>
                <c:ptCount val="25"/>
                <c:pt idx="0">
                  <c:v>10.17</c:v>
                </c:pt>
                <c:pt idx="1">
                  <c:v>10.37</c:v>
                </c:pt>
                <c:pt idx="2">
                  <c:v>10.57</c:v>
                </c:pt>
                <c:pt idx="3">
                  <c:v>10.77</c:v>
                </c:pt>
                <c:pt idx="4">
                  <c:v>10.97</c:v>
                </c:pt>
                <c:pt idx="5">
                  <c:v>11.17</c:v>
                </c:pt>
                <c:pt idx="6">
                  <c:v>11.37</c:v>
                </c:pt>
                <c:pt idx="7">
                  <c:v>11.57</c:v>
                </c:pt>
                <c:pt idx="8">
                  <c:v>11.77</c:v>
                </c:pt>
                <c:pt idx="9">
                  <c:v>11.97</c:v>
                </c:pt>
                <c:pt idx="10">
                  <c:v>12.17</c:v>
                </c:pt>
                <c:pt idx="11">
                  <c:v>12.37</c:v>
                </c:pt>
                <c:pt idx="12">
                  <c:v>12.57</c:v>
                </c:pt>
                <c:pt idx="13">
                  <c:v>12.77</c:v>
                </c:pt>
                <c:pt idx="14">
                  <c:v>12.97</c:v>
                </c:pt>
                <c:pt idx="15">
                  <c:v>13.17</c:v>
                </c:pt>
                <c:pt idx="16">
                  <c:v>13.37</c:v>
                </c:pt>
                <c:pt idx="17">
                  <c:v>13.57</c:v>
                </c:pt>
                <c:pt idx="18">
                  <c:v>13.77</c:v>
                </c:pt>
                <c:pt idx="19">
                  <c:v>13.97</c:v>
                </c:pt>
                <c:pt idx="20">
                  <c:v>14.17</c:v>
                </c:pt>
                <c:pt idx="21">
                  <c:v>14.37</c:v>
                </c:pt>
                <c:pt idx="22">
                  <c:v>14.57</c:v>
                </c:pt>
                <c:pt idx="23">
                  <c:v>14.77</c:v>
                </c:pt>
                <c:pt idx="24">
                  <c:v>14.97</c:v>
                </c:pt>
              </c:strCache>
            </c:strRef>
          </c:cat>
          <c:val>
            <c:numRef>
              <c:f>Sheet1!$D$2:$D$26</c:f>
              <c:numCache>
                <c:formatCode>General</c:formatCode>
                <c:ptCount val="25"/>
                <c:pt idx="0">
                  <c:v>98.60577221481819</c:v>
                </c:pt>
                <c:pt idx="1">
                  <c:v>97.49073797013172</c:v>
                </c:pt>
                <c:pt idx="2">
                  <c:v>96.69035233145685</c:v>
                </c:pt>
                <c:pt idx="3">
                  <c:v>96.14332297137874</c:v>
                </c:pt>
                <c:pt idx="4">
                  <c:v>95.80106492449706</c:v>
                </c:pt>
                <c:pt idx="5">
                  <c:v>96.64084624348382</c:v>
                </c:pt>
                <c:pt idx="6">
                  <c:v>97.48126070055922</c:v>
                </c:pt>
                <c:pt idx="7">
                  <c:v>98.32165830538933</c:v>
                </c:pt>
                <c:pt idx="8">
                  <c:v>99.16142815541664</c:v>
                </c:pt>
                <c:pt idx="9">
                  <c:v>100.0</c:v>
                </c:pt>
                <c:pt idx="10">
                  <c:v>100.83684470352068</c:v>
                </c:pt>
                <c:pt idx="11">
                  <c:v>101.67147388612037</c:v>
                </c:pt>
                <c:pt idx="12">
                  <c:v>102.50343896224526</c:v>
                </c:pt>
                <c:pt idx="13">
                  <c:v>102.29764251247222</c:v>
                </c:pt>
                <c:pt idx="14">
                  <c:v>102.12730144817696</c:v>
                </c:pt>
                <c:pt idx="15">
                  <c:v>101.98831295884577</c:v>
                </c:pt>
                <c:pt idx="16">
                  <c:v>101.87706574177137</c:v>
                </c:pt>
                <c:pt idx="17">
                  <c:v>101.88024151539383</c:v>
                </c:pt>
                <c:pt idx="18">
                  <c:v>101.98177507597936</c:v>
                </c:pt>
                <c:pt idx="19">
                  <c:v>102.08669954409334</c:v>
                </c:pt>
                <c:pt idx="20">
                  <c:v>102.19473702204493</c:v>
                </c:pt>
                <c:pt idx="21">
                  <c:v>102.30561870161556</c:v>
                </c:pt>
                <c:pt idx="22">
                  <c:v>102.41908582162682</c:v>
                </c:pt>
                <c:pt idx="23">
                  <c:v>102.53489032199967</c:v>
                </c:pt>
                <c:pt idx="24">
                  <c:v>102.6527952502788</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6</c:f>
              <c:strCache>
                <c:ptCount val="25"/>
                <c:pt idx="0">
                  <c:v>10.17</c:v>
                </c:pt>
                <c:pt idx="1">
                  <c:v>10.37</c:v>
                </c:pt>
                <c:pt idx="2">
                  <c:v>10.57</c:v>
                </c:pt>
                <c:pt idx="3">
                  <c:v>10.77</c:v>
                </c:pt>
                <c:pt idx="4">
                  <c:v>10.97</c:v>
                </c:pt>
                <c:pt idx="5">
                  <c:v>11.17</c:v>
                </c:pt>
                <c:pt idx="6">
                  <c:v>11.37</c:v>
                </c:pt>
                <c:pt idx="7">
                  <c:v>11.57</c:v>
                </c:pt>
                <c:pt idx="8">
                  <c:v>11.77</c:v>
                </c:pt>
                <c:pt idx="9">
                  <c:v>11.97</c:v>
                </c:pt>
                <c:pt idx="10">
                  <c:v>12.17</c:v>
                </c:pt>
                <c:pt idx="11">
                  <c:v>12.37</c:v>
                </c:pt>
                <c:pt idx="12">
                  <c:v>12.57</c:v>
                </c:pt>
                <c:pt idx="13">
                  <c:v>12.77</c:v>
                </c:pt>
                <c:pt idx="14">
                  <c:v>12.97</c:v>
                </c:pt>
                <c:pt idx="15">
                  <c:v>13.17</c:v>
                </c:pt>
                <c:pt idx="16">
                  <c:v>13.37</c:v>
                </c:pt>
                <c:pt idx="17">
                  <c:v>13.57</c:v>
                </c:pt>
                <c:pt idx="18">
                  <c:v>13.77</c:v>
                </c:pt>
                <c:pt idx="19">
                  <c:v>13.97</c:v>
                </c:pt>
                <c:pt idx="20">
                  <c:v>14.17</c:v>
                </c:pt>
                <c:pt idx="21">
                  <c:v>14.37</c:v>
                </c:pt>
                <c:pt idx="22">
                  <c:v>14.57</c:v>
                </c:pt>
                <c:pt idx="23">
                  <c:v>14.77</c:v>
                </c:pt>
                <c:pt idx="24">
                  <c:v>14.97</c:v>
                </c:pt>
              </c:strCache>
            </c:strRef>
          </c:cat>
          <c:val>
            <c:numRef>
              <c:f>Sheet1!$E$2:$E$26</c:f>
              <c:numCache>
                <c:formatCode>General</c:formatCode>
                <c:ptCount val="25"/>
                <c:pt idx="0">
                  <c:v>0.705624716161701</c:v>
                </c:pt>
                <c:pt idx="1">
                  <c:v>0.7113021565443104</c:v>
                </c:pt>
                <c:pt idx="2">
                  <c:v>0.7167647458244559</c:v>
                </c:pt>
                <c:pt idx="3">
                  <c:v>0.7220244534228876</c:v>
                </c:pt>
                <c:pt idx="4">
                  <c:v>0.7270923758764357</c:v>
                </c:pt>
                <c:pt idx="5">
                  <c:v>0.7319788149833929</c:v>
                </c:pt>
                <c:pt idx="6">
                  <c:v>0.7366933477013633</c:v>
                </c:pt>
                <c:pt idx="7">
                  <c:v>0.7412448887955487</c:v>
                </c:pt>
                <c:pt idx="8">
                  <c:v>0.7456417470997876</c:v>
                </c:pt>
                <c:pt idx="9">
                  <c:v>0.749891676137385</c:v>
                </c:pt>
                <c:pt idx="10">
                  <c:v>0.7540019197505752</c:v>
                </c:pt>
                <c:pt idx="11">
                  <c:v>0.7579792533035166</c:v>
                </c:pt>
                <c:pt idx="12">
                  <c:v>0.7618300209518297</c:v>
                </c:pt>
                <c:pt idx="13">
                  <c:v>0.765560169409906</c:v>
                </c:pt>
                <c:pt idx="14">
                  <c:v>0.7691752785940246</c:v>
                </c:pt>
                <c:pt idx="15">
                  <c:v>0.7726805894733865</c:v>
                </c:pt>
                <c:pt idx="16">
                  <c:v>0.7760810294214284</c:v>
                </c:pt>
                <c:pt idx="17">
                  <c:v>0.7793812353253131</c:v>
                </c:pt>
                <c:pt idx="18">
                  <c:v>0.7825855746815178</c:v>
                </c:pt>
                <c:pt idx="19">
                  <c:v>0.7856981648793486</c:v>
                </c:pt>
                <c:pt idx="20">
                  <c:v>0.7887228908514115</c:v>
                </c:pt>
                <c:pt idx="21">
                  <c:v>0.7916634212501392</c:v>
                </c:pt>
                <c:pt idx="22">
                  <c:v>0.7945232232920041</c:v>
                </c:pt>
                <c:pt idx="23">
                  <c:v>0.7973055763957008</c:v>
                </c:pt>
                <c:pt idx="24">
                  <c:v>0.8000135847270875</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5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1.0"/>
          <c:min val="0.6"/>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42</c:f>
              <c:strCache>
                <c:ptCount val="41"/>
                <c:pt idx="0">
                  <c:v>16.97</c:v>
                </c:pt>
                <c:pt idx="1">
                  <c:v>17.17</c:v>
                </c:pt>
                <c:pt idx="2">
                  <c:v>17.37</c:v>
                </c:pt>
                <c:pt idx="3">
                  <c:v>17.57</c:v>
                </c:pt>
                <c:pt idx="4">
                  <c:v>17.77</c:v>
                </c:pt>
                <c:pt idx="5">
                  <c:v>17.97</c:v>
                </c:pt>
                <c:pt idx="6">
                  <c:v>18.17</c:v>
                </c:pt>
                <c:pt idx="7">
                  <c:v>18.37</c:v>
                </c:pt>
                <c:pt idx="8">
                  <c:v>18.57</c:v>
                </c:pt>
                <c:pt idx="9">
                  <c:v>18.77</c:v>
                </c:pt>
                <c:pt idx="10">
                  <c:v>18.97</c:v>
                </c:pt>
                <c:pt idx="11">
                  <c:v>19.17</c:v>
                </c:pt>
                <c:pt idx="12">
                  <c:v>19.37</c:v>
                </c:pt>
                <c:pt idx="13">
                  <c:v>19.57</c:v>
                </c:pt>
                <c:pt idx="14">
                  <c:v>19.77</c:v>
                </c:pt>
                <c:pt idx="15">
                  <c:v>19.97</c:v>
                </c:pt>
                <c:pt idx="16">
                  <c:v>20.17</c:v>
                </c:pt>
                <c:pt idx="17">
                  <c:v>20.37</c:v>
                </c:pt>
                <c:pt idx="18">
                  <c:v>20.57</c:v>
                </c:pt>
                <c:pt idx="19">
                  <c:v>20.77</c:v>
                </c:pt>
                <c:pt idx="20">
                  <c:v>20.97</c:v>
                </c:pt>
                <c:pt idx="21">
                  <c:v>21.17</c:v>
                </c:pt>
                <c:pt idx="22">
                  <c:v>21.37</c:v>
                </c:pt>
                <c:pt idx="23">
                  <c:v>21.57</c:v>
                </c:pt>
                <c:pt idx="24">
                  <c:v>21.77</c:v>
                </c:pt>
                <c:pt idx="25">
                  <c:v>21.97</c:v>
                </c:pt>
                <c:pt idx="26">
                  <c:v>22.17</c:v>
                </c:pt>
                <c:pt idx="27">
                  <c:v>22.37</c:v>
                </c:pt>
                <c:pt idx="28">
                  <c:v>22.57</c:v>
                </c:pt>
                <c:pt idx="29">
                  <c:v>22.77</c:v>
                </c:pt>
                <c:pt idx="30">
                  <c:v>22.97</c:v>
                </c:pt>
                <c:pt idx="31">
                  <c:v>23.17</c:v>
                </c:pt>
                <c:pt idx="32">
                  <c:v>23.37</c:v>
                </c:pt>
                <c:pt idx="33">
                  <c:v>23.57</c:v>
                </c:pt>
                <c:pt idx="34">
                  <c:v>23.77</c:v>
                </c:pt>
                <c:pt idx="35">
                  <c:v>23.97</c:v>
                </c:pt>
                <c:pt idx="36">
                  <c:v>24.17</c:v>
                </c:pt>
                <c:pt idx="37">
                  <c:v>24.37</c:v>
                </c:pt>
                <c:pt idx="38">
                  <c:v>24.57</c:v>
                </c:pt>
                <c:pt idx="39">
                  <c:v>24.77</c:v>
                </c:pt>
                <c:pt idx="40">
                  <c:v>24.97</c:v>
                </c:pt>
              </c:strCache>
            </c:strRef>
          </c:cat>
          <c:val>
            <c:numRef>
              <c:f>Sheet1!$B$2:$B$42</c:f>
              <c:numCache>
                <c:formatCode>General</c:formatCode>
                <c:ptCount val="41"/>
                <c:pt idx="0">
                  <c:v>121.85749948130582</c:v>
                </c:pt>
                <c:pt idx="1">
                  <c:v>119.27223043060158</c:v>
                </c:pt>
                <c:pt idx="2">
                  <c:v>116.81029700680496</c:v>
                </c:pt>
                <c:pt idx="3">
                  <c:v>114.46342037981039</c:v>
                </c:pt>
                <c:pt idx="4">
                  <c:v>112.22395857448586</c:v>
                </c:pt>
                <c:pt idx="5">
                  <c:v>110.08485705775006</c:v>
                </c:pt>
                <c:pt idx="6">
                  <c:v>108.03960255386684</c:v>
                </c:pt>
                <c:pt idx="7">
                  <c:v>106.08218002300089</c:v>
                </c:pt>
                <c:pt idx="8">
                  <c:v>104.20703270797638</c:v>
                </c:pt>
                <c:pt idx="9">
                  <c:v>103.57906463949182</c:v>
                </c:pt>
                <c:pt idx="10">
                  <c:v>102.96042231636355</c:v>
                </c:pt>
                <c:pt idx="11">
                  <c:v>102.35089745369964</c:v>
                </c:pt>
                <c:pt idx="12">
                  <c:v>101.75028738528466</c:v>
                </c:pt>
                <c:pt idx="13">
                  <c:v>101.15839489190739</c:v>
                </c:pt>
                <c:pt idx="14">
                  <c:v>100.5750280356642</c:v>
                </c:pt>
                <c:pt idx="15">
                  <c:v>100.0</c:v>
                </c:pt>
                <c:pt idx="16">
                  <c:v>99.4331289352423</c:v>
                </c:pt>
                <c:pt idx="17">
                  <c:v>98.87423780940871</c:v>
                </c:pt>
                <c:pt idx="18">
                  <c:v>98.32315426407871</c:v>
                </c:pt>
                <c:pt idx="19">
                  <c:v>97.77971047512433</c:v>
                </c:pt>
                <c:pt idx="20">
                  <c:v>97.24374301810364</c:v>
                </c:pt>
                <c:pt idx="21">
                  <c:v>96.71509273814263</c:v>
                </c:pt>
                <c:pt idx="22">
                  <c:v>96.1936046241261</c:v>
                </c:pt>
                <c:pt idx="23">
                  <c:v>95.6791276870325</c:v>
                </c:pt>
                <c:pt idx="24">
                  <c:v>95.1715148422524</c:v>
                </c:pt>
                <c:pt idx="25">
                  <c:v>94.6706227957454</c:v>
                </c:pt>
                <c:pt idx="26">
                  <c:v>94.32513855281786</c:v>
                </c:pt>
                <c:pt idx="27">
                  <c:v>93.98194485299925</c:v>
                </c:pt>
                <c:pt idx="28">
                  <c:v>93.64101842712644</c:v>
                </c:pt>
                <c:pt idx="29">
                  <c:v>93.30233633161829</c:v>
                </c:pt>
                <c:pt idx="30">
                  <c:v>92.96587594266734</c:v>
                </c:pt>
                <c:pt idx="31">
                  <c:v>92.63161495055361</c:v>
                </c:pt>
                <c:pt idx="32">
                  <c:v>92.29953135408327</c:v>
                </c:pt>
                <c:pt idx="33">
                  <c:v>91.96960345514599</c:v>
                </c:pt>
                <c:pt idx="34">
                  <c:v>91.64180985338342</c:v>
                </c:pt>
                <c:pt idx="35">
                  <c:v>91.3161294409774</c:v>
                </c:pt>
                <c:pt idx="36">
                  <c:v>90.99254139754387</c:v>
                </c:pt>
                <c:pt idx="37">
                  <c:v>90.67102518513582</c:v>
                </c:pt>
                <c:pt idx="38">
                  <c:v>90.35156054335114</c:v>
                </c:pt>
                <c:pt idx="39">
                  <c:v>90.03412748454296</c:v>
                </c:pt>
                <c:pt idx="40">
                  <c:v>89.71870628913035</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42</c:f>
              <c:strCache>
                <c:ptCount val="41"/>
                <c:pt idx="0">
                  <c:v>16.97</c:v>
                </c:pt>
                <c:pt idx="1">
                  <c:v>17.17</c:v>
                </c:pt>
                <c:pt idx="2">
                  <c:v>17.37</c:v>
                </c:pt>
                <c:pt idx="3">
                  <c:v>17.57</c:v>
                </c:pt>
                <c:pt idx="4">
                  <c:v>17.77</c:v>
                </c:pt>
                <c:pt idx="5">
                  <c:v>17.97</c:v>
                </c:pt>
                <c:pt idx="6">
                  <c:v>18.17</c:v>
                </c:pt>
                <c:pt idx="7">
                  <c:v>18.37</c:v>
                </c:pt>
                <c:pt idx="8">
                  <c:v>18.57</c:v>
                </c:pt>
                <c:pt idx="9">
                  <c:v>18.77</c:v>
                </c:pt>
                <c:pt idx="10">
                  <c:v>18.97</c:v>
                </c:pt>
                <c:pt idx="11">
                  <c:v>19.17</c:v>
                </c:pt>
                <c:pt idx="12">
                  <c:v>19.37</c:v>
                </c:pt>
                <c:pt idx="13">
                  <c:v>19.57</c:v>
                </c:pt>
                <c:pt idx="14">
                  <c:v>19.77</c:v>
                </c:pt>
                <c:pt idx="15">
                  <c:v>19.97</c:v>
                </c:pt>
                <c:pt idx="16">
                  <c:v>20.17</c:v>
                </c:pt>
                <c:pt idx="17">
                  <c:v>20.37</c:v>
                </c:pt>
                <c:pt idx="18">
                  <c:v>20.57</c:v>
                </c:pt>
                <c:pt idx="19">
                  <c:v>20.77</c:v>
                </c:pt>
                <c:pt idx="20">
                  <c:v>20.97</c:v>
                </c:pt>
                <c:pt idx="21">
                  <c:v>21.17</c:v>
                </c:pt>
                <c:pt idx="22">
                  <c:v>21.37</c:v>
                </c:pt>
                <c:pt idx="23">
                  <c:v>21.57</c:v>
                </c:pt>
                <c:pt idx="24">
                  <c:v>21.77</c:v>
                </c:pt>
                <c:pt idx="25">
                  <c:v>21.97</c:v>
                </c:pt>
                <c:pt idx="26">
                  <c:v>22.17</c:v>
                </c:pt>
                <c:pt idx="27">
                  <c:v>22.37</c:v>
                </c:pt>
                <c:pt idx="28">
                  <c:v>22.57</c:v>
                </c:pt>
                <c:pt idx="29">
                  <c:v>22.77</c:v>
                </c:pt>
                <c:pt idx="30">
                  <c:v>22.97</c:v>
                </c:pt>
                <c:pt idx="31">
                  <c:v>23.17</c:v>
                </c:pt>
                <c:pt idx="32">
                  <c:v>23.37</c:v>
                </c:pt>
                <c:pt idx="33">
                  <c:v>23.57</c:v>
                </c:pt>
                <c:pt idx="34">
                  <c:v>23.77</c:v>
                </c:pt>
                <c:pt idx="35">
                  <c:v>23.97</c:v>
                </c:pt>
                <c:pt idx="36">
                  <c:v>24.17</c:v>
                </c:pt>
                <c:pt idx="37">
                  <c:v>24.37</c:v>
                </c:pt>
                <c:pt idx="38">
                  <c:v>24.57</c:v>
                </c:pt>
                <c:pt idx="39">
                  <c:v>24.77</c:v>
                </c:pt>
                <c:pt idx="40">
                  <c:v>24.97</c:v>
                </c:pt>
              </c:strCache>
            </c:strRef>
          </c:cat>
          <c:val>
            <c:numRef>
              <c:f>Sheet1!$C$2:$C$42</c:f>
              <c:numCache>
                <c:formatCode>General</c:formatCode>
                <c:ptCount val="41"/>
                <c:pt idx="0">
                  <c:v>103.68494675657854</c:v>
                </c:pt>
                <c:pt idx="1">
                  <c:v>102.67933945600929</c:v>
                </c:pt>
                <c:pt idx="2">
                  <c:v>101.7291412040737</c:v>
                </c:pt>
                <c:pt idx="3">
                  <c:v>100.83078502871503</c:v>
                </c:pt>
                <c:pt idx="4">
                  <c:v>99.9809380496892</c:v>
                </c:pt>
                <c:pt idx="5">
                  <c:v>99.17648896787375</c:v>
                </c:pt>
                <c:pt idx="6">
                  <c:v>98.41453552191062</c:v>
                </c:pt>
                <c:pt idx="7">
                  <c:v>97.69237207783726</c:v>
                </c:pt>
                <c:pt idx="8">
                  <c:v>97.00747748440774</c:v>
                </c:pt>
                <c:pt idx="9">
                  <c:v>97.4456833282906</c:v>
                </c:pt>
                <c:pt idx="10">
                  <c:v>97.88019198551969</c:v>
                </c:pt>
                <c:pt idx="11">
                  <c:v>98.31108410751163</c:v>
                </c:pt>
                <c:pt idx="12">
                  <c:v>98.73843741176961</c:v>
                </c:pt>
                <c:pt idx="13">
                  <c:v>99.1623267984489</c:v>
                </c:pt>
                <c:pt idx="14">
                  <c:v>99.5828244622733</c:v>
                </c:pt>
                <c:pt idx="15">
                  <c:v>100.0</c:v>
                </c:pt>
                <c:pt idx="16">
                  <c:v>100.41392051360249</c:v>
                </c:pt>
                <c:pt idx="17">
                  <c:v>100.82465070934823</c:v>
                </c:pt>
                <c:pt idx="18">
                  <c:v>101.23225299293861</c:v>
                </c:pt>
                <c:pt idx="19">
                  <c:v>101.63678756086492</c:v>
                </c:pt>
                <c:pt idx="20">
                  <c:v>102.03831248812696</c:v>
                </c:pt>
                <c:pt idx="21">
                  <c:v>102.43688381246807</c:v>
                </c:pt>
                <c:pt idx="22">
                  <c:v>102.8325556152586</c:v>
                </c:pt>
                <c:pt idx="23">
                  <c:v>103.2253800991617</c:v>
                </c:pt>
                <c:pt idx="24">
                  <c:v>103.6154076627072</c:v>
                </c:pt>
                <c:pt idx="25">
                  <c:v>104.00268697189993</c:v>
                </c:pt>
                <c:pt idx="26">
                  <c:v>104.55019180151072</c:v>
                </c:pt>
                <c:pt idx="27">
                  <c:v>105.09329903180694</c:v>
                </c:pt>
                <c:pt idx="28">
                  <c:v>105.63205382814623</c:v>
                </c:pt>
                <c:pt idx="29">
                  <c:v>106.16650073053981</c:v>
                </c:pt>
                <c:pt idx="30">
                  <c:v>106.69668366482883</c:v>
                </c:pt>
                <c:pt idx="31">
                  <c:v>107.22264595360957</c:v>
                </c:pt>
                <c:pt idx="32">
                  <c:v>107.74443032692491</c:v>
                </c:pt>
                <c:pt idx="33">
                  <c:v>108.26207893272215</c:v>
                </c:pt>
                <c:pt idx="34">
                  <c:v>108.77563334707871</c:v>
                </c:pt>
                <c:pt idx="35">
                  <c:v>109.28513458421476</c:v>
                </c:pt>
                <c:pt idx="36">
                  <c:v>109.79062310628494</c:v>
                </c:pt>
                <c:pt idx="37">
                  <c:v>110.29213883296205</c:v>
                </c:pt>
                <c:pt idx="38">
                  <c:v>110.78972115081649</c:v>
                </c:pt>
                <c:pt idx="39">
                  <c:v>111.28340892249547</c:v>
                </c:pt>
                <c:pt idx="40">
                  <c:v>111.77324049570976</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42</c:f>
              <c:strCache>
                <c:ptCount val="41"/>
                <c:pt idx="0">
                  <c:v>16.97</c:v>
                </c:pt>
                <c:pt idx="1">
                  <c:v>17.17</c:v>
                </c:pt>
                <c:pt idx="2">
                  <c:v>17.37</c:v>
                </c:pt>
                <c:pt idx="3">
                  <c:v>17.57</c:v>
                </c:pt>
                <c:pt idx="4">
                  <c:v>17.77</c:v>
                </c:pt>
                <c:pt idx="5">
                  <c:v>17.97</c:v>
                </c:pt>
                <c:pt idx="6">
                  <c:v>18.17</c:v>
                </c:pt>
                <c:pt idx="7">
                  <c:v>18.37</c:v>
                </c:pt>
                <c:pt idx="8">
                  <c:v>18.57</c:v>
                </c:pt>
                <c:pt idx="9">
                  <c:v>18.77</c:v>
                </c:pt>
                <c:pt idx="10">
                  <c:v>18.97</c:v>
                </c:pt>
                <c:pt idx="11">
                  <c:v>19.17</c:v>
                </c:pt>
                <c:pt idx="12">
                  <c:v>19.37</c:v>
                </c:pt>
                <c:pt idx="13">
                  <c:v>19.57</c:v>
                </c:pt>
                <c:pt idx="14">
                  <c:v>19.77</c:v>
                </c:pt>
                <c:pt idx="15">
                  <c:v>19.97</c:v>
                </c:pt>
                <c:pt idx="16">
                  <c:v>20.17</c:v>
                </c:pt>
                <c:pt idx="17">
                  <c:v>20.37</c:v>
                </c:pt>
                <c:pt idx="18">
                  <c:v>20.57</c:v>
                </c:pt>
                <c:pt idx="19">
                  <c:v>20.77</c:v>
                </c:pt>
                <c:pt idx="20">
                  <c:v>20.97</c:v>
                </c:pt>
                <c:pt idx="21">
                  <c:v>21.17</c:v>
                </c:pt>
                <c:pt idx="22">
                  <c:v>21.37</c:v>
                </c:pt>
                <c:pt idx="23">
                  <c:v>21.57</c:v>
                </c:pt>
                <c:pt idx="24">
                  <c:v>21.77</c:v>
                </c:pt>
                <c:pt idx="25">
                  <c:v>21.97</c:v>
                </c:pt>
                <c:pt idx="26">
                  <c:v>22.17</c:v>
                </c:pt>
                <c:pt idx="27">
                  <c:v>22.37</c:v>
                </c:pt>
                <c:pt idx="28">
                  <c:v>22.57</c:v>
                </c:pt>
                <c:pt idx="29">
                  <c:v>22.77</c:v>
                </c:pt>
                <c:pt idx="30">
                  <c:v>22.97</c:v>
                </c:pt>
                <c:pt idx="31">
                  <c:v>23.17</c:v>
                </c:pt>
                <c:pt idx="32">
                  <c:v>23.37</c:v>
                </c:pt>
                <c:pt idx="33">
                  <c:v>23.57</c:v>
                </c:pt>
                <c:pt idx="34">
                  <c:v>23.77</c:v>
                </c:pt>
                <c:pt idx="35">
                  <c:v>23.97</c:v>
                </c:pt>
                <c:pt idx="36">
                  <c:v>24.17</c:v>
                </c:pt>
                <c:pt idx="37">
                  <c:v>24.37</c:v>
                </c:pt>
                <c:pt idx="38">
                  <c:v>24.57</c:v>
                </c:pt>
                <c:pt idx="39">
                  <c:v>24.77</c:v>
                </c:pt>
                <c:pt idx="40">
                  <c:v>24.97</c:v>
                </c:pt>
              </c:strCache>
            </c:strRef>
          </c:cat>
          <c:val>
            <c:numRef>
              <c:f>Sheet1!$D$2:$D$42</c:f>
              <c:numCache>
                <c:formatCode>General</c:formatCode>
                <c:ptCount val="41"/>
                <c:pt idx="0">
                  <c:v>95.71232250364848</c:v>
                </c:pt>
                <c:pt idx="1">
                  <c:v>95.38776964122427</c:v>
                </c:pt>
                <c:pt idx="2">
                  <c:v>95.08966062758128</c:v>
                </c:pt>
                <c:pt idx="3">
                  <c:v>94.8164301097877</c:v>
                </c:pt>
                <c:pt idx="4">
                  <c:v>94.56657571550325</c:v>
                </c:pt>
                <c:pt idx="5">
                  <c:v>94.3386612548044</c:v>
                </c:pt>
                <c:pt idx="6">
                  <c:v>94.13131849392704</c:v>
                </c:pt>
                <c:pt idx="7">
                  <c:v>93.94324776662901</c:v>
                </c:pt>
                <c:pt idx="8">
                  <c:v>93.77321765435751</c:v>
                </c:pt>
                <c:pt idx="9">
                  <c:v>94.68968815398404</c:v>
                </c:pt>
                <c:pt idx="10">
                  <c:v>95.59685291600117</c:v>
                </c:pt>
                <c:pt idx="11">
                  <c:v>96.4949157501754</c:v>
                </c:pt>
                <c:pt idx="12">
                  <c:v>97.38407392687726</c:v>
                </c:pt>
                <c:pt idx="13">
                  <c:v>98.26451841215864</c:v>
                </c:pt>
                <c:pt idx="14">
                  <c:v>99.13643409398748</c:v>
                </c:pt>
                <c:pt idx="15">
                  <c:v>100.0</c:v>
                </c:pt>
                <c:pt idx="16">
                  <c:v>100.85538950709608</c:v>
                </c:pt>
                <c:pt idx="17">
                  <c:v>101.70277054320198</c:v>
                </c:pt>
                <c:pt idx="18">
                  <c:v>102.54230578151197</c:v>
                </c:pt>
                <c:pt idx="19">
                  <c:v>103.37415282749609</c:v>
                </c:pt>
                <c:pt idx="20">
                  <c:v>104.19846439895232</c:v>
                </c:pt>
                <c:pt idx="21">
                  <c:v>105.01538849938044</c:v>
                </c:pt>
                <c:pt idx="22">
                  <c:v>105.82506858492886</c:v>
                </c:pt>
                <c:pt idx="23">
                  <c:v>106.62764372516271</c:v>
                </c:pt>
                <c:pt idx="24">
                  <c:v>107.42324875788636</c:v>
                </c:pt>
                <c:pt idx="25">
                  <c:v>108.21201443825457</c:v>
                </c:pt>
                <c:pt idx="26">
                  <c:v>109.16631066802391</c:v>
                </c:pt>
                <c:pt idx="27">
                  <c:v>110.11340720103834</c:v>
                </c:pt>
                <c:pt idx="28">
                  <c:v>111.05337473093182</c:v>
                </c:pt>
                <c:pt idx="29">
                  <c:v>111.98628301077824</c:v>
                </c:pt>
                <c:pt idx="30">
                  <c:v>112.91220086932373</c:v>
                </c:pt>
                <c:pt idx="31">
                  <c:v>113.83119622686768</c:v>
                </c:pt>
                <c:pt idx="32">
                  <c:v>114.74333611081258</c:v>
                </c:pt>
                <c:pt idx="33">
                  <c:v>115.64868667088517</c:v>
                </c:pt>
                <c:pt idx="34">
                  <c:v>116.54731319403207</c:v>
                </c:pt>
                <c:pt idx="35">
                  <c:v>117.43928011901225</c:v>
                </c:pt>
                <c:pt idx="36">
                  <c:v>118.32465105067851</c:v>
                </c:pt>
                <c:pt idx="37">
                  <c:v>119.20348877396516</c:v>
                </c:pt>
                <c:pt idx="38">
                  <c:v>120.07585526758595</c:v>
                </c:pt>
                <c:pt idx="39">
                  <c:v>120.94181171744944</c:v>
                </c:pt>
                <c:pt idx="40">
                  <c:v>121.80141852980017</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42</c:f>
              <c:strCache>
                <c:ptCount val="41"/>
                <c:pt idx="0">
                  <c:v>16.97</c:v>
                </c:pt>
                <c:pt idx="1">
                  <c:v>17.17</c:v>
                </c:pt>
                <c:pt idx="2">
                  <c:v>17.37</c:v>
                </c:pt>
                <c:pt idx="3">
                  <c:v>17.57</c:v>
                </c:pt>
                <c:pt idx="4">
                  <c:v>17.77</c:v>
                </c:pt>
                <c:pt idx="5">
                  <c:v>17.97</c:v>
                </c:pt>
                <c:pt idx="6">
                  <c:v>18.17</c:v>
                </c:pt>
                <c:pt idx="7">
                  <c:v>18.37</c:v>
                </c:pt>
                <c:pt idx="8">
                  <c:v>18.57</c:v>
                </c:pt>
                <c:pt idx="9">
                  <c:v>18.77</c:v>
                </c:pt>
                <c:pt idx="10">
                  <c:v>18.97</c:v>
                </c:pt>
                <c:pt idx="11">
                  <c:v>19.17</c:v>
                </c:pt>
                <c:pt idx="12">
                  <c:v>19.37</c:v>
                </c:pt>
                <c:pt idx="13">
                  <c:v>19.57</c:v>
                </c:pt>
                <c:pt idx="14">
                  <c:v>19.77</c:v>
                </c:pt>
                <c:pt idx="15">
                  <c:v>19.97</c:v>
                </c:pt>
                <c:pt idx="16">
                  <c:v>20.17</c:v>
                </c:pt>
                <c:pt idx="17">
                  <c:v>20.37</c:v>
                </c:pt>
                <c:pt idx="18">
                  <c:v>20.57</c:v>
                </c:pt>
                <c:pt idx="19">
                  <c:v>20.77</c:v>
                </c:pt>
                <c:pt idx="20">
                  <c:v>20.97</c:v>
                </c:pt>
                <c:pt idx="21">
                  <c:v>21.17</c:v>
                </c:pt>
                <c:pt idx="22">
                  <c:v>21.37</c:v>
                </c:pt>
                <c:pt idx="23">
                  <c:v>21.57</c:v>
                </c:pt>
                <c:pt idx="24">
                  <c:v>21.77</c:v>
                </c:pt>
                <c:pt idx="25">
                  <c:v>21.97</c:v>
                </c:pt>
                <c:pt idx="26">
                  <c:v>22.17</c:v>
                </c:pt>
                <c:pt idx="27">
                  <c:v>22.37</c:v>
                </c:pt>
                <c:pt idx="28">
                  <c:v>22.57</c:v>
                </c:pt>
                <c:pt idx="29">
                  <c:v>22.77</c:v>
                </c:pt>
                <c:pt idx="30">
                  <c:v>22.97</c:v>
                </c:pt>
                <c:pt idx="31">
                  <c:v>23.17</c:v>
                </c:pt>
                <c:pt idx="32">
                  <c:v>23.37</c:v>
                </c:pt>
                <c:pt idx="33">
                  <c:v>23.57</c:v>
                </c:pt>
                <c:pt idx="34">
                  <c:v>23.77</c:v>
                </c:pt>
                <c:pt idx="35">
                  <c:v>23.97</c:v>
                </c:pt>
                <c:pt idx="36">
                  <c:v>24.17</c:v>
                </c:pt>
                <c:pt idx="37">
                  <c:v>24.37</c:v>
                </c:pt>
                <c:pt idx="38">
                  <c:v>24.57</c:v>
                </c:pt>
                <c:pt idx="39">
                  <c:v>24.77</c:v>
                </c:pt>
                <c:pt idx="40">
                  <c:v>24.97</c:v>
                </c:pt>
              </c:strCache>
            </c:strRef>
          </c:cat>
          <c:val>
            <c:numRef>
              <c:f>Sheet1!$E$2:$E$42</c:f>
              <c:numCache>
                <c:formatCode>General</c:formatCode>
                <c:ptCount val="41"/>
                <c:pt idx="0">
                  <c:v>0.6471659827182675</c:v>
                </c:pt>
                <c:pt idx="1">
                  <c:v>0.6512758722614443</c:v>
                </c:pt>
                <c:pt idx="2">
                  <c:v>0.6552911184069659</c:v>
                </c:pt>
                <c:pt idx="3">
                  <c:v>0.6592149531433693</c:v>
                </c:pt>
                <c:pt idx="4">
                  <c:v>0.6630504629560494</c:v>
                </c:pt>
                <c:pt idx="5">
                  <c:v>0.6668005969242625</c:v>
                </c:pt>
                <c:pt idx="6">
                  <c:v>0.670468174283379</c:v>
                </c:pt>
                <c:pt idx="7">
                  <c:v>0.6740558914931409</c:v>
                </c:pt>
                <c:pt idx="8">
                  <c:v>0.6775663288491652</c:v>
                </c:pt>
                <c:pt idx="9">
                  <c:v>0.6810019566717632</c:v>
                </c:pt>
                <c:pt idx="10">
                  <c:v>0.6843651411032683</c:v>
                </c:pt>
                <c:pt idx="11">
                  <c:v>0.6876581495424622</c:v>
                </c:pt>
                <c:pt idx="12">
                  <c:v>0.6908831557423334</c:v>
                </c:pt>
                <c:pt idx="13">
                  <c:v>0.6940422445952478</c:v>
                </c:pt>
                <c:pt idx="14">
                  <c:v>0.6971374166276681</c:v>
                </c:pt>
                <c:pt idx="15">
                  <c:v>0.7001705922247871</c:v>
                </c:pt>
                <c:pt idx="16">
                  <c:v>0.7031436156038176</c:v>
                </c:pt>
                <c:pt idx="17">
                  <c:v>0.7060582585532155</c:v>
                </c:pt>
                <c:pt idx="18">
                  <c:v>0.7089162239537676</c:v>
                </c:pt>
                <c:pt idx="19">
                  <c:v>0.7117191490962446</c:v>
                </c:pt>
                <c:pt idx="20">
                  <c:v>0.7144686088092037</c:v>
                </c:pt>
                <c:pt idx="21">
                  <c:v>0.7171661184094945</c:v>
                </c:pt>
                <c:pt idx="22">
                  <c:v>0.7198131364870847</c:v>
                </c:pt>
                <c:pt idx="23">
                  <c:v>0.7224110675349559</c:v>
                </c:pt>
                <c:pt idx="24">
                  <c:v>0.7249612644340376</c:v>
                </c:pt>
                <c:pt idx="25">
                  <c:v>0.7274650308024123</c:v>
                </c:pt>
                <c:pt idx="26">
                  <c:v>0.7299236232173657</c:v>
                </c:pt>
                <c:pt idx="27">
                  <c:v>0.7323382533182385</c:v>
                </c:pt>
                <c:pt idx="28">
                  <c:v>0.7347100897974744</c:v>
                </c:pt>
                <c:pt idx="29">
                  <c:v>0.737040260286737</c:v>
                </c:pt>
                <c:pt idx="30">
                  <c:v>0.7393298531444927</c:v>
                </c:pt>
                <c:pt idx="31">
                  <c:v>0.7415799191510142</c:v>
                </c:pt>
                <c:pt idx="32">
                  <c:v>0.7437914731163456</c:v>
                </c:pt>
                <c:pt idx="33">
                  <c:v>0.7459654954064064</c:v>
                </c:pt>
                <c:pt idx="34">
                  <c:v>0.7481029333920487</c:v>
                </c:pt>
                <c:pt idx="35">
                  <c:v>0.7502047028255735</c:v>
                </c:pt>
                <c:pt idx="36">
                  <c:v>0.7522716891489034</c:v>
                </c:pt>
                <c:pt idx="37">
                  <c:v>0.754304748737341</c:v>
                </c:pt>
                <c:pt idx="38">
                  <c:v>0.7563047100825804</c:v>
                </c:pt>
                <c:pt idx="39">
                  <c:v>0.7582723749184093</c:v>
                </c:pt>
                <c:pt idx="40">
                  <c:v>0.7602085192923108</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70.0"/>
          <c:max val="15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5</c:f>
              <c:strCache>
                <c:ptCount val="14"/>
                <c:pt idx="0">
                  <c:v>5.47</c:v>
                </c:pt>
                <c:pt idx="1">
                  <c:v>5.67</c:v>
                </c:pt>
                <c:pt idx="2">
                  <c:v>5.87</c:v>
                </c:pt>
                <c:pt idx="3">
                  <c:v>6.07</c:v>
                </c:pt>
                <c:pt idx="4">
                  <c:v>6.27</c:v>
                </c:pt>
                <c:pt idx="5">
                  <c:v>6.47</c:v>
                </c:pt>
                <c:pt idx="6">
                  <c:v>6.67</c:v>
                </c:pt>
                <c:pt idx="7">
                  <c:v>6.87</c:v>
                </c:pt>
                <c:pt idx="8">
                  <c:v>7.07</c:v>
                </c:pt>
                <c:pt idx="9">
                  <c:v>7.27</c:v>
                </c:pt>
                <c:pt idx="10">
                  <c:v>7.47</c:v>
                </c:pt>
                <c:pt idx="11">
                  <c:v>7.67</c:v>
                </c:pt>
                <c:pt idx="12">
                  <c:v>7.87</c:v>
                </c:pt>
                <c:pt idx="13">
                  <c:v>8.07</c:v>
                </c:pt>
              </c:strCache>
            </c:strRef>
          </c:cat>
          <c:val>
            <c:numRef>
              <c:f>Sheet1!$B$2:$B$15</c:f>
              <c:numCache>
                <c:formatCode>General</c:formatCode>
                <c:ptCount val="14"/>
                <c:pt idx="0">
                  <c:v>111.23783180930519</c:v>
                </c:pt>
                <c:pt idx="1">
                  <c:v>108.70585035906866</c:v>
                </c:pt>
                <c:pt idx="2">
                  <c:v>106.33080649314759</c:v>
                </c:pt>
                <c:pt idx="3">
                  <c:v>104.09737694490416</c:v>
                </c:pt>
                <c:pt idx="4">
                  <c:v>101.99139378866342</c:v>
                </c:pt>
                <c:pt idx="5">
                  <c:v>100.0</c:v>
                </c:pt>
                <c:pt idx="6">
                  <c:v>93.50239532586303</c:v>
                </c:pt>
                <c:pt idx="7">
                  <c:v>87.92716005464143</c:v>
                </c:pt>
                <c:pt idx="8">
                  <c:v>83.09559431190556</c:v>
                </c:pt>
                <c:pt idx="9">
                  <c:v>79.09724338810132</c:v>
                </c:pt>
                <c:pt idx="10">
                  <c:v>75.35247453029524</c:v>
                </c:pt>
                <c:pt idx="11">
                  <c:v>71.84781839832279</c:v>
                </c:pt>
                <c:pt idx="12">
                  <c:v>68.56939388226509</c:v>
                </c:pt>
                <c:pt idx="13">
                  <c:v>65.5031113429682</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5</c:f>
              <c:strCache>
                <c:ptCount val="14"/>
                <c:pt idx="0">
                  <c:v>5.47</c:v>
                </c:pt>
                <c:pt idx="1">
                  <c:v>5.67</c:v>
                </c:pt>
                <c:pt idx="2">
                  <c:v>5.87</c:v>
                </c:pt>
                <c:pt idx="3">
                  <c:v>6.07</c:v>
                </c:pt>
                <c:pt idx="4">
                  <c:v>6.27</c:v>
                </c:pt>
                <c:pt idx="5">
                  <c:v>6.47</c:v>
                </c:pt>
                <c:pt idx="6">
                  <c:v>6.67</c:v>
                </c:pt>
                <c:pt idx="7">
                  <c:v>6.87</c:v>
                </c:pt>
                <c:pt idx="8">
                  <c:v>7.07</c:v>
                </c:pt>
                <c:pt idx="9">
                  <c:v>7.27</c:v>
                </c:pt>
                <c:pt idx="10">
                  <c:v>7.47</c:v>
                </c:pt>
                <c:pt idx="11">
                  <c:v>7.67</c:v>
                </c:pt>
                <c:pt idx="12">
                  <c:v>7.87</c:v>
                </c:pt>
                <c:pt idx="13">
                  <c:v>8.07</c:v>
                </c:pt>
              </c:strCache>
            </c:strRef>
          </c:cat>
          <c:val>
            <c:numRef>
              <c:f>Sheet1!$C$2:$C$15</c:f>
              <c:numCache>
                <c:formatCode>General</c:formatCode>
                <c:ptCount val="14"/>
                <c:pt idx="0">
                  <c:v>94.38098480158908</c:v>
                </c:pt>
                <c:pt idx="1">
                  <c:v>95.5320594695196</c:v>
                </c:pt>
                <c:pt idx="2">
                  <c:v>96.66974479336969</c:v>
                </c:pt>
                <c:pt idx="3">
                  <c:v>97.79413964905999</c:v>
                </c:pt>
                <c:pt idx="4">
                  <c:v>98.90458542372235</c:v>
                </c:pt>
                <c:pt idx="5">
                  <c:v>100.0</c:v>
                </c:pt>
                <c:pt idx="6">
                  <c:v>96.34027839466697</c:v>
                </c:pt>
                <c:pt idx="7">
                  <c:v>93.26483258440568</c:v>
                </c:pt>
                <c:pt idx="8">
                  <c:v>90.6625221381897</c:v>
                </c:pt>
                <c:pt idx="9">
                  <c:v>88.69408344793807</c:v>
                </c:pt>
                <c:pt idx="10">
                  <c:v>86.7768968983866</c:v>
                </c:pt>
                <c:pt idx="11">
                  <c:v>84.91785062434059</c:v>
                </c:pt>
                <c:pt idx="12">
                  <c:v>83.12172474819415</c:v>
                </c:pt>
                <c:pt idx="13">
                  <c:v>81.39138358883862</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5</c:f>
              <c:strCache>
                <c:ptCount val="14"/>
                <c:pt idx="0">
                  <c:v>5.47</c:v>
                </c:pt>
                <c:pt idx="1">
                  <c:v>5.67</c:v>
                </c:pt>
                <c:pt idx="2">
                  <c:v>5.87</c:v>
                </c:pt>
                <c:pt idx="3">
                  <c:v>6.07</c:v>
                </c:pt>
                <c:pt idx="4">
                  <c:v>6.27</c:v>
                </c:pt>
                <c:pt idx="5">
                  <c:v>6.47</c:v>
                </c:pt>
                <c:pt idx="6">
                  <c:v>6.67</c:v>
                </c:pt>
                <c:pt idx="7">
                  <c:v>6.87</c:v>
                </c:pt>
                <c:pt idx="8">
                  <c:v>7.07</c:v>
                </c:pt>
                <c:pt idx="9">
                  <c:v>7.27</c:v>
                </c:pt>
                <c:pt idx="10">
                  <c:v>7.47</c:v>
                </c:pt>
                <c:pt idx="11">
                  <c:v>7.67</c:v>
                </c:pt>
                <c:pt idx="12">
                  <c:v>7.87</c:v>
                </c:pt>
                <c:pt idx="13">
                  <c:v>8.07</c:v>
                </c:pt>
              </c:strCache>
            </c:strRef>
          </c:cat>
          <c:val>
            <c:numRef>
              <c:f>Sheet1!$D$2:$D$15</c:f>
              <c:numCache>
                <c:formatCode>General</c:formatCode>
                <c:ptCount val="14"/>
                <c:pt idx="0">
                  <c:v>83.45495467682804</c:v>
                </c:pt>
                <c:pt idx="1">
                  <c:v>86.98546091972824</c:v>
                </c:pt>
                <c:pt idx="2">
                  <c:v>90.39643047657441</c:v>
                </c:pt>
                <c:pt idx="3">
                  <c:v>93.69758907981387</c:v>
                </c:pt>
                <c:pt idx="4">
                  <c:v>96.89669836695076</c:v>
                </c:pt>
                <c:pt idx="5">
                  <c:v>100.0</c:v>
                </c:pt>
                <c:pt idx="6">
                  <c:v>98.17304652191311</c:v>
                </c:pt>
                <c:pt idx="7">
                  <c:v>96.71147181143134</c:v>
                </c:pt>
                <c:pt idx="8">
                  <c:v>95.54801980133178</c:v>
                </c:pt>
                <c:pt idx="9">
                  <c:v>94.9015715295308</c:v>
                </c:pt>
                <c:pt idx="10">
                  <c:v>94.17258732332591</c:v>
                </c:pt>
                <c:pt idx="11">
                  <c:v>93.38156185588072</c:v>
                </c:pt>
                <c:pt idx="12">
                  <c:v>92.54574275576087</c:v>
                </c:pt>
                <c:pt idx="13">
                  <c:v>91.67931222191295</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5</c:f>
              <c:strCache>
                <c:ptCount val="14"/>
                <c:pt idx="0">
                  <c:v>5.47</c:v>
                </c:pt>
                <c:pt idx="1">
                  <c:v>5.67</c:v>
                </c:pt>
                <c:pt idx="2">
                  <c:v>5.87</c:v>
                </c:pt>
                <c:pt idx="3">
                  <c:v>6.07</c:v>
                </c:pt>
                <c:pt idx="4">
                  <c:v>6.27</c:v>
                </c:pt>
                <c:pt idx="5">
                  <c:v>6.47</c:v>
                </c:pt>
                <c:pt idx="6">
                  <c:v>6.67</c:v>
                </c:pt>
                <c:pt idx="7">
                  <c:v>6.87</c:v>
                </c:pt>
                <c:pt idx="8">
                  <c:v>7.07</c:v>
                </c:pt>
                <c:pt idx="9">
                  <c:v>7.27</c:v>
                </c:pt>
                <c:pt idx="10">
                  <c:v>7.47</c:v>
                </c:pt>
                <c:pt idx="11">
                  <c:v>7.67</c:v>
                </c:pt>
                <c:pt idx="12">
                  <c:v>7.87</c:v>
                </c:pt>
                <c:pt idx="13">
                  <c:v>8.07</c:v>
                </c:pt>
              </c:strCache>
            </c:strRef>
          </c:cat>
          <c:val>
            <c:numRef>
              <c:f>Sheet1!$E$2:$E$15</c:f>
              <c:numCache>
                <c:formatCode>General</c:formatCode>
                <c:ptCount val="14"/>
                <c:pt idx="0">
                  <c:v>0.5491456920515222</c:v>
                </c:pt>
                <c:pt idx="1">
                  <c:v>0.5650488422437084</c:v>
                </c:pt>
                <c:pt idx="2">
                  <c:v>0.5798683024739058</c:v>
                </c:pt>
                <c:pt idx="3">
                  <c:v>0.5937111920134805</c:v>
                </c:pt>
                <c:pt idx="4">
                  <c:v>0.6066709626031622</c:v>
                </c:pt>
                <c:pt idx="5">
                  <c:v>0.6188295108998187</c:v>
                </c:pt>
                <c:pt idx="6">
                  <c:v>0.6302589108728376</c:v>
                </c:pt>
                <c:pt idx="7">
                  <c:v>0.6410228435985192</c:v>
                </c:pt>
                <c:pt idx="8">
                  <c:v>0.6511777843736671</c:v>
                </c:pt>
                <c:pt idx="9">
                  <c:v>0.660773993881957</c:v>
                </c:pt>
                <c:pt idx="10">
                  <c:v>0.6698563501367907</c:v>
                </c:pt>
                <c:pt idx="11">
                  <c:v>0.6784650502636019</c:v>
                </c:pt>
                <c:pt idx="12">
                  <c:v>0.6866362052759628</c:v>
                </c:pt>
                <c:pt idx="13">
                  <c:v>0.6944023464091484</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13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2</c:f>
              <c:strCache>
                <c:ptCount val="21"/>
                <c:pt idx="0">
                  <c:v>9.37</c:v>
                </c:pt>
                <c:pt idx="1">
                  <c:v>9.57</c:v>
                </c:pt>
                <c:pt idx="2">
                  <c:v>9.77</c:v>
                </c:pt>
                <c:pt idx="3">
                  <c:v>9.97</c:v>
                </c:pt>
                <c:pt idx="4">
                  <c:v>10.17</c:v>
                </c:pt>
                <c:pt idx="5">
                  <c:v>10.37</c:v>
                </c:pt>
                <c:pt idx="6">
                  <c:v>10.57</c:v>
                </c:pt>
                <c:pt idx="7">
                  <c:v>10.77</c:v>
                </c:pt>
                <c:pt idx="8">
                  <c:v>10.97</c:v>
                </c:pt>
                <c:pt idx="9">
                  <c:v>11.17</c:v>
                </c:pt>
                <c:pt idx="10">
                  <c:v>11.37</c:v>
                </c:pt>
                <c:pt idx="11">
                  <c:v>11.57</c:v>
                </c:pt>
                <c:pt idx="12">
                  <c:v>11.77</c:v>
                </c:pt>
                <c:pt idx="13">
                  <c:v>11.97</c:v>
                </c:pt>
                <c:pt idx="14">
                  <c:v>12.17</c:v>
                </c:pt>
                <c:pt idx="15">
                  <c:v>12.37</c:v>
                </c:pt>
                <c:pt idx="16">
                  <c:v>12.57</c:v>
                </c:pt>
                <c:pt idx="17">
                  <c:v>12.77</c:v>
                </c:pt>
                <c:pt idx="18">
                  <c:v>12.97</c:v>
                </c:pt>
                <c:pt idx="19">
                  <c:v>13.17</c:v>
                </c:pt>
                <c:pt idx="20">
                  <c:v>13.37</c:v>
                </c:pt>
              </c:strCache>
            </c:strRef>
          </c:cat>
          <c:val>
            <c:numRef>
              <c:f>Sheet1!$B$2:$B$22</c:f>
              <c:numCache>
                <c:formatCode>General</c:formatCode>
                <c:ptCount val="21"/>
                <c:pt idx="0">
                  <c:v>126.12235848273308</c:v>
                </c:pt>
                <c:pt idx="1">
                  <c:v>124.04455994316407</c:v>
                </c:pt>
                <c:pt idx="2">
                  <c:v>122.03886933662571</c:v>
                </c:pt>
                <c:pt idx="3">
                  <c:v>120.10163011864314</c:v>
                </c:pt>
                <c:pt idx="4">
                  <c:v>114.97339890250547</c:v>
                </c:pt>
                <c:pt idx="5">
                  <c:v>110.50630199614045</c:v>
                </c:pt>
                <c:pt idx="6">
                  <c:v>106.58163163888896</c:v>
                </c:pt>
                <c:pt idx="7">
                  <c:v>103.1047226336965</c:v>
                </c:pt>
                <c:pt idx="8">
                  <c:v>100.0</c:v>
                </c:pt>
                <c:pt idx="9">
                  <c:v>97.96638370495226</c:v>
                </c:pt>
                <c:pt idx="10">
                  <c:v>96.03272279545597</c:v>
                </c:pt>
                <c:pt idx="11">
                  <c:v>94.19185014022077</c:v>
                </c:pt>
                <c:pt idx="12">
                  <c:v>92.43716026490102</c:v>
                </c:pt>
                <c:pt idx="13">
                  <c:v>90.76256904968525</c:v>
                </c:pt>
                <c:pt idx="14">
                  <c:v>89.16247565701016</c:v>
                </c:pt>
                <c:pt idx="15">
                  <c:v>87.63172658111598</c:v>
                </c:pt>
                <c:pt idx="16">
                  <c:v>86.1655817373649</c:v>
                </c:pt>
                <c:pt idx="17">
                  <c:v>83.76791913413636</c:v>
                </c:pt>
                <c:pt idx="18">
                  <c:v>81.50862204244888</c:v>
                </c:pt>
                <c:pt idx="19">
                  <c:v>79.37591997955607</c:v>
                </c:pt>
                <c:pt idx="20">
                  <c:v>77.35929228105896</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2</c:f>
              <c:strCache>
                <c:ptCount val="21"/>
                <c:pt idx="0">
                  <c:v>9.37</c:v>
                </c:pt>
                <c:pt idx="1">
                  <c:v>9.57</c:v>
                </c:pt>
                <c:pt idx="2">
                  <c:v>9.77</c:v>
                </c:pt>
                <c:pt idx="3">
                  <c:v>9.97</c:v>
                </c:pt>
                <c:pt idx="4">
                  <c:v>10.17</c:v>
                </c:pt>
                <c:pt idx="5">
                  <c:v>10.37</c:v>
                </c:pt>
                <c:pt idx="6">
                  <c:v>10.57</c:v>
                </c:pt>
                <c:pt idx="7">
                  <c:v>10.77</c:v>
                </c:pt>
                <c:pt idx="8">
                  <c:v>10.97</c:v>
                </c:pt>
                <c:pt idx="9">
                  <c:v>11.17</c:v>
                </c:pt>
                <c:pt idx="10">
                  <c:v>11.37</c:v>
                </c:pt>
                <c:pt idx="11">
                  <c:v>11.57</c:v>
                </c:pt>
                <c:pt idx="12">
                  <c:v>11.77</c:v>
                </c:pt>
                <c:pt idx="13">
                  <c:v>11.97</c:v>
                </c:pt>
                <c:pt idx="14">
                  <c:v>12.17</c:v>
                </c:pt>
                <c:pt idx="15">
                  <c:v>12.37</c:v>
                </c:pt>
                <c:pt idx="16">
                  <c:v>12.57</c:v>
                </c:pt>
                <c:pt idx="17">
                  <c:v>12.77</c:v>
                </c:pt>
                <c:pt idx="18">
                  <c:v>12.97</c:v>
                </c:pt>
                <c:pt idx="19">
                  <c:v>13.17</c:v>
                </c:pt>
                <c:pt idx="20">
                  <c:v>13.37</c:v>
                </c:pt>
              </c:strCache>
            </c:strRef>
          </c:cat>
          <c:val>
            <c:numRef>
              <c:f>Sheet1!$C$2:$C$22</c:f>
              <c:numCache>
                <c:formatCode>General</c:formatCode>
                <c:ptCount val="21"/>
                <c:pt idx="0">
                  <c:v>107.96718365421978</c:v>
                </c:pt>
                <c:pt idx="1">
                  <c:v>108.40853557924952</c:v>
                </c:pt>
                <c:pt idx="2">
                  <c:v>108.83928765233411</c:v>
                </c:pt>
                <c:pt idx="3">
                  <c:v>109.26002631290565</c:v>
                </c:pt>
                <c:pt idx="4">
                  <c:v>106.67345943031576</c:v>
                </c:pt>
                <c:pt idx="5">
                  <c:v>104.52520093647115</c:v>
                </c:pt>
                <c:pt idx="6">
                  <c:v>102.73702843169703</c:v>
                </c:pt>
                <c:pt idx="7">
                  <c:v>101.24566079618744</c:v>
                </c:pt>
                <c:pt idx="8">
                  <c:v>100.0</c:v>
                </c:pt>
                <c:pt idx="9">
                  <c:v>99.72454092978109</c:v>
                </c:pt>
                <c:pt idx="10">
                  <c:v>99.47950101740311</c:v>
                </c:pt>
                <c:pt idx="11">
                  <c:v>99.26270553255665</c:v>
                </c:pt>
                <c:pt idx="12">
                  <c:v>99.07206919317588</c:v>
                </c:pt>
                <c:pt idx="13">
                  <c:v>98.90560231704781</c:v>
                </c:pt>
                <c:pt idx="14">
                  <c:v>98.7614151420806</c:v>
                </c:pt>
                <c:pt idx="15">
                  <c:v>98.63772047057526</c:v>
                </c:pt>
                <c:pt idx="16">
                  <c:v>98.53283480737802</c:v>
                </c:pt>
                <c:pt idx="17">
                  <c:v>97.30108564531746</c:v>
                </c:pt>
                <c:pt idx="18">
                  <c:v>96.14617559570074</c:v>
                </c:pt>
                <c:pt idx="19">
                  <c:v>95.0614770550623</c:v>
                </c:pt>
                <c:pt idx="20">
                  <c:v>94.0410356835523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2</c:f>
              <c:strCache>
                <c:ptCount val="21"/>
                <c:pt idx="0">
                  <c:v>9.37</c:v>
                </c:pt>
                <c:pt idx="1">
                  <c:v>9.57</c:v>
                </c:pt>
                <c:pt idx="2">
                  <c:v>9.77</c:v>
                </c:pt>
                <c:pt idx="3">
                  <c:v>9.97</c:v>
                </c:pt>
                <c:pt idx="4">
                  <c:v>10.17</c:v>
                </c:pt>
                <c:pt idx="5">
                  <c:v>10.37</c:v>
                </c:pt>
                <c:pt idx="6">
                  <c:v>10.57</c:v>
                </c:pt>
                <c:pt idx="7">
                  <c:v>10.77</c:v>
                </c:pt>
                <c:pt idx="8">
                  <c:v>10.97</c:v>
                </c:pt>
                <c:pt idx="9">
                  <c:v>11.17</c:v>
                </c:pt>
                <c:pt idx="10">
                  <c:v>11.37</c:v>
                </c:pt>
                <c:pt idx="11">
                  <c:v>11.57</c:v>
                </c:pt>
                <c:pt idx="12">
                  <c:v>11.77</c:v>
                </c:pt>
                <c:pt idx="13">
                  <c:v>11.97</c:v>
                </c:pt>
                <c:pt idx="14">
                  <c:v>12.17</c:v>
                </c:pt>
                <c:pt idx="15">
                  <c:v>12.37</c:v>
                </c:pt>
                <c:pt idx="16">
                  <c:v>12.57</c:v>
                </c:pt>
                <c:pt idx="17">
                  <c:v>12.77</c:v>
                </c:pt>
                <c:pt idx="18">
                  <c:v>12.97</c:v>
                </c:pt>
                <c:pt idx="19">
                  <c:v>13.17</c:v>
                </c:pt>
                <c:pt idx="20">
                  <c:v>13.37</c:v>
                </c:pt>
              </c:strCache>
            </c:strRef>
          </c:cat>
          <c:val>
            <c:numRef>
              <c:f>Sheet1!$D$2:$D$22</c:f>
              <c:numCache>
                <c:formatCode>General</c:formatCode>
                <c:ptCount val="21"/>
                <c:pt idx="0">
                  <c:v>94.57001240402958</c:v>
                </c:pt>
                <c:pt idx="1">
                  <c:v>96.89108917760862</c:v>
                </c:pt>
                <c:pt idx="2">
                  <c:v>99.14079230242919</c:v>
                </c:pt>
                <c:pt idx="3">
                  <c:v>101.32280174659694</c:v>
                </c:pt>
                <c:pt idx="4">
                  <c:v>100.59180742396778</c:v>
                </c:pt>
                <c:pt idx="5">
                  <c:v>100.13918769220444</c:v>
                </c:pt>
                <c:pt idx="6">
                  <c:v>99.91568325440097</c:v>
                </c:pt>
                <c:pt idx="7">
                  <c:v>99.88047681992542</c:v>
                </c:pt>
                <c:pt idx="8">
                  <c:v>100.0</c:v>
                </c:pt>
                <c:pt idx="9">
                  <c:v>101.0299456299784</c:v>
                </c:pt>
                <c:pt idx="10">
                  <c:v>102.03890944819211</c:v>
                </c:pt>
                <c:pt idx="11">
                  <c:v>103.02842922452469</c:v>
                </c:pt>
                <c:pt idx="12">
                  <c:v>103.99977813177995</c:v>
                </c:pt>
                <c:pt idx="13">
                  <c:v>104.95400596112682</c:v>
                </c:pt>
                <c:pt idx="14">
                  <c:v>105.89197542418927</c:v>
                </c:pt>
                <c:pt idx="15">
                  <c:v>106.81439389797151</c:v>
                </c:pt>
                <c:pt idx="16">
                  <c:v>107.72184097447983</c:v>
                </c:pt>
                <c:pt idx="17">
                  <c:v>107.34390286482302</c:v>
                </c:pt>
                <c:pt idx="18">
                  <c:v>106.99764201103821</c:v>
                </c:pt>
                <c:pt idx="19">
                  <c:v>106.68021975244919</c:v>
                </c:pt>
                <c:pt idx="20">
                  <c:v>106.38904392643884</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2</c:f>
              <c:strCache>
                <c:ptCount val="21"/>
                <c:pt idx="0">
                  <c:v>9.37</c:v>
                </c:pt>
                <c:pt idx="1">
                  <c:v>9.57</c:v>
                </c:pt>
                <c:pt idx="2">
                  <c:v>9.77</c:v>
                </c:pt>
                <c:pt idx="3">
                  <c:v>9.97</c:v>
                </c:pt>
                <c:pt idx="4">
                  <c:v>10.17</c:v>
                </c:pt>
                <c:pt idx="5">
                  <c:v>10.37</c:v>
                </c:pt>
                <c:pt idx="6">
                  <c:v>10.57</c:v>
                </c:pt>
                <c:pt idx="7">
                  <c:v>10.77</c:v>
                </c:pt>
                <c:pt idx="8">
                  <c:v>10.97</c:v>
                </c:pt>
                <c:pt idx="9">
                  <c:v>11.17</c:v>
                </c:pt>
                <c:pt idx="10">
                  <c:v>11.37</c:v>
                </c:pt>
                <c:pt idx="11">
                  <c:v>11.57</c:v>
                </c:pt>
                <c:pt idx="12">
                  <c:v>11.77</c:v>
                </c:pt>
                <c:pt idx="13">
                  <c:v>11.97</c:v>
                </c:pt>
                <c:pt idx="14">
                  <c:v>12.17</c:v>
                </c:pt>
                <c:pt idx="15">
                  <c:v>12.37</c:v>
                </c:pt>
                <c:pt idx="16">
                  <c:v>12.57</c:v>
                </c:pt>
                <c:pt idx="17">
                  <c:v>12.77</c:v>
                </c:pt>
                <c:pt idx="18">
                  <c:v>12.97</c:v>
                </c:pt>
                <c:pt idx="19">
                  <c:v>13.17</c:v>
                </c:pt>
                <c:pt idx="20">
                  <c:v>13.37</c:v>
                </c:pt>
              </c:strCache>
            </c:strRef>
          </c:cat>
          <c:val>
            <c:numRef>
              <c:f>Sheet1!$E$2:$E$22</c:f>
              <c:numCache>
                <c:formatCode>General</c:formatCode>
                <c:ptCount val="21"/>
                <c:pt idx="0">
                  <c:v>0.511802238394369</c:v>
                </c:pt>
                <c:pt idx="1">
                  <c:v>0.5220049084383738</c:v>
                </c:pt>
                <c:pt idx="2">
                  <c:v>0.5317898642533508</c:v>
                </c:pt>
                <c:pt idx="3">
                  <c:v>0.5411822441078473</c:v>
                </c:pt>
                <c:pt idx="4">
                  <c:v>0.5502052088254904</c:v>
                </c:pt>
                <c:pt idx="5">
                  <c:v>0.5588801324739862</c:v>
                </c:pt>
                <c:pt idx="6">
                  <c:v>0.567226771405415</c:v>
                </c:pt>
                <c:pt idx="7">
                  <c:v>0.5752634144619535</c:v>
                </c:pt>
                <c:pt idx="8">
                  <c:v>0.5830070167507054</c:v>
                </c:pt>
                <c:pt idx="9">
                  <c:v>0.5904733190470222</c:v>
                </c:pt>
                <c:pt idx="10">
                  <c:v>0.5976769545958871</c:v>
                </c:pt>
                <c:pt idx="11">
                  <c:v>0.6046315448362349</c:v>
                </c:pt>
                <c:pt idx="12">
                  <c:v>0.6113497853657806</c:v>
                </c:pt>
                <c:pt idx="13">
                  <c:v>0.6178435232878228</c:v>
                </c:pt>
                <c:pt idx="14">
                  <c:v>0.6241238269314082</c:v>
                </c:pt>
                <c:pt idx="15">
                  <c:v>0.6302010488080223</c:v>
                </c:pt>
                <c:pt idx="16">
                  <c:v>0.6360848825580936</c:v>
                </c:pt>
                <c:pt idx="17">
                  <c:v>0.6417844145462207</c:v>
                </c:pt>
                <c:pt idx="18">
                  <c:v>0.6473081706827477</c:v>
                </c:pt>
                <c:pt idx="19">
                  <c:v>0.6526641589791374</c:v>
                </c:pt>
                <c:pt idx="20">
                  <c:v>0.6578599082838622</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5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2</c:f>
              <c:strCache>
                <c:ptCount val="31"/>
                <c:pt idx="0">
                  <c:v>12.57</c:v>
                </c:pt>
                <c:pt idx="1">
                  <c:v>12.77</c:v>
                </c:pt>
                <c:pt idx="2">
                  <c:v>12.97</c:v>
                </c:pt>
                <c:pt idx="3">
                  <c:v>13.17</c:v>
                </c:pt>
                <c:pt idx="4">
                  <c:v>13.37</c:v>
                </c:pt>
                <c:pt idx="5">
                  <c:v>13.57</c:v>
                </c:pt>
                <c:pt idx="6">
                  <c:v>13.77</c:v>
                </c:pt>
                <c:pt idx="7">
                  <c:v>13.97</c:v>
                </c:pt>
                <c:pt idx="8">
                  <c:v>14.17</c:v>
                </c:pt>
                <c:pt idx="9">
                  <c:v>14.37</c:v>
                </c:pt>
                <c:pt idx="10">
                  <c:v>14.57</c:v>
                </c:pt>
                <c:pt idx="11">
                  <c:v>14.77</c:v>
                </c:pt>
                <c:pt idx="12">
                  <c:v>14.97</c:v>
                </c:pt>
                <c:pt idx="13">
                  <c:v>15.17</c:v>
                </c:pt>
                <c:pt idx="14">
                  <c:v>15.37</c:v>
                </c:pt>
                <c:pt idx="15">
                  <c:v>15.57</c:v>
                </c:pt>
                <c:pt idx="16">
                  <c:v>15.77</c:v>
                </c:pt>
                <c:pt idx="17">
                  <c:v>15.97</c:v>
                </c:pt>
                <c:pt idx="18">
                  <c:v>16.17</c:v>
                </c:pt>
                <c:pt idx="19">
                  <c:v>16.37</c:v>
                </c:pt>
                <c:pt idx="20">
                  <c:v>16.57</c:v>
                </c:pt>
                <c:pt idx="21">
                  <c:v>16.77</c:v>
                </c:pt>
                <c:pt idx="22">
                  <c:v>16.97</c:v>
                </c:pt>
                <c:pt idx="23">
                  <c:v>17.17</c:v>
                </c:pt>
                <c:pt idx="24">
                  <c:v>17.37</c:v>
                </c:pt>
                <c:pt idx="25">
                  <c:v>17.57</c:v>
                </c:pt>
                <c:pt idx="26">
                  <c:v>17.77</c:v>
                </c:pt>
                <c:pt idx="27">
                  <c:v>17.97</c:v>
                </c:pt>
                <c:pt idx="28">
                  <c:v>18.17</c:v>
                </c:pt>
                <c:pt idx="29">
                  <c:v>18.37</c:v>
                </c:pt>
                <c:pt idx="30">
                  <c:v>18.57</c:v>
                </c:pt>
              </c:strCache>
            </c:strRef>
          </c:cat>
          <c:val>
            <c:numRef>
              <c:f>Sheet1!$B$2:$B$32</c:f>
              <c:numCache>
                <c:formatCode>General</c:formatCode>
                <c:ptCount val="31"/>
                <c:pt idx="0">
                  <c:v>136.08480434308785</c:v>
                </c:pt>
                <c:pt idx="1">
                  <c:v>132.11052548143945</c:v>
                </c:pt>
                <c:pt idx="2">
                  <c:v>128.43218668244947</c:v>
                </c:pt>
                <c:pt idx="3">
                  <c:v>125.01568397066998</c:v>
                </c:pt>
                <c:pt idx="4">
                  <c:v>121.83180265514204</c:v>
                </c:pt>
                <c:pt idx="5">
                  <c:v>118.69783268351131</c:v>
                </c:pt>
                <c:pt idx="6">
                  <c:v>115.58756197107456</c:v>
                </c:pt>
                <c:pt idx="7">
                  <c:v>112.64251470924007</c:v>
                </c:pt>
                <c:pt idx="8">
                  <c:v>109.85035696336914</c:v>
                </c:pt>
                <c:pt idx="9">
                  <c:v>107.19984363464393</c:v>
                </c:pt>
                <c:pt idx="10">
                  <c:v>104.68071812090871</c:v>
                </c:pt>
                <c:pt idx="11">
                  <c:v>102.28361990818351</c:v>
                </c:pt>
                <c:pt idx="12">
                  <c:v>100.0</c:v>
                </c:pt>
                <c:pt idx="13">
                  <c:v>96.66624178015401</c:v>
                </c:pt>
                <c:pt idx="14">
                  <c:v>93.54213231917751</c:v>
                </c:pt>
                <c:pt idx="15">
                  <c:v>90.60885953068065</c:v>
                </c:pt>
                <c:pt idx="16">
                  <c:v>87.8497217468452</c:v>
                </c:pt>
                <c:pt idx="17">
                  <c:v>85.24984031042626</c:v>
                </c:pt>
                <c:pt idx="18">
                  <c:v>82.75046385093137</c:v>
                </c:pt>
                <c:pt idx="19">
                  <c:v>80.37771431821596</c:v>
                </c:pt>
                <c:pt idx="20">
                  <c:v>78.12472274655529</c:v>
                </c:pt>
                <c:pt idx="21">
                  <c:v>75.98483069175572</c:v>
                </c:pt>
                <c:pt idx="22">
                  <c:v>73.95160567832822</c:v>
                </c:pt>
                <c:pt idx="23">
                  <c:v>72.01885711611745</c:v>
                </c:pt>
                <c:pt idx="24">
                  <c:v>70.180650822641</c:v>
                </c:pt>
                <c:pt idx="25">
                  <c:v>68.43132089341174</c:v>
                </c:pt>
                <c:pt idx="26">
                  <c:v>66.76547819983973</c:v>
                </c:pt>
                <c:pt idx="27">
                  <c:v>65.1780152318076</c:v>
                </c:pt>
                <c:pt idx="28">
                  <c:v>63.66410733078901</c:v>
                </c:pt>
                <c:pt idx="29">
                  <c:v>62.21921058561218</c:v>
                </c:pt>
                <c:pt idx="30">
                  <c:v>60.83905680139825</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2</c:f>
              <c:strCache>
                <c:ptCount val="31"/>
                <c:pt idx="0">
                  <c:v>12.57</c:v>
                </c:pt>
                <c:pt idx="1">
                  <c:v>12.77</c:v>
                </c:pt>
                <c:pt idx="2">
                  <c:v>12.97</c:v>
                </c:pt>
                <c:pt idx="3">
                  <c:v>13.17</c:v>
                </c:pt>
                <c:pt idx="4">
                  <c:v>13.37</c:v>
                </c:pt>
                <c:pt idx="5">
                  <c:v>13.57</c:v>
                </c:pt>
                <c:pt idx="6">
                  <c:v>13.77</c:v>
                </c:pt>
                <c:pt idx="7">
                  <c:v>13.97</c:v>
                </c:pt>
                <c:pt idx="8">
                  <c:v>14.17</c:v>
                </c:pt>
                <c:pt idx="9">
                  <c:v>14.37</c:v>
                </c:pt>
                <c:pt idx="10">
                  <c:v>14.57</c:v>
                </c:pt>
                <c:pt idx="11">
                  <c:v>14.77</c:v>
                </c:pt>
                <c:pt idx="12">
                  <c:v>14.97</c:v>
                </c:pt>
                <c:pt idx="13">
                  <c:v>15.17</c:v>
                </c:pt>
                <c:pt idx="14">
                  <c:v>15.37</c:v>
                </c:pt>
                <c:pt idx="15">
                  <c:v>15.57</c:v>
                </c:pt>
                <c:pt idx="16">
                  <c:v>15.77</c:v>
                </c:pt>
                <c:pt idx="17">
                  <c:v>15.97</c:v>
                </c:pt>
                <c:pt idx="18">
                  <c:v>16.17</c:v>
                </c:pt>
                <c:pt idx="19">
                  <c:v>16.37</c:v>
                </c:pt>
                <c:pt idx="20">
                  <c:v>16.57</c:v>
                </c:pt>
                <c:pt idx="21">
                  <c:v>16.77</c:v>
                </c:pt>
                <c:pt idx="22">
                  <c:v>16.97</c:v>
                </c:pt>
                <c:pt idx="23">
                  <c:v>17.17</c:v>
                </c:pt>
                <c:pt idx="24">
                  <c:v>17.37</c:v>
                </c:pt>
                <c:pt idx="25">
                  <c:v>17.57</c:v>
                </c:pt>
                <c:pt idx="26">
                  <c:v>17.77</c:v>
                </c:pt>
                <c:pt idx="27">
                  <c:v>17.97</c:v>
                </c:pt>
                <c:pt idx="28">
                  <c:v>18.17</c:v>
                </c:pt>
                <c:pt idx="29">
                  <c:v>18.37</c:v>
                </c:pt>
                <c:pt idx="30">
                  <c:v>18.57</c:v>
                </c:pt>
              </c:strCache>
            </c:strRef>
          </c:cat>
          <c:val>
            <c:numRef>
              <c:f>Sheet1!$C$2:$C$32</c:f>
              <c:numCache>
                <c:formatCode>General</c:formatCode>
                <c:ptCount val="31"/>
                <c:pt idx="0">
                  <c:v>114.33620286278942</c:v>
                </c:pt>
                <c:pt idx="1">
                  <c:v>112.75716150975956</c:v>
                </c:pt>
                <c:pt idx="2">
                  <c:v>111.32815048777395</c:v>
                </c:pt>
                <c:pt idx="3">
                  <c:v>110.0310895766634</c:v>
                </c:pt>
                <c:pt idx="4">
                  <c:v>108.85042971842587</c:v>
                </c:pt>
                <c:pt idx="5">
                  <c:v>107.63081390899029</c:v>
                </c:pt>
                <c:pt idx="6">
                  <c:v>106.3503241408492</c:v>
                </c:pt>
                <c:pt idx="7">
                  <c:v>105.14111932348986</c:v>
                </c:pt>
                <c:pt idx="8">
                  <c:v>103.99813004749976</c:v>
                </c:pt>
                <c:pt idx="9">
                  <c:v>102.91667524351402</c:v>
                </c:pt>
                <c:pt idx="10">
                  <c:v>101.89243686221855</c:v>
                </c:pt>
                <c:pt idx="11">
                  <c:v>100.92143441388271</c:v>
                </c:pt>
                <c:pt idx="12">
                  <c:v>100.0</c:v>
                </c:pt>
                <c:pt idx="13">
                  <c:v>97.9619370120268</c:v>
                </c:pt>
                <c:pt idx="14">
                  <c:v>96.04945469984895</c:v>
                </c:pt>
                <c:pt idx="15">
                  <c:v>94.25147447043517</c:v>
                </c:pt>
                <c:pt idx="16">
                  <c:v>92.55812236096928</c:v>
                </c:pt>
                <c:pt idx="17">
                  <c:v>90.96056577913588</c:v>
                </c:pt>
                <c:pt idx="18">
                  <c:v>89.40150700409555</c:v>
                </c:pt>
                <c:pt idx="19">
                  <c:v>87.91399119204429</c:v>
                </c:pt>
                <c:pt idx="20">
                  <c:v>86.49549085121608</c:v>
                </c:pt>
                <c:pt idx="21">
                  <c:v>85.14334954196818</c:v>
                </c:pt>
                <c:pt idx="22">
                  <c:v>83.85481296230924</c:v>
                </c:pt>
                <c:pt idx="23">
                  <c:v>82.62706185477131</c:v>
                </c:pt>
                <c:pt idx="24">
                  <c:v>81.45724462374959</c:v>
                </c:pt>
                <c:pt idx="25">
                  <c:v>80.3425080601561</c:v>
                </c:pt>
                <c:pt idx="26">
                  <c:v>79.28002507001712</c:v>
                </c:pt>
                <c:pt idx="27">
                  <c:v>78.2670187491044</c:v>
                </c:pt>
                <c:pt idx="28">
                  <c:v>77.30078251271179</c:v>
                </c:pt>
                <c:pt idx="29">
                  <c:v>76.37869627120388</c:v>
                </c:pt>
                <c:pt idx="30">
                  <c:v>75.4982388424013</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2</c:f>
              <c:strCache>
                <c:ptCount val="31"/>
                <c:pt idx="0">
                  <c:v>12.57</c:v>
                </c:pt>
                <c:pt idx="1">
                  <c:v>12.77</c:v>
                </c:pt>
                <c:pt idx="2">
                  <c:v>12.97</c:v>
                </c:pt>
                <c:pt idx="3">
                  <c:v>13.17</c:v>
                </c:pt>
                <c:pt idx="4">
                  <c:v>13.37</c:v>
                </c:pt>
                <c:pt idx="5">
                  <c:v>13.57</c:v>
                </c:pt>
                <c:pt idx="6">
                  <c:v>13.77</c:v>
                </c:pt>
                <c:pt idx="7">
                  <c:v>13.97</c:v>
                </c:pt>
                <c:pt idx="8">
                  <c:v>14.17</c:v>
                </c:pt>
                <c:pt idx="9">
                  <c:v>14.37</c:v>
                </c:pt>
                <c:pt idx="10">
                  <c:v>14.57</c:v>
                </c:pt>
                <c:pt idx="11">
                  <c:v>14.77</c:v>
                </c:pt>
                <c:pt idx="12">
                  <c:v>14.97</c:v>
                </c:pt>
                <c:pt idx="13">
                  <c:v>15.17</c:v>
                </c:pt>
                <c:pt idx="14">
                  <c:v>15.37</c:v>
                </c:pt>
                <c:pt idx="15">
                  <c:v>15.57</c:v>
                </c:pt>
                <c:pt idx="16">
                  <c:v>15.77</c:v>
                </c:pt>
                <c:pt idx="17">
                  <c:v>15.97</c:v>
                </c:pt>
                <c:pt idx="18">
                  <c:v>16.17</c:v>
                </c:pt>
                <c:pt idx="19">
                  <c:v>16.37</c:v>
                </c:pt>
                <c:pt idx="20">
                  <c:v>16.57</c:v>
                </c:pt>
                <c:pt idx="21">
                  <c:v>16.77</c:v>
                </c:pt>
                <c:pt idx="22">
                  <c:v>16.97</c:v>
                </c:pt>
                <c:pt idx="23">
                  <c:v>17.17</c:v>
                </c:pt>
                <c:pt idx="24">
                  <c:v>17.37</c:v>
                </c:pt>
                <c:pt idx="25">
                  <c:v>17.57</c:v>
                </c:pt>
                <c:pt idx="26">
                  <c:v>17.77</c:v>
                </c:pt>
                <c:pt idx="27">
                  <c:v>17.97</c:v>
                </c:pt>
                <c:pt idx="28">
                  <c:v>18.17</c:v>
                </c:pt>
                <c:pt idx="29">
                  <c:v>18.37</c:v>
                </c:pt>
                <c:pt idx="30">
                  <c:v>18.57</c:v>
                </c:pt>
              </c:strCache>
            </c:strRef>
          </c:cat>
          <c:val>
            <c:numRef>
              <c:f>Sheet1!$D$2:$D$32</c:f>
              <c:numCache>
                <c:formatCode>General</c:formatCode>
                <c:ptCount val="31"/>
                <c:pt idx="0">
                  <c:v>93.70588197222578</c:v>
                </c:pt>
                <c:pt idx="1">
                  <c:v>94.3976944771764</c:v>
                </c:pt>
                <c:pt idx="2">
                  <c:v>95.10237140286887</c:v>
                </c:pt>
                <c:pt idx="3">
                  <c:v>95.81681423807173</c:v>
                </c:pt>
                <c:pt idx="4">
                  <c:v>96.53825852066949</c:v>
                </c:pt>
                <c:pt idx="5">
                  <c:v>97.13529561446038</c:v>
                </c:pt>
                <c:pt idx="6">
                  <c:v>97.58968065193883</c:v>
                </c:pt>
                <c:pt idx="7">
                  <c:v>98.02641922388831</c:v>
                </c:pt>
                <c:pt idx="8">
                  <c:v>98.44732100934407</c:v>
                </c:pt>
                <c:pt idx="9">
                  <c:v>98.85391942677352</c:v>
                </c:pt>
                <c:pt idx="10">
                  <c:v>99.2475177862756</c:v>
                </c:pt>
                <c:pt idx="11">
                  <c:v>99.6292275430549</c:v>
                </c:pt>
                <c:pt idx="12">
                  <c:v>100.0</c:v>
                </c:pt>
                <c:pt idx="13">
                  <c:v>99.17485590993591</c:v>
                </c:pt>
                <c:pt idx="14">
                  <c:v>98.39721120803098</c:v>
                </c:pt>
                <c:pt idx="15">
                  <c:v>97.6631111840874</c:v>
                </c:pt>
                <c:pt idx="16">
                  <c:v>96.9689778268634</c:v>
                </c:pt>
                <c:pt idx="17">
                  <c:v>96.31155896349864</c:v>
                </c:pt>
                <c:pt idx="18">
                  <c:v>95.63535390393892</c:v>
                </c:pt>
                <c:pt idx="19">
                  <c:v>94.97905458980537</c:v>
                </c:pt>
                <c:pt idx="20">
                  <c:v>94.34422438503023</c:v>
                </c:pt>
                <c:pt idx="21">
                  <c:v>93.73197331061796</c:v>
                </c:pt>
                <c:pt idx="22">
                  <c:v>93.14300481709162</c:v>
                </c:pt>
                <c:pt idx="23">
                  <c:v>92.57766556565225</c:v>
                </c:pt>
                <c:pt idx="24">
                  <c:v>92.03599585918872</c:v>
                </c:pt>
                <c:pt idx="25">
                  <c:v>91.5177787878083</c:v>
                </c:pt>
                <c:pt idx="26">
                  <c:v>91.02258662498703</c:v>
                </c:pt>
                <c:pt idx="27">
                  <c:v>90.54982346867571</c:v>
                </c:pt>
                <c:pt idx="28">
                  <c:v>90.0987635282552</c:v>
                </c:pt>
                <c:pt idx="29">
                  <c:v>89.66858479379405</c:v>
                </c:pt>
                <c:pt idx="30">
                  <c:v>89.25839808364783</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2</c:f>
              <c:strCache>
                <c:ptCount val="31"/>
                <c:pt idx="0">
                  <c:v>12.57</c:v>
                </c:pt>
                <c:pt idx="1">
                  <c:v>12.77</c:v>
                </c:pt>
                <c:pt idx="2">
                  <c:v>12.97</c:v>
                </c:pt>
                <c:pt idx="3">
                  <c:v>13.17</c:v>
                </c:pt>
                <c:pt idx="4">
                  <c:v>13.37</c:v>
                </c:pt>
                <c:pt idx="5">
                  <c:v>13.57</c:v>
                </c:pt>
                <c:pt idx="6">
                  <c:v>13.77</c:v>
                </c:pt>
                <c:pt idx="7">
                  <c:v>13.97</c:v>
                </c:pt>
                <c:pt idx="8">
                  <c:v>14.17</c:v>
                </c:pt>
                <c:pt idx="9">
                  <c:v>14.37</c:v>
                </c:pt>
                <c:pt idx="10">
                  <c:v>14.57</c:v>
                </c:pt>
                <c:pt idx="11">
                  <c:v>14.77</c:v>
                </c:pt>
                <c:pt idx="12">
                  <c:v>14.97</c:v>
                </c:pt>
                <c:pt idx="13">
                  <c:v>15.17</c:v>
                </c:pt>
                <c:pt idx="14">
                  <c:v>15.37</c:v>
                </c:pt>
                <c:pt idx="15">
                  <c:v>15.57</c:v>
                </c:pt>
                <c:pt idx="16">
                  <c:v>15.77</c:v>
                </c:pt>
                <c:pt idx="17">
                  <c:v>15.97</c:v>
                </c:pt>
                <c:pt idx="18">
                  <c:v>16.17</c:v>
                </c:pt>
                <c:pt idx="19">
                  <c:v>16.37</c:v>
                </c:pt>
                <c:pt idx="20">
                  <c:v>16.57</c:v>
                </c:pt>
                <c:pt idx="21">
                  <c:v>16.77</c:v>
                </c:pt>
                <c:pt idx="22">
                  <c:v>16.97</c:v>
                </c:pt>
                <c:pt idx="23">
                  <c:v>17.17</c:v>
                </c:pt>
                <c:pt idx="24">
                  <c:v>17.37</c:v>
                </c:pt>
                <c:pt idx="25">
                  <c:v>17.57</c:v>
                </c:pt>
                <c:pt idx="26">
                  <c:v>17.77</c:v>
                </c:pt>
                <c:pt idx="27">
                  <c:v>17.97</c:v>
                </c:pt>
                <c:pt idx="28">
                  <c:v>18.17</c:v>
                </c:pt>
                <c:pt idx="29">
                  <c:v>18.37</c:v>
                </c:pt>
                <c:pt idx="30">
                  <c:v>18.57</c:v>
                </c:pt>
              </c:strCache>
            </c:strRef>
          </c:cat>
          <c:val>
            <c:numRef>
              <c:f>Sheet1!$E$2:$E$32</c:f>
              <c:numCache>
                <c:formatCode>General</c:formatCode>
                <c:ptCount val="31"/>
                <c:pt idx="0">
                  <c:v>0.42217538450262804</c:v>
                </c:pt>
                <c:pt idx="1">
                  <c:v>0.4312251044007859</c:v>
                </c:pt>
                <c:pt idx="2">
                  <c:v>0.4399957273090237</c:v>
                </c:pt>
                <c:pt idx="3">
                  <c:v>0.44849996835216677</c:v>
                </c:pt>
                <c:pt idx="4">
                  <c:v>0.4567497818397934</c:v>
                </c:pt>
                <c:pt idx="5">
                  <c:v>0.46475641733220624</c:v>
                </c:pt>
                <c:pt idx="6">
                  <c:v>0.4725304708204819</c:v>
                </c:pt>
                <c:pt idx="7">
                  <c:v>0.4800819315102388</c:v>
                </c:pt>
                <c:pt idx="8">
                  <c:v>0.48742022464347473</c:v>
                </c:pt>
                <c:pt idx="9">
                  <c:v>0.49455425074447024</c:v>
                </c:pt>
                <c:pt idx="10">
                  <c:v>0.5014924216333587</c:v>
                </c:pt>
                <c:pt idx="11">
                  <c:v>0.5082426935137466</c:v>
                </c:pt>
                <c:pt idx="12">
                  <c:v>0.5148125974080185</c:v>
                </c:pt>
                <c:pt idx="13">
                  <c:v>0.5212092671851046</c:v>
                </c:pt>
                <c:pt idx="14">
                  <c:v>0.5274394654000023</c:v>
                </c:pt>
                <c:pt idx="15">
                  <c:v>0.5335096071418135</c:v>
                </c:pt>
                <c:pt idx="16">
                  <c:v>0.5394257820670918</c:v>
                </c:pt>
                <c:pt idx="17">
                  <c:v>0.5451937747775853</c:v>
                </c:pt>
                <c:pt idx="18">
                  <c:v>0.5508190836857167</c:v>
                </c:pt>
                <c:pt idx="19">
                  <c:v>0.5563069384971314</c:v>
                </c:pt>
                <c:pt idx="20">
                  <c:v>0.5616623164271598</c:v>
                </c:pt>
                <c:pt idx="21">
                  <c:v>0.5668899572568894</c:v>
                </c:pt>
                <c:pt idx="22">
                  <c:v>0.5719943773245749</c:v>
                </c:pt>
                <c:pt idx="23">
                  <c:v>0.5769798825391984</c:v>
                </c:pt>
                <c:pt idx="24">
                  <c:v>0.5818505804949936</c:v>
                </c:pt>
                <c:pt idx="25">
                  <c:v>0.5866103917585678</c:v>
                </c:pt>
                <c:pt idx="26">
                  <c:v>0.5912630603938119</c:v>
                </c:pt>
                <c:pt idx="27">
                  <c:v>0.5958121637839754</c:v>
                </c:pt>
                <c:pt idx="28">
                  <c:v>0.6002611218050654</c:v>
                </c:pt>
                <c:pt idx="29">
                  <c:v>0.604613205400002</c:v>
                </c:pt>
                <c:pt idx="30">
                  <c:v>0.608871544598709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16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1</c:f>
              <c:strCache>
                <c:ptCount val="20"/>
                <c:pt idx="0">
                  <c:v>8.57</c:v>
                </c:pt>
                <c:pt idx="1">
                  <c:v>8.77</c:v>
                </c:pt>
                <c:pt idx="2">
                  <c:v>8.97</c:v>
                </c:pt>
                <c:pt idx="3">
                  <c:v>9.17</c:v>
                </c:pt>
                <c:pt idx="4">
                  <c:v>9.37</c:v>
                </c:pt>
                <c:pt idx="5">
                  <c:v>9.57</c:v>
                </c:pt>
                <c:pt idx="6">
                  <c:v>9.77</c:v>
                </c:pt>
                <c:pt idx="7">
                  <c:v>9.97</c:v>
                </c:pt>
                <c:pt idx="8">
                  <c:v>10.17</c:v>
                </c:pt>
                <c:pt idx="9">
                  <c:v>10.37</c:v>
                </c:pt>
                <c:pt idx="10">
                  <c:v>10.57</c:v>
                </c:pt>
                <c:pt idx="11">
                  <c:v>10.77</c:v>
                </c:pt>
                <c:pt idx="12">
                  <c:v>10.97</c:v>
                </c:pt>
                <c:pt idx="13">
                  <c:v>11.17</c:v>
                </c:pt>
                <c:pt idx="14">
                  <c:v>11.37</c:v>
                </c:pt>
                <c:pt idx="15">
                  <c:v>11.57</c:v>
                </c:pt>
                <c:pt idx="16">
                  <c:v>11.77</c:v>
                </c:pt>
                <c:pt idx="17">
                  <c:v>11.97</c:v>
                </c:pt>
                <c:pt idx="18">
                  <c:v>12.17</c:v>
                </c:pt>
                <c:pt idx="19">
                  <c:v>12.37</c:v>
                </c:pt>
              </c:strCache>
            </c:strRef>
          </c:cat>
          <c:val>
            <c:numRef>
              <c:f>Sheet1!$B$2:$B$21</c:f>
              <c:numCache>
                <c:formatCode>General</c:formatCode>
                <c:ptCount val="20"/>
                <c:pt idx="0">
                  <c:v>115.52052394798173</c:v>
                </c:pt>
                <c:pt idx="1">
                  <c:v>111.82104193519055</c:v>
                </c:pt>
                <c:pt idx="2">
                  <c:v>108.44317551589893</c:v>
                </c:pt>
                <c:pt idx="3">
                  <c:v>106.63787084803957</c:v>
                </c:pt>
                <c:pt idx="4">
                  <c:v>104.89391717145264</c:v>
                </c:pt>
                <c:pt idx="5">
                  <c:v>103.20819940011387</c:v>
                </c:pt>
                <c:pt idx="6">
                  <c:v>101.577803187725</c:v>
                </c:pt>
                <c:pt idx="7">
                  <c:v>100.0</c:v>
                </c:pt>
                <c:pt idx="8">
                  <c:v>95.5678982870838</c:v>
                </c:pt>
                <c:pt idx="9">
                  <c:v>91.6946791210632</c:v>
                </c:pt>
                <c:pt idx="10">
                  <c:v>88.27662358391176</c:v>
                </c:pt>
                <c:pt idx="11">
                  <c:v>85.23256473286544</c:v>
                </c:pt>
                <c:pt idx="12">
                  <c:v>82.49859292239603</c:v>
                </c:pt>
                <c:pt idx="13">
                  <c:v>80.68483902541617</c:v>
                </c:pt>
                <c:pt idx="14">
                  <c:v>78.96119971202589</c:v>
                </c:pt>
                <c:pt idx="15">
                  <c:v>77.32086175711706</c:v>
                </c:pt>
                <c:pt idx="16">
                  <c:v>75.75765061216782</c:v>
                </c:pt>
                <c:pt idx="17">
                  <c:v>74.26596368308587</c:v>
                </c:pt>
                <c:pt idx="18">
                  <c:v>72.84071091300672</c:v>
                </c:pt>
                <c:pt idx="19">
                  <c:v>71.477261876558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1</c:f>
              <c:strCache>
                <c:ptCount val="20"/>
                <c:pt idx="0">
                  <c:v>8.57</c:v>
                </c:pt>
                <c:pt idx="1">
                  <c:v>8.77</c:v>
                </c:pt>
                <c:pt idx="2">
                  <c:v>8.97</c:v>
                </c:pt>
                <c:pt idx="3">
                  <c:v>9.17</c:v>
                </c:pt>
                <c:pt idx="4">
                  <c:v>9.37</c:v>
                </c:pt>
                <c:pt idx="5">
                  <c:v>9.57</c:v>
                </c:pt>
                <c:pt idx="6">
                  <c:v>9.77</c:v>
                </c:pt>
                <c:pt idx="7">
                  <c:v>9.97</c:v>
                </c:pt>
                <c:pt idx="8">
                  <c:v>10.17</c:v>
                </c:pt>
                <c:pt idx="9">
                  <c:v>10.37</c:v>
                </c:pt>
                <c:pt idx="10">
                  <c:v>10.57</c:v>
                </c:pt>
                <c:pt idx="11">
                  <c:v>10.77</c:v>
                </c:pt>
                <c:pt idx="12">
                  <c:v>10.97</c:v>
                </c:pt>
                <c:pt idx="13">
                  <c:v>11.17</c:v>
                </c:pt>
                <c:pt idx="14">
                  <c:v>11.37</c:v>
                </c:pt>
                <c:pt idx="15">
                  <c:v>11.57</c:v>
                </c:pt>
                <c:pt idx="16">
                  <c:v>11.77</c:v>
                </c:pt>
                <c:pt idx="17">
                  <c:v>11.97</c:v>
                </c:pt>
                <c:pt idx="18">
                  <c:v>12.17</c:v>
                </c:pt>
                <c:pt idx="19">
                  <c:v>12.37</c:v>
                </c:pt>
              </c:strCache>
            </c:strRef>
          </c:cat>
          <c:val>
            <c:numRef>
              <c:f>Sheet1!$C$2:$C$21</c:f>
              <c:numCache>
                <c:formatCode>General</c:formatCode>
                <c:ptCount val="20"/>
                <c:pt idx="0">
                  <c:v>99.39070823016279</c:v>
                </c:pt>
                <c:pt idx="1">
                  <c:v>98.44140999374176</c:v>
                </c:pt>
                <c:pt idx="2">
                  <c:v>97.63364817278003</c:v>
                </c:pt>
                <c:pt idx="3">
                  <c:v>98.13457143423612</c:v>
                </c:pt>
                <c:pt idx="4">
                  <c:v>98.62099977252961</c:v>
                </c:pt>
                <c:pt idx="5">
                  <c:v>99.09362766610927</c:v>
                </c:pt>
                <c:pt idx="6">
                  <c:v>99.55309654274896</c:v>
                </c:pt>
                <c:pt idx="7">
                  <c:v>100.0</c:v>
                </c:pt>
                <c:pt idx="8">
                  <c:v>97.48069789001258</c:v>
                </c:pt>
                <c:pt idx="9">
                  <c:v>95.3646676862971</c:v>
                </c:pt>
                <c:pt idx="10">
                  <c:v>93.57566467586756</c:v>
                </c:pt>
                <c:pt idx="11">
                  <c:v>92.05346049343946</c:v>
                </c:pt>
                <c:pt idx="12">
                  <c:v>90.75028594267896</c:v>
                </c:pt>
                <c:pt idx="13">
                  <c:v>90.36570514159644</c:v>
                </c:pt>
                <c:pt idx="14">
                  <c:v>90.01142888304727</c:v>
                </c:pt>
                <c:pt idx="15">
                  <c:v>89.68494869817839</c:v>
                </c:pt>
                <c:pt idx="16">
                  <c:v>89.3839663301553</c:v>
                </c:pt>
                <c:pt idx="17">
                  <c:v>89.10637729355571</c:v>
                </c:pt>
                <c:pt idx="18">
                  <c:v>88.85025537613595</c:v>
                </c:pt>
                <c:pt idx="19">
                  <c:v>88.61383811591705</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1</c:f>
              <c:strCache>
                <c:ptCount val="20"/>
                <c:pt idx="0">
                  <c:v>8.57</c:v>
                </c:pt>
                <c:pt idx="1">
                  <c:v>8.77</c:v>
                </c:pt>
                <c:pt idx="2">
                  <c:v>8.97</c:v>
                </c:pt>
                <c:pt idx="3">
                  <c:v>9.17</c:v>
                </c:pt>
                <c:pt idx="4">
                  <c:v>9.37</c:v>
                </c:pt>
                <c:pt idx="5">
                  <c:v>9.57</c:v>
                </c:pt>
                <c:pt idx="6">
                  <c:v>9.77</c:v>
                </c:pt>
                <c:pt idx="7">
                  <c:v>9.97</c:v>
                </c:pt>
                <c:pt idx="8">
                  <c:v>10.17</c:v>
                </c:pt>
                <c:pt idx="9">
                  <c:v>10.37</c:v>
                </c:pt>
                <c:pt idx="10">
                  <c:v>10.57</c:v>
                </c:pt>
                <c:pt idx="11">
                  <c:v>10.77</c:v>
                </c:pt>
                <c:pt idx="12">
                  <c:v>10.97</c:v>
                </c:pt>
                <c:pt idx="13">
                  <c:v>11.17</c:v>
                </c:pt>
                <c:pt idx="14">
                  <c:v>11.37</c:v>
                </c:pt>
                <c:pt idx="15">
                  <c:v>11.57</c:v>
                </c:pt>
                <c:pt idx="16">
                  <c:v>11.77</c:v>
                </c:pt>
                <c:pt idx="17">
                  <c:v>11.97</c:v>
                </c:pt>
                <c:pt idx="18">
                  <c:v>12.17</c:v>
                </c:pt>
                <c:pt idx="19">
                  <c:v>12.37</c:v>
                </c:pt>
              </c:strCache>
            </c:strRef>
          </c:cat>
          <c:val>
            <c:numRef>
              <c:f>Sheet1!$D$2:$D$21</c:f>
              <c:numCache>
                <c:formatCode>General</c:formatCode>
                <c:ptCount val="20"/>
                <c:pt idx="0">
                  <c:v>87.52977512605538</c:v>
                </c:pt>
                <c:pt idx="1">
                  <c:v>88.59730453576474</c:v>
                </c:pt>
                <c:pt idx="2">
                  <c:v>89.67467581199459</c:v>
                </c:pt>
                <c:pt idx="3">
                  <c:v>91.87302953523243</c:v>
                </c:pt>
                <c:pt idx="4">
                  <c:v>94.00138413371356</c:v>
                </c:pt>
                <c:pt idx="5">
                  <c:v>96.06321106620962</c:v>
                </c:pt>
                <c:pt idx="6">
                  <c:v>98.06174427487517</c:v>
                </c:pt>
                <c:pt idx="7">
                  <c:v>100.0</c:v>
                </c:pt>
                <c:pt idx="8">
                  <c:v>98.87592769911605</c:v>
                </c:pt>
                <c:pt idx="9">
                  <c:v>98.0425993096635</c:v>
                </c:pt>
                <c:pt idx="10">
                  <c:v>97.44356161785055</c:v>
                </c:pt>
                <c:pt idx="11">
                  <c:v>97.03367519162182</c:v>
                </c:pt>
                <c:pt idx="12">
                  <c:v>96.77680646114936</c:v>
                </c:pt>
                <c:pt idx="13">
                  <c:v>97.44200280436951</c:v>
                </c:pt>
                <c:pt idx="14">
                  <c:v>98.09358443712026</c:v>
                </c:pt>
                <c:pt idx="15">
                  <c:v>98.7322092443557</c:v>
                </c:pt>
                <c:pt idx="16">
                  <c:v>99.35842941059101</c:v>
                </c:pt>
                <c:pt idx="17">
                  <c:v>99.9727121394109</c:v>
                </c:pt>
                <c:pt idx="18">
                  <c:v>100.57545660205673</c:v>
                </c:pt>
                <c:pt idx="19">
                  <c:v>101.16700776201095</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1</c:f>
              <c:strCache>
                <c:ptCount val="20"/>
                <c:pt idx="0">
                  <c:v>8.57</c:v>
                </c:pt>
                <c:pt idx="1">
                  <c:v>8.77</c:v>
                </c:pt>
                <c:pt idx="2">
                  <c:v>8.97</c:v>
                </c:pt>
                <c:pt idx="3">
                  <c:v>9.17</c:v>
                </c:pt>
                <c:pt idx="4">
                  <c:v>9.37</c:v>
                </c:pt>
                <c:pt idx="5">
                  <c:v>9.57</c:v>
                </c:pt>
                <c:pt idx="6">
                  <c:v>9.77</c:v>
                </c:pt>
                <c:pt idx="7">
                  <c:v>9.97</c:v>
                </c:pt>
                <c:pt idx="8">
                  <c:v>10.17</c:v>
                </c:pt>
                <c:pt idx="9">
                  <c:v>10.37</c:v>
                </c:pt>
                <c:pt idx="10">
                  <c:v>10.57</c:v>
                </c:pt>
                <c:pt idx="11">
                  <c:v>10.77</c:v>
                </c:pt>
                <c:pt idx="12">
                  <c:v>10.97</c:v>
                </c:pt>
                <c:pt idx="13">
                  <c:v>11.17</c:v>
                </c:pt>
                <c:pt idx="14">
                  <c:v>11.37</c:v>
                </c:pt>
                <c:pt idx="15">
                  <c:v>11.57</c:v>
                </c:pt>
                <c:pt idx="16">
                  <c:v>11.77</c:v>
                </c:pt>
                <c:pt idx="17">
                  <c:v>11.97</c:v>
                </c:pt>
                <c:pt idx="18">
                  <c:v>12.17</c:v>
                </c:pt>
                <c:pt idx="19">
                  <c:v>12.37</c:v>
                </c:pt>
              </c:strCache>
            </c:strRef>
          </c:cat>
          <c:val>
            <c:numRef>
              <c:f>Sheet1!$E$2:$E$21</c:f>
              <c:numCache>
                <c:formatCode>General</c:formatCode>
                <c:ptCount val="20"/>
                <c:pt idx="0">
                  <c:v>0.5108442500200775</c:v>
                </c:pt>
                <c:pt idx="1">
                  <c:v>0.5219994552647735</c:v>
                </c:pt>
                <c:pt idx="2">
                  <c:v>0.532657215459539</c:v>
                </c:pt>
                <c:pt idx="3">
                  <c:v>0.542850078808295</c:v>
                </c:pt>
                <c:pt idx="4">
                  <c:v>0.552607814586133</c:v>
                </c:pt>
                <c:pt idx="5">
                  <c:v>0.5619577035185019</c:v>
                </c:pt>
                <c:pt idx="6">
                  <c:v>0.570924792494582</c:v>
                </c:pt>
                <c:pt idx="7">
                  <c:v>0.5795321186230759</c:v>
                </c:pt>
                <c:pt idx="8">
                  <c:v>0.5878009068507437</c:v>
                </c:pt>
                <c:pt idx="9">
                  <c:v>0.5957507447128317</c:v>
                </c:pt>
                <c:pt idx="10">
                  <c:v>0.6033997372442823</c:v>
                </c:pt>
                <c:pt idx="11">
                  <c:v>0.6107646446306466</c:v>
                </c:pt>
                <c:pt idx="12">
                  <c:v>0.6178610048014646</c:v>
                </c:pt>
                <c:pt idx="13">
                  <c:v>0.624703242853363</c:v>
                </c:pt>
                <c:pt idx="14">
                  <c:v>0.6313047689245439</c:v>
                </c:pt>
                <c:pt idx="15">
                  <c:v>0.6376780659180695</c:v>
                </c:pt>
                <c:pt idx="16">
                  <c:v>0.6438347682813989</c:v>
                </c:pt>
                <c:pt idx="17">
                  <c:v>0.6497857328882259</c:v>
                </c:pt>
                <c:pt idx="18">
                  <c:v>0.6555411029311474</c:v>
                </c:pt>
                <c:pt idx="19">
                  <c:v>0.6611103656161734</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4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1</c:f>
              <c:strCache>
                <c:ptCount val="20"/>
                <c:pt idx="0">
                  <c:v>8.57</c:v>
                </c:pt>
                <c:pt idx="1">
                  <c:v>8.77</c:v>
                </c:pt>
                <c:pt idx="2">
                  <c:v>8.97</c:v>
                </c:pt>
                <c:pt idx="3">
                  <c:v>9.17</c:v>
                </c:pt>
                <c:pt idx="4">
                  <c:v>9.37</c:v>
                </c:pt>
                <c:pt idx="5">
                  <c:v>9.57</c:v>
                </c:pt>
                <c:pt idx="6">
                  <c:v>9.77</c:v>
                </c:pt>
                <c:pt idx="7">
                  <c:v>9.97</c:v>
                </c:pt>
                <c:pt idx="8">
                  <c:v>10.17</c:v>
                </c:pt>
                <c:pt idx="9">
                  <c:v>10.37</c:v>
                </c:pt>
                <c:pt idx="10">
                  <c:v>10.57</c:v>
                </c:pt>
                <c:pt idx="11">
                  <c:v>10.77</c:v>
                </c:pt>
                <c:pt idx="12">
                  <c:v>10.97</c:v>
                </c:pt>
                <c:pt idx="13">
                  <c:v>11.17</c:v>
                </c:pt>
                <c:pt idx="14">
                  <c:v>11.37</c:v>
                </c:pt>
                <c:pt idx="15">
                  <c:v>11.57</c:v>
                </c:pt>
                <c:pt idx="16">
                  <c:v>11.77</c:v>
                </c:pt>
                <c:pt idx="17">
                  <c:v>11.97</c:v>
                </c:pt>
                <c:pt idx="18">
                  <c:v>12.17</c:v>
                </c:pt>
                <c:pt idx="19">
                  <c:v>12.37</c:v>
                </c:pt>
              </c:strCache>
            </c:strRef>
          </c:cat>
          <c:val>
            <c:numRef>
              <c:f>Sheet1!$B$2:$B$21</c:f>
              <c:numCache>
                <c:formatCode>General</c:formatCode>
                <c:ptCount val="20"/>
                <c:pt idx="0">
                  <c:v>112.14118592908744</c:v>
                </c:pt>
                <c:pt idx="1">
                  <c:v>109.47073418985713</c:v>
                </c:pt>
                <c:pt idx="2">
                  <c:v>106.99598377215331</c:v>
                </c:pt>
                <c:pt idx="3">
                  <c:v>105.51705516882946</c:v>
                </c:pt>
                <c:pt idx="4">
                  <c:v>104.07983206153165</c:v>
                </c:pt>
                <c:pt idx="5">
                  <c:v>102.68241766713022</c:v>
                </c:pt>
                <c:pt idx="6">
                  <c:v>101.32303132224129</c:v>
                </c:pt>
                <c:pt idx="7">
                  <c:v>100.0</c:v>
                </c:pt>
                <c:pt idx="8">
                  <c:v>96.25877807239819</c:v>
                </c:pt>
                <c:pt idx="9">
                  <c:v>92.92807384252218</c:v>
                </c:pt>
                <c:pt idx="10">
                  <c:v>89.93813287611738</c:v>
                </c:pt>
                <c:pt idx="11">
                  <c:v>87.2331204206825</c:v>
                </c:pt>
                <c:pt idx="12">
                  <c:v>84.76811533145465</c:v>
                </c:pt>
                <c:pt idx="13">
                  <c:v>83.22459995485555</c:v>
                </c:pt>
                <c:pt idx="14">
                  <c:v>81.74838841316887</c:v>
                </c:pt>
                <c:pt idx="15">
                  <c:v>80.3347925806262</c:v>
                </c:pt>
                <c:pt idx="16">
                  <c:v>78.97952529994153</c:v>
                </c:pt>
                <c:pt idx="17">
                  <c:v>77.67866484787999</c:v>
                </c:pt>
                <c:pt idx="18">
                  <c:v>76.4286222378484</c:v>
                </c:pt>
                <c:pt idx="19">
                  <c:v>75.22611119824847</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1</c:f>
              <c:strCache>
                <c:ptCount val="20"/>
                <c:pt idx="0">
                  <c:v>8.57</c:v>
                </c:pt>
                <c:pt idx="1">
                  <c:v>8.77</c:v>
                </c:pt>
                <c:pt idx="2">
                  <c:v>8.97</c:v>
                </c:pt>
                <c:pt idx="3">
                  <c:v>9.17</c:v>
                </c:pt>
                <c:pt idx="4">
                  <c:v>9.37</c:v>
                </c:pt>
                <c:pt idx="5">
                  <c:v>9.57</c:v>
                </c:pt>
                <c:pt idx="6">
                  <c:v>9.77</c:v>
                </c:pt>
                <c:pt idx="7">
                  <c:v>9.97</c:v>
                </c:pt>
                <c:pt idx="8">
                  <c:v>10.17</c:v>
                </c:pt>
                <c:pt idx="9">
                  <c:v>10.37</c:v>
                </c:pt>
                <c:pt idx="10">
                  <c:v>10.57</c:v>
                </c:pt>
                <c:pt idx="11">
                  <c:v>10.77</c:v>
                </c:pt>
                <c:pt idx="12">
                  <c:v>10.97</c:v>
                </c:pt>
                <c:pt idx="13">
                  <c:v>11.17</c:v>
                </c:pt>
                <c:pt idx="14">
                  <c:v>11.37</c:v>
                </c:pt>
                <c:pt idx="15">
                  <c:v>11.57</c:v>
                </c:pt>
                <c:pt idx="16">
                  <c:v>11.77</c:v>
                </c:pt>
                <c:pt idx="17">
                  <c:v>11.97</c:v>
                </c:pt>
                <c:pt idx="18">
                  <c:v>12.17</c:v>
                </c:pt>
                <c:pt idx="19">
                  <c:v>12.37</c:v>
                </c:pt>
              </c:strCache>
            </c:strRef>
          </c:cat>
          <c:val>
            <c:numRef>
              <c:f>Sheet1!$C$2:$C$21</c:f>
              <c:numCache>
                <c:formatCode>General</c:formatCode>
                <c:ptCount val="20"/>
                <c:pt idx="0">
                  <c:v>96.52456818829711</c:v>
                </c:pt>
                <c:pt idx="1">
                  <c:v>96.40740758625779</c:v>
                </c:pt>
                <c:pt idx="2">
                  <c:v>96.35968242709875</c:v>
                </c:pt>
                <c:pt idx="3">
                  <c:v>97.12631861254906</c:v>
                </c:pt>
                <c:pt idx="4">
                  <c:v>97.87299414463237</c:v>
                </c:pt>
                <c:pt idx="5">
                  <c:v>98.60040252024693</c:v>
                </c:pt>
                <c:pt idx="6">
                  <c:v>99.3091982330645</c:v>
                </c:pt>
                <c:pt idx="7">
                  <c:v>100.0</c:v>
                </c:pt>
                <c:pt idx="8">
                  <c:v>98.18094180981906</c:v>
                </c:pt>
                <c:pt idx="9">
                  <c:v>96.63886967796424</c:v>
                </c:pt>
                <c:pt idx="10">
                  <c:v>95.32455065380682</c:v>
                </c:pt>
                <c:pt idx="11">
                  <c:v>94.1981896504214</c:v>
                </c:pt>
                <c:pt idx="12">
                  <c:v>93.22751803224513</c:v>
                </c:pt>
                <c:pt idx="13">
                  <c:v>93.18642327576029</c:v>
                </c:pt>
                <c:pt idx="14">
                  <c:v>93.16050770245354</c:v>
                </c:pt>
                <c:pt idx="15">
                  <c:v>93.14835701281628</c:v>
                </c:pt>
                <c:pt idx="16">
                  <c:v>93.14865681460567</c:v>
                </c:pt>
                <c:pt idx="17">
                  <c:v>93.16018983369796</c:v>
                </c:pt>
                <c:pt idx="18">
                  <c:v>93.18183235222884</c:v>
                </c:pt>
                <c:pt idx="19">
                  <c:v>93.21255006813016</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1</c:f>
              <c:strCache>
                <c:ptCount val="20"/>
                <c:pt idx="0">
                  <c:v>8.57</c:v>
                </c:pt>
                <c:pt idx="1">
                  <c:v>8.77</c:v>
                </c:pt>
                <c:pt idx="2">
                  <c:v>8.97</c:v>
                </c:pt>
                <c:pt idx="3">
                  <c:v>9.17</c:v>
                </c:pt>
                <c:pt idx="4">
                  <c:v>9.37</c:v>
                </c:pt>
                <c:pt idx="5">
                  <c:v>9.57</c:v>
                </c:pt>
                <c:pt idx="6">
                  <c:v>9.77</c:v>
                </c:pt>
                <c:pt idx="7">
                  <c:v>9.97</c:v>
                </c:pt>
                <c:pt idx="8">
                  <c:v>10.17</c:v>
                </c:pt>
                <c:pt idx="9">
                  <c:v>10.37</c:v>
                </c:pt>
                <c:pt idx="10">
                  <c:v>10.57</c:v>
                </c:pt>
                <c:pt idx="11">
                  <c:v>10.77</c:v>
                </c:pt>
                <c:pt idx="12">
                  <c:v>10.97</c:v>
                </c:pt>
                <c:pt idx="13">
                  <c:v>11.17</c:v>
                </c:pt>
                <c:pt idx="14">
                  <c:v>11.37</c:v>
                </c:pt>
                <c:pt idx="15">
                  <c:v>11.57</c:v>
                </c:pt>
                <c:pt idx="16">
                  <c:v>11.77</c:v>
                </c:pt>
                <c:pt idx="17">
                  <c:v>11.97</c:v>
                </c:pt>
                <c:pt idx="18">
                  <c:v>12.17</c:v>
                </c:pt>
                <c:pt idx="19">
                  <c:v>12.37</c:v>
                </c:pt>
              </c:strCache>
            </c:strRef>
          </c:cat>
          <c:val>
            <c:numRef>
              <c:f>Sheet1!$D$2:$D$21</c:f>
              <c:numCache>
                <c:formatCode>General</c:formatCode>
                <c:ptCount val="20"/>
                <c:pt idx="0">
                  <c:v>87.26436195676517</c:v>
                </c:pt>
                <c:pt idx="1">
                  <c:v>88.65551302532036</c:v>
                </c:pt>
                <c:pt idx="2">
                  <c:v>90.04209892478117</c:v>
                </c:pt>
                <c:pt idx="3">
                  <c:v>92.14142038556021</c:v>
                </c:pt>
                <c:pt idx="4">
                  <c:v>94.18474576672654</c:v>
                </c:pt>
                <c:pt idx="5">
                  <c:v>96.17426353422196</c:v>
                </c:pt>
                <c:pt idx="6">
                  <c:v>98.11203415232502</c:v>
                </c:pt>
                <c:pt idx="7">
                  <c:v>100.0</c:v>
                </c:pt>
                <c:pt idx="8">
                  <c:v>99.30928554277845</c:v>
                </c:pt>
                <c:pt idx="9">
                  <c:v>98.8179841268903</c:v>
                </c:pt>
                <c:pt idx="10">
                  <c:v>98.48873839089852</c:v>
                </c:pt>
                <c:pt idx="11">
                  <c:v>98.29103288691923</c:v>
                </c:pt>
                <c:pt idx="12">
                  <c:v>98.19991730561696</c:v>
                </c:pt>
                <c:pt idx="13">
                  <c:v>99.0492718839392</c:v>
                </c:pt>
                <c:pt idx="14">
                  <c:v>99.88303048714694</c:v>
                </c:pt>
                <c:pt idx="15">
                  <c:v>100.70171514549253</c:v>
                </c:pt>
                <c:pt idx="16">
                  <c:v>101.50576894060117</c:v>
                </c:pt>
                <c:pt idx="17">
                  <c:v>102.29557274477853</c:v>
                </c:pt>
                <c:pt idx="18">
                  <c:v>103.07145902965564</c:v>
                </c:pt>
                <c:pt idx="19">
                  <c:v>103.83372315093513</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1</c:f>
              <c:strCache>
                <c:ptCount val="20"/>
                <c:pt idx="0">
                  <c:v>8.57</c:v>
                </c:pt>
                <c:pt idx="1">
                  <c:v>8.77</c:v>
                </c:pt>
                <c:pt idx="2">
                  <c:v>8.97</c:v>
                </c:pt>
                <c:pt idx="3">
                  <c:v>9.17</c:v>
                </c:pt>
                <c:pt idx="4">
                  <c:v>9.37</c:v>
                </c:pt>
                <c:pt idx="5">
                  <c:v>9.57</c:v>
                </c:pt>
                <c:pt idx="6">
                  <c:v>9.77</c:v>
                </c:pt>
                <c:pt idx="7">
                  <c:v>9.97</c:v>
                </c:pt>
                <c:pt idx="8">
                  <c:v>10.17</c:v>
                </c:pt>
                <c:pt idx="9">
                  <c:v>10.37</c:v>
                </c:pt>
                <c:pt idx="10">
                  <c:v>10.57</c:v>
                </c:pt>
                <c:pt idx="11">
                  <c:v>10.77</c:v>
                </c:pt>
                <c:pt idx="12">
                  <c:v>10.97</c:v>
                </c:pt>
                <c:pt idx="13">
                  <c:v>11.17</c:v>
                </c:pt>
                <c:pt idx="14">
                  <c:v>11.37</c:v>
                </c:pt>
                <c:pt idx="15">
                  <c:v>11.57</c:v>
                </c:pt>
                <c:pt idx="16">
                  <c:v>11.77</c:v>
                </c:pt>
                <c:pt idx="17">
                  <c:v>11.97</c:v>
                </c:pt>
                <c:pt idx="18">
                  <c:v>12.17</c:v>
                </c:pt>
                <c:pt idx="19">
                  <c:v>12.37</c:v>
                </c:pt>
              </c:strCache>
            </c:strRef>
          </c:cat>
          <c:val>
            <c:numRef>
              <c:f>Sheet1!$E$2:$E$21</c:f>
              <c:numCache>
                <c:formatCode>General</c:formatCode>
                <c:ptCount val="20"/>
                <c:pt idx="0">
                  <c:v>0.5730456211494893</c:v>
                </c:pt>
                <c:pt idx="1">
                  <c:v>0.5827823230617017</c:v>
                </c:pt>
                <c:pt idx="2">
                  <c:v>0.5920848353680184</c:v>
                </c:pt>
                <c:pt idx="3">
                  <c:v>0.6009815674210606</c:v>
                </c:pt>
                <c:pt idx="4">
                  <c:v>0.6094985030150614</c:v>
                </c:pt>
                <c:pt idx="5">
                  <c:v>0.6176594538402429</c:v>
                </c:pt>
                <c:pt idx="6">
                  <c:v>0.6254862818066658</c:v>
                </c:pt>
                <c:pt idx="7">
                  <c:v>0.6329990946089393</c:v>
                </c:pt>
                <c:pt idx="8">
                  <c:v>0.6402164182154498</c:v>
                </c:pt>
                <c:pt idx="9">
                  <c:v>0.6471553493974084</c:v>
                </c:pt>
                <c:pt idx="10">
                  <c:v>0.6538316909414497</c:v>
                </c:pt>
                <c:pt idx="11">
                  <c:v>0.6602600717967618</c:v>
                </c:pt>
                <c:pt idx="12">
                  <c:v>0.6664540540794097</c:v>
                </c:pt>
                <c:pt idx="13">
                  <c:v>0.6724262285811212</c:v>
                </c:pt>
                <c:pt idx="14">
                  <c:v>0.6781883001979881</c:v>
                </c:pt>
                <c:pt idx="15">
                  <c:v>0.6837511644988007</c:v>
                </c:pt>
                <c:pt idx="16">
                  <c:v>0.6891249764869266</c:v>
                </c:pt>
                <c:pt idx="17">
                  <c:v>0.6943192124687655</c:v>
                </c:pt>
                <c:pt idx="18">
                  <c:v>0.6993427258217851</c:v>
                </c:pt>
                <c:pt idx="19">
                  <c:v>0.704203797352556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3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Equate Razor (1.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quate Dispo (19.1%)</c:v>
                </c:pt>
                <c:pt idx="1">
                  <c:v>Bic Dispo (16.9%)</c:v>
                </c:pt>
                <c:pt idx="2">
                  <c:v>Gillette Razor (13.9%)</c:v>
                </c:pt>
                <c:pt idx="3">
                  <c:v>Schick Dispo (8.1%)</c:v>
                </c:pt>
                <c:pt idx="4">
                  <c:v>Gillette Dispo (17.5%)</c:v>
                </c:pt>
                <c:pt idx="5">
                  <c:v>Schick Razor (2.1%)</c:v>
                </c:pt>
                <c:pt idx="6">
                  <c:v>Dollar Shave Club Razor (2.0%)</c:v>
                </c:pt>
                <c:pt idx="7">
                  <c:v>Harrys Razor (6.2%)</c:v>
                </c:pt>
                <c:pt idx="8">
                  <c:v>Gillette Blade (7.3%)</c:v>
                </c:pt>
                <c:pt idx="9">
                  <c:v>Harrys Blade (5.0%)</c:v>
                </c:pt>
              </c:strCache>
            </c:strRef>
          </c:cat>
          <c:val>
            <c:numRef>
              <c:f>Sheet1!$B$2:$B$11</c:f>
              <c:numCache>
                <c:formatCode>General</c:formatCode>
                <c:ptCount val="10"/>
                <c:pt idx="0">
                  <c:v>0.36424769407764895</c:v>
                </c:pt>
                <c:pt idx="1">
                  <c:v>0.1523266339343715</c:v>
                </c:pt>
                <c:pt idx="2">
                  <c:v>0.12084152605686345</c:v>
                </c:pt>
                <c:pt idx="3">
                  <c:v>0.06377098006075597</c:v>
                </c:pt>
                <c:pt idx="4">
                  <c:v>0.059647558764238884</c:v>
                </c:pt>
                <c:pt idx="5">
                  <c:v>0.04741245059379748</c:v>
                </c:pt>
                <c:pt idx="6">
                  <c:v>0.04365896800253377</c:v>
                </c:pt>
                <c:pt idx="7">
                  <c:v>0.036664851750964504</c:v>
                </c:pt>
                <c:pt idx="8">
                  <c:v>0.03145962740084009</c:v>
                </c:pt>
                <c:pt idx="9">
                  <c:v>0.027396371626307696</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5</c:f>
              <c:strCache>
                <c:ptCount val="14"/>
                <c:pt idx="0">
                  <c:v>5.47</c:v>
                </c:pt>
                <c:pt idx="1">
                  <c:v>5.67</c:v>
                </c:pt>
                <c:pt idx="2">
                  <c:v>5.87</c:v>
                </c:pt>
                <c:pt idx="3">
                  <c:v>6.07</c:v>
                </c:pt>
                <c:pt idx="4">
                  <c:v>6.27</c:v>
                </c:pt>
                <c:pt idx="5">
                  <c:v>6.47</c:v>
                </c:pt>
                <c:pt idx="6">
                  <c:v>6.67</c:v>
                </c:pt>
                <c:pt idx="7">
                  <c:v>6.87</c:v>
                </c:pt>
                <c:pt idx="8">
                  <c:v>7.07</c:v>
                </c:pt>
                <c:pt idx="9">
                  <c:v>7.27</c:v>
                </c:pt>
                <c:pt idx="10">
                  <c:v>7.47</c:v>
                </c:pt>
                <c:pt idx="11">
                  <c:v>7.67</c:v>
                </c:pt>
                <c:pt idx="12">
                  <c:v>7.87</c:v>
                </c:pt>
                <c:pt idx="13">
                  <c:v>8.07</c:v>
                </c:pt>
              </c:strCache>
            </c:strRef>
          </c:cat>
          <c:val>
            <c:numRef>
              <c:f>Sheet1!$B$2:$B$15</c:f>
              <c:numCache>
                <c:formatCode>General</c:formatCode>
                <c:ptCount val="14"/>
                <c:pt idx="0">
                  <c:v>118.53648494709074</c:v>
                </c:pt>
                <c:pt idx="1">
                  <c:v>114.16992869672083</c:v>
                </c:pt>
                <c:pt idx="2">
                  <c:v>110.17713555473276</c:v>
                </c:pt>
                <c:pt idx="3">
                  <c:v>106.51051180985877</c:v>
                </c:pt>
                <c:pt idx="4">
                  <c:v>103.12960915572518</c:v>
                </c:pt>
                <c:pt idx="5">
                  <c:v>100.0</c:v>
                </c:pt>
                <c:pt idx="6">
                  <c:v>90.94246681447879</c:v>
                </c:pt>
                <c:pt idx="7">
                  <c:v>83.75024275381115</c:v>
                </c:pt>
                <c:pt idx="8">
                  <c:v>77.90801345732076</c:v>
                </c:pt>
                <c:pt idx="9">
                  <c:v>73.86544737779477</c:v>
                </c:pt>
                <c:pt idx="10">
                  <c:v>70.1942937829954</c:v>
                </c:pt>
                <c:pt idx="11">
                  <c:v>66.85179807384057</c:v>
                </c:pt>
                <c:pt idx="12">
                  <c:v>63.80041354418393</c:v>
                </c:pt>
                <c:pt idx="13">
                  <c:v>61.00721055341706</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5</c:f>
              <c:strCache>
                <c:ptCount val="14"/>
                <c:pt idx="0">
                  <c:v>5.47</c:v>
                </c:pt>
                <c:pt idx="1">
                  <c:v>5.67</c:v>
                </c:pt>
                <c:pt idx="2">
                  <c:v>5.87</c:v>
                </c:pt>
                <c:pt idx="3">
                  <c:v>6.07</c:v>
                </c:pt>
                <c:pt idx="4">
                  <c:v>6.27</c:v>
                </c:pt>
                <c:pt idx="5">
                  <c:v>6.47</c:v>
                </c:pt>
                <c:pt idx="6">
                  <c:v>6.67</c:v>
                </c:pt>
                <c:pt idx="7">
                  <c:v>6.87</c:v>
                </c:pt>
                <c:pt idx="8">
                  <c:v>7.07</c:v>
                </c:pt>
                <c:pt idx="9">
                  <c:v>7.27</c:v>
                </c:pt>
                <c:pt idx="10">
                  <c:v>7.47</c:v>
                </c:pt>
                <c:pt idx="11">
                  <c:v>7.67</c:v>
                </c:pt>
                <c:pt idx="12">
                  <c:v>7.87</c:v>
                </c:pt>
                <c:pt idx="13">
                  <c:v>8.07</c:v>
                </c:pt>
              </c:strCache>
            </c:strRef>
          </c:cat>
          <c:val>
            <c:numRef>
              <c:f>Sheet1!$C$2:$C$15</c:f>
              <c:numCache>
                <c:formatCode>General</c:formatCode>
                <c:ptCount val="14"/>
                <c:pt idx="0">
                  <c:v>100.25978388663736</c:v>
                </c:pt>
                <c:pt idx="1">
                  <c:v>100.08750350037627</c:v>
                </c:pt>
                <c:pt idx="2">
                  <c:v>99.98492578057908</c:v>
                </c:pt>
                <c:pt idx="3">
                  <c:v>99.941985190576</c:v>
                </c:pt>
                <c:pt idx="4">
                  <c:v>99.94967018139994</c:v>
                </c:pt>
                <c:pt idx="5">
                  <c:v>100.0</c:v>
                </c:pt>
                <c:pt idx="6">
                  <c:v>93.74923487193394</c:v>
                </c:pt>
                <c:pt idx="7">
                  <c:v>88.9197560607956</c:v>
                </c:pt>
                <c:pt idx="8">
                  <c:v>85.12125059164906</c:v>
                </c:pt>
                <c:pt idx="9">
                  <c:v>82.98282699499507</c:v>
                </c:pt>
                <c:pt idx="10">
                  <c:v>81.0238493050803</c:v>
                </c:pt>
                <c:pt idx="11">
                  <c:v>79.22798192906927</c:v>
                </c:pt>
                <c:pt idx="12">
                  <c:v>77.5799555115638</c:v>
                </c:pt>
                <c:pt idx="13">
                  <c:v>76.06563144051805</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5</c:f>
              <c:strCache>
                <c:ptCount val="14"/>
                <c:pt idx="0">
                  <c:v>5.47</c:v>
                </c:pt>
                <c:pt idx="1">
                  <c:v>5.67</c:v>
                </c:pt>
                <c:pt idx="2">
                  <c:v>5.87</c:v>
                </c:pt>
                <c:pt idx="3">
                  <c:v>6.07</c:v>
                </c:pt>
                <c:pt idx="4">
                  <c:v>6.27</c:v>
                </c:pt>
                <c:pt idx="5">
                  <c:v>6.47</c:v>
                </c:pt>
                <c:pt idx="6">
                  <c:v>6.67</c:v>
                </c:pt>
                <c:pt idx="7">
                  <c:v>6.87</c:v>
                </c:pt>
                <c:pt idx="8">
                  <c:v>7.07</c:v>
                </c:pt>
                <c:pt idx="9">
                  <c:v>7.27</c:v>
                </c:pt>
                <c:pt idx="10">
                  <c:v>7.47</c:v>
                </c:pt>
                <c:pt idx="11">
                  <c:v>7.67</c:v>
                </c:pt>
                <c:pt idx="12">
                  <c:v>7.87</c:v>
                </c:pt>
                <c:pt idx="13">
                  <c:v>8.07</c:v>
                </c:pt>
              </c:strCache>
            </c:strRef>
          </c:cat>
          <c:val>
            <c:numRef>
              <c:f>Sheet1!$D$2:$D$15</c:f>
              <c:numCache>
                <c:formatCode>General</c:formatCode>
                <c:ptCount val="14"/>
                <c:pt idx="0">
                  <c:v>86.70001039313205</c:v>
                </c:pt>
                <c:pt idx="1">
                  <c:v>89.6389631874748</c:v>
                </c:pt>
                <c:pt idx="2">
                  <c:v>92.42234094909566</c:v>
                </c:pt>
                <c:pt idx="3">
                  <c:v>95.06789411969442</c:v>
                </c:pt>
                <c:pt idx="4">
                  <c:v>97.58990856630507</c:v>
                </c:pt>
                <c:pt idx="5">
                  <c:v>100.0</c:v>
                </c:pt>
                <c:pt idx="6">
                  <c:v>95.82752398806672</c:v>
                </c:pt>
                <c:pt idx="7">
                  <c:v>92.7476834101954</c:v>
                </c:pt>
                <c:pt idx="8">
                  <c:v>90.46271248905215</c:v>
                </c:pt>
                <c:pt idx="9">
                  <c:v>89.73644565758757</c:v>
                </c:pt>
                <c:pt idx="10">
                  <c:v>89.04704489041121</c:v>
                </c:pt>
                <c:pt idx="11">
                  <c:v>88.39782825228774</c:v>
                </c:pt>
                <c:pt idx="12">
                  <c:v>87.7900935193689</c:v>
                </c:pt>
                <c:pt idx="13">
                  <c:v>87.22367219064274</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5</c:f>
              <c:strCache>
                <c:ptCount val="14"/>
                <c:pt idx="0">
                  <c:v>5.47</c:v>
                </c:pt>
                <c:pt idx="1">
                  <c:v>5.67</c:v>
                </c:pt>
                <c:pt idx="2">
                  <c:v>5.87</c:v>
                </c:pt>
                <c:pt idx="3">
                  <c:v>6.07</c:v>
                </c:pt>
                <c:pt idx="4">
                  <c:v>6.27</c:v>
                </c:pt>
                <c:pt idx="5">
                  <c:v>6.47</c:v>
                </c:pt>
                <c:pt idx="6">
                  <c:v>6.67</c:v>
                </c:pt>
                <c:pt idx="7">
                  <c:v>6.87</c:v>
                </c:pt>
                <c:pt idx="8">
                  <c:v>7.07</c:v>
                </c:pt>
                <c:pt idx="9">
                  <c:v>7.27</c:v>
                </c:pt>
                <c:pt idx="10">
                  <c:v>7.47</c:v>
                </c:pt>
                <c:pt idx="11">
                  <c:v>7.67</c:v>
                </c:pt>
                <c:pt idx="12">
                  <c:v>7.87</c:v>
                </c:pt>
                <c:pt idx="13">
                  <c:v>8.07</c:v>
                </c:pt>
              </c:strCache>
            </c:strRef>
          </c:cat>
          <c:val>
            <c:numRef>
              <c:f>Sheet1!$E$2:$E$15</c:f>
              <c:numCache>
                <c:formatCode>General</c:formatCode>
                <c:ptCount val="14"/>
                <c:pt idx="0">
                  <c:v>0.49785956296255396</c:v>
                </c:pt>
                <c:pt idx="1">
                  <c:v>0.5155717476905063</c:v>
                </c:pt>
                <c:pt idx="2">
                  <c:v>0.5320769692342708</c:v>
                </c:pt>
                <c:pt idx="3">
                  <c:v>0.5474945320272108</c:v>
                </c:pt>
                <c:pt idx="4">
                  <c:v>0.5619285182464385</c:v>
                </c:pt>
                <c:pt idx="5">
                  <c:v>0.5754701405572132</c:v>
                </c:pt>
                <c:pt idx="6">
                  <c:v>0.588199671574988</c:v>
                </c:pt>
                <c:pt idx="7">
                  <c:v>0.6001880363035182</c:v>
                </c:pt>
                <c:pt idx="8">
                  <c:v>0.6114981342864455</c:v>
                </c:pt>
                <c:pt idx="9">
                  <c:v>0.6221859435220316</c:v>
                </c:pt>
                <c:pt idx="10">
                  <c:v>0.6323014470421914</c:v>
                </c:pt>
                <c:pt idx="11">
                  <c:v>0.6418894145247941</c:v>
                </c:pt>
                <c:pt idx="12">
                  <c:v>0.6509900647274677</c:v>
                </c:pt>
                <c:pt idx="13">
                  <c:v>0.659639629418236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14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1</c:f>
              <c:strCache>
                <c:ptCount val="20"/>
                <c:pt idx="0">
                  <c:v>8.57</c:v>
                </c:pt>
                <c:pt idx="1">
                  <c:v>8.77</c:v>
                </c:pt>
                <c:pt idx="2">
                  <c:v>8.97</c:v>
                </c:pt>
                <c:pt idx="3">
                  <c:v>9.17</c:v>
                </c:pt>
                <c:pt idx="4">
                  <c:v>9.37</c:v>
                </c:pt>
                <c:pt idx="5">
                  <c:v>9.57</c:v>
                </c:pt>
                <c:pt idx="6">
                  <c:v>9.77</c:v>
                </c:pt>
                <c:pt idx="7">
                  <c:v>9.97</c:v>
                </c:pt>
                <c:pt idx="8">
                  <c:v>10.17</c:v>
                </c:pt>
                <c:pt idx="9">
                  <c:v>10.37</c:v>
                </c:pt>
                <c:pt idx="10">
                  <c:v>10.57</c:v>
                </c:pt>
                <c:pt idx="11">
                  <c:v>10.77</c:v>
                </c:pt>
                <c:pt idx="12">
                  <c:v>10.97</c:v>
                </c:pt>
                <c:pt idx="13">
                  <c:v>11.17</c:v>
                </c:pt>
                <c:pt idx="14">
                  <c:v>11.37</c:v>
                </c:pt>
                <c:pt idx="15">
                  <c:v>11.57</c:v>
                </c:pt>
                <c:pt idx="16">
                  <c:v>11.77</c:v>
                </c:pt>
                <c:pt idx="17">
                  <c:v>11.97</c:v>
                </c:pt>
                <c:pt idx="18">
                  <c:v>12.17</c:v>
                </c:pt>
                <c:pt idx="19">
                  <c:v>12.37</c:v>
                </c:pt>
              </c:strCache>
            </c:strRef>
          </c:cat>
          <c:val>
            <c:numRef>
              <c:f>Sheet1!$B$2:$B$21</c:f>
              <c:numCache>
                <c:formatCode>General</c:formatCode>
                <c:ptCount val="20"/>
                <c:pt idx="0">
                  <c:v>113.07584276062437</c:v>
                </c:pt>
                <c:pt idx="1">
                  <c:v>109.71939058953923</c:v>
                </c:pt>
                <c:pt idx="2">
                  <c:v>106.63959774196195</c:v>
                </c:pt>
                <c:pt idx="3">
                  <c:v>105.23156872976855</c:v>
                </c:pt>
                <c:pt idx="4">
                  <c:v>103.86530141310315</c:v>
                </c:pt>
                <c:pt idx="5">
                  <c:v>102.5390446131382</c:v>
                </c:pt>
                <c:pt idx="6">
                  <c:v>101.2511366925259</c:v>
                </c:pt>
                <c:pt idx="7">
                  <c:v>100.0</c:v>
                </c:pt>
                <c:pt idx="8">
                  <c:v>93.57456108987296</c:v>
                </c:pt>
                <c:pt idx="9">
                  <c:v>88.26317242733165</c:v>
                </c:pt>
                <c:pt idx="10">
                  <c:v>83.81095301759765</c:v>
                </c:pt>
                <c:pt idx="11">
                  <c:v>80.02570652132476</c:v>
                </c:pt>
                <c:pt idx="12">
                  <c:v>76.76366027796611</c:v>
                </c:pt>
                <c:pt idx="13">
                  <c:v>74.57520855445343</c:v>
                </c:pt>
                <c:pt idx="14">
                  <c:v>72.5413248150112</c:v>
                </c:pt>
                <c:pt idx="15">
                  <c:v>70.64584202726284</c:v>
                </c:pt>
                <c:pt idx="16">
                  <c:v>68.87461868564925</c:v>
                </c:pt>
                <c:pt idx="17">
                  <c:v>67.21526125238438</c:v>
                </c:pt>
                <c:pt idx="18">
                  <c:v>65.65688571737287</c:v>
                </c:pt>
                <c:pt idx="19">
                  <c:v>64.18991309175921</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1</c:f>
              <c:strCache>
                <c:ptCount val="20"/>
                <c:pt idx="0">
                  <c:v>8.57</c:v>
                </c:pt>
                <c:pt idx="1">
                  <c:v>8.77</c:v>
                </c:pt>
                <c:pt idx="2">
                  <c:v>8.97</c:v>
                </c:pt>
                <c:pt idx="3">
                  <c:v>9.17</c:v>
                </c:pt>
                <c:pt idx="4">
                  <c:v>9.37</c:v>
                </c:pt>
                <c:pt idx="5">
                  <c:v>9.57</c:v>
                </c:pt>
                <c:pt idx="6">
                  <c:v>9.77</c:v>
                </c:pt>
                <c:pt idx="7">
                  <c:v>9.97</c:v>
                </c:pt>
                <c:pt idx="8">
                  <c:v>10.17</c:v>
                </c:pt>
                <c:pt idx="9">
                  <c:v>10.37</c:v>
                </c:pt>
                <c:pt idx="10">
                  <c:v>10.57</c:v>
                </c:pt>
                <c:pt idx="11">
                  <c:v>10.77</c:v>
                </c:pt>
                <c:pt idx="12">
                  <c:v>10.97</c:v>
                </c:pt>
                <c:pt idx="13">
                  <c:v>11.17</c:v>
                </c:pt>
                <c:pt idx="14">
                  <c:v>11.37</c:v>
                </c:pt>
                <c:pt idx="15">
                  <c:v>11.57</c:v>
                </c:pt>
                <c:pt idx="16">
                  <c:v>11.77</c:v>
                </c:pt>
                <c:pt idx="17">
                  <c:v>11.97</c:v>
                </c:pt>
                <c:pt idx="18">
                  <c:v>12.17</c:v>
                </c:pt>
                <c:pt idx="19">
                  <c:v>12.37</c:v>
                </c:pt>
              </c:strCache>
            </c:strRef>
          </c:cat>
          <c:val>
            <c:numRef>
              <c:f>Sheet1!$C$2:$C$21</c:f>
              <c:numCache>
                <c:formatCode>General</c:formatCode>
                <c:ptCount val="20"/>
                <c:pt idx="0">
                  <c:v>97.21622265026588</c:v>
                </c:pt>
                <c:pt idx="1">
                  <c:v>96.52943651204436</c:v>
                </c:pt>
                <c:pt idx="2">
                  <c:v>95.95704118325304</c:v>
                </c:pt>
                <c:pt idx="3">
                  <c:v>96.79846915593987</c:v>
                </c:pt>
                <c:pt idx="4">
                  <c:v>97.62267247910978</c:v>
                </c:pt>
                <c:pt idx="5">
                  <c:v>98.43048378776076</c:v>
                </c:pt>
                <c:pt idx="6">
                  <c:v>99.22268284871748</c:v>
                </c:pt>
                <c:pt idx="7">
                  <c:v>100.0</c:v>
                </c:pt>
                <c:pt idx="8">
                  <c:v>95.45110665320229</c:v>
                </c:pt>
                <c:pt idx="9">
                  <c:v>91.80311468756952</c:v>
                </c:pt>
                <c:pt idx="10">
                  <c:v>88.8528577499059</c:v>
                </c:pt>
                <c:pt idx="11">
                  <c:v>86.44443312532393</c:v>
                </c:pt>
                <c:pt idx="12">
                  <c:v>84.4597958980572</c:v>
                </c:pt>
                <c:pt idx="13">
                  <c:v>83.546618728831</c:v>
                </c:pt>
                <c:pt idx="14">
                  <c:v>82.7219778369474</c:v>
                </c:pt>
                <c:pt idx="15">
                  <c:v>81.97640564995903</c:v>
                </c:pt>
                <c:pt idx="16">
                  <c:v>81.30152989127416</c:v>
                </c:pt>
                <c:pt idx="17">
                  <c:v>80.68994325565795</c:v>
                </c:pt>
                <c:pt idx="18">
                  <c:v>80.13508747853265</c:v>
                </c:pt>
                <c:pt idx="19">
                  <c:v>79.63115084796998</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1</c:f>
              <c:strCache>
                <c:ptCount val="20"/>
                <c:pt idx="0">
                  <c:v>8.57</c:v>
                </c:pt>
                <c:pt idx="1">
                  <c:v>8.77</c:v>
                </c:pt>
                <c:pt idx="2">
                  <c:v>8.97</c:v>
                </c:pt>
                <c:pt idx="3">
                  <c:v>9.17</c:v>
                </c:pt>
                <c:pt idx="4">
                  <c:v>9.37</c:v>
                </c:pt>
                <c:pt idx="5">
                  <c:v>9.57</c:v>
                </c:pt>
                <c:pt idx="6">
                  <c:v>9.77</c:v>
                </c:pt>
                <c:pt idx="7">
                  <c:v>9.97</c:v>
                </c:pt>
                <c:pt idx="8">
                  <c:v>10.17</c:v>
                </c:pt>
                <c:pt idx="9">
                  <c:v>10.37</c:v>
                </c:pt>
                <c:pt idx="10">
                  <c:v>10.57</c:v>
                </c:pt>
                <c:pt idx="11">
                  <c:v>10.77</c:v>
                </c:pt>
                <c:pt idx="12">
                  <c:v>10.97</c:v>
                </c:pt>
                <c:pt idx="13">
                  <c:v>11.17</c:v>
                </c:pt>
                <c:pt idx="14">
                  <c:v>11.37</c:v>
                </c:pt>
                <c:pt idx="15">
                  <c:v>11.57</c:v>
                </c:pt>
                <c:pt idx="16">
                  <c:v>11.77</c:v>
                </c:pt>
                <c:pt idx="17">
                  <c:v>11.97</c:v>
                </c:pt>
                <c:pt idx="18">
                  <c:v>12.17</c:v>
                </c:pt>
                <c:pt idx="19">
                  <c:v>12.37</c:v>
                </c:pt>
              </c:strCache>
            </c:strRef>
          </c:cat>
          <c:val>
            <c:numRef>
              <c:f>Sheet1!$D$2:$D$21</c:f>
              <c:numCache>
                <c:formatCode>General</c:formatCode>
                <c:ptCount val="20"/>
                <c:pt idx="0">
                  <c:v>86.75436239064821</c:v>
                </c:pt>
                <c:pt idx="1">
                  <c:v>87.82781222103793</c:v>
                </c:pt>
                <c:pt idx="2">
                  <c:v>88.9086912099295</c:v>
                </c:pt>
                <c:pt idx="3">
                  <c:v>91.23413326395581</c:v>
                </c:pt>
                <c:pt idx="4">
                  <c:v>93.50352591728777</c:v>
                </c:pt>
                <c:pt idx="5">
                  <c:v>95.71940067442502</c:v>
                </c:pt>
                <c:pt idx="6">
                  <c:v>97.88414266972151</c:v>
                </c:pt>
                <c:pt idx="7">
                  <c:v>100.0</c:v>
                </c:pt>
                <c:pt idx="8">
                  <c:v>96.68627912255944</c:v>
                </c:pt>
                <c:pt idx="9">
                  <c:v>94.1333598386402</c:v>
                </c:pt>
                <c:pt idx="10">
                  <c:v>92.17207330939432</c:v>
                </c:pt>
                <c:pt idx="11">
                  <c:v>90.67037024875458</c:v>
                </c:pt>
                <c:pt idx="12">
                  <c:v>89.5271113249099</c:v>
                </c:pt>
                <c:pt idx="13">
                  <c:v>89.45470263152677</c:v>
                </c:pt>
                <c:pt idx="14">
                  <c:v>89.42729276815267</c:v>
                </c:pt>
                <c:pt idx="15">
                  <c:v>89.43983372844092</c:v>
                </c:pt>
                <c:pt idx="16">
                  <c:v>89.48775877587438</c:v>
                </c:pt>
                <c:pt idx="17">
                  <c:v>89.56694936876232</c:v>
                </c:pt>
                <c:pt idx="18">
                  <c:v>89.67370013412646</c:v>
                </c:pt>
                <c:pt idx="19">
                  <c:v>89.80468374196195</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1</c:f>
              <c:strCache>
                <c:ptCount val="20"/>
                <c:pt idx="0">
                  <c:v>8.57</c:v>
                </c:pt>
                <c:pt idx="1">
                  <c:v>8.77</c:v>
                </c:pt>
                <c:pt idx="2">
                  <c:v>8.97</c:v>
                </c:pt>
                <c:pt idx="3">
                  <c:v>9.17</c:v>
                </c:pt>
                <c:pt idx="4">
                  <c:v>9.37</c:v>
                </c:pt>
                <c:pt idx="5">
                  <c:v>9.57</c:v>
                </c:pt>
                <c:pt idx="6">
                  <c:v>9.77</c:v>
                </c:pt>
                <c:pt idx="7">
                  <c:v>9.97</c:v>
                </c:pt>
                <c:pt idx="8">
                  <c:v>10.17</c:v>
                </c:pt>
                <c:pt idx="9">
                  <c:v>10.37</c:v>
                </c:pt>
                <c:pt idx="10">
                  <c:v>10.57</c:v>
                </c:pt>
                <c:pt idx="11">
                  <c:v>10.77</c:v>
                </c:pt>
                <c:pt idx="12">
                  <c:v>10.97</c:v>
                </c:pt>
                <c:pt idx="13">
                  <c:v>11.17</c:v>
                </c:pt>
                <c:pt idx="14">
                  <c:v>11.37</c:v>
                </c:pt>
                <c:pt idx="15">
                  <c:v>11.57</c:v>
                </c:pt>
                <c:pt idx="16">
                  <c:v>11.77</c:v>
                </c:pt>
                <c:pt idx="17">
                  <c:v>11.97</c:v>
                </c:pt>
                <c:pt idx="18">
                  <c:v>12.17</c:v>
                </c:pt>
                <c:pt idx="19">
                  <c:v>12.37</c:v>
                </c:pt>
              </c:strCache>
            </c:strRef>
          </c:cat>
          <c:val>
            <c:numRef>
              <c:f>Sheet1!$E$2:$E$21</c:f>
              <c:numCache>
                <c:formatCode>General</c:formatCode>
                <c:ptCount val="20"/>
                <c:pt idx="0">
                  <c:v>0.5384287293674942</c:v>
                </c:pt>
                <c:pt idx="1">
                  <c:v>0.5489548700888741</c:v>
                </c:pt>
                <c:pt idx="2">
                  <c:v>0.5590116176900141</c:v>
                </c:pt>
                <c:pt idx="3">
                  <c:v>0.5686296849159679</c:v>
                </c:pt>
                <c:pt idx="4">
                  <c:v>0.5778371622923614</c:v>
                </c:pt>
                <c:pt idx="5">
                  <c:v>0.5866597921295116</c:v>
                </c:pt>
                <c:pt idx="6">
                  <c:v>0.5951212088719985</c:v>
                </c:pt>
                <c:pt idx="7">
                  <c:v>0.6032431505195011</c:v>
                </c:pt>
                <c:pt idx="8">
                  <c:v>0.6110456451012216</c:v>
                </c:pt>
                <c:pt idx="9">
                  <c:v>0.6185471755717865</c:v>
                </c:pt>
                <c:pt idx="10">
                  <c:v>0.6257648259867007</c:v>
                </c:pt>
                <c:pt idx="11">
                  <c:v>0.6327144113908473</c:v>
                </c:pt>
                <c:pt idx="12">
                  <c:v>0.6394105934985802</c:v>
                </c:pt>
                <c:pt idx="13">
                  <c:v>0.6458669839462333</c:v>
                </c:pt>
                <c:pt idx="14">
                  <c:v>0.6520962366472669</c:v>
                </c:pt>
                <c:pt idx="15">
                  <c:v>0.6581101305686625</c:v>
                </c:pt>
                <c:pt idx="16">
                  <c:v>0.6639196440679207</c:v>
                </c:pt>
                <c:pt idx="17">
                  <c:v>0.6695350217777297</c:v>
                </c:pt>
                <c:pt idx="18">
                  <c:v>0.6749658348955978</c:v>
                </c:pt>
                <c:pt idx="19">
                  <c:v>0.6802210356248524</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14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1</c:f>
              <c:strCache>
                <c:ptCount val="20"/>
                <c:pt idx="0">
                  <c:v>8.57</c:v>
                </c:pt>
                <c:pt idx="1">
                  <c:v>8.77</c:v>
                </c:pt>
                <c:pt idx="2">
                  <c:v>8.97</c:v>
                </c:pt>
                <c:pt idx="3">
                  <c:v>9.17</c:v>
                </c:pt>
                <c:pt idx="4">
                  <c:v>9.37</c:v>
                </c:pt>
                <c:pt idx="5">
                  <c:v>9.57</c:v>
                </c:pt>
                <c:pt idx="6">
                  <c:v>9.77</c:v>
                </c:pt>
                <c:pt idx="7">
                  <c:v>9.97</c:v>
                </c:pt>
                <c:pt idx="8">
                  <c:v>10.17</c:v>
                </c:pt>
                <c:pt idx="9">
                  <c:v>10.37</c:v>
                </c:pt>
                <c:pt idx="10">
                  <c:v>10.57</c:v>
                </c:pt>
                <c:pt idx="11">
                  <c:v>10.77</c:v>
                </c:pt>
                <c:pt idx="12">
                  <c:v>10.97</c:v>
                </c:pt>
                <c:pt idx="13">
                  <c:v>11.17</c:v>
                </c:pt>
                <c:pt idx="14">
                  <c:v>11.37</c:v>
                </c:pt>
                <c:pt idx="15">
                  <c:v>11.57</c:v>
                </c:pt>
                <c:pt idx="16">
                  <c:v>11.77</c:v>
                </c:pt>
                <c:pt idx="17">
                  <c:v>11.97</c:v>
                </c:pt>
                <c:pt idx="18">
                  <c:v>12.17</c:v>
                </c:pt>
                <c:pt idx="19">
                  <c:v>12.37</c:v>
                </c:pt>
              </c:strCache>
            </c:strRef>
          </c:cat>
          <c:val>
            <c:numRef>
              <c:f>Sheet1!$B$2:$B$21</c:f>
              <c:numCache>
                <c:formatCode>General</c:formatCode>
                <c:ptCount val="20"/>
                <c:pt idx="0">
                  <c:v>109.64607714356373</c:v>
                </c:pt>
                <c:pt idx="1">
                  <c:v>107.3674889522842</c:v>
                </c:pt>
                <c:pt idx="2">
                  <c:v>105.23676736376527</c:v>
                </c:pt>
                <c:pt idx="3">
                  <c:v>104.13500201278919</c:v>
                </c:pt>
                <c:pt idx="4">
                  <c:v>103.06150265616547</c:v>
                </c:pt>
                <c:pt idx="5">
                  <c:v>102.01518440622583</c:v>
                </c:pt>
                <c:pt idx="6">
                  <c:v>100.99501259624286</c:v>
                </c:pt>
                <c:pt idx="7">
                  <c:v>100.0</c:v>
                </c:pt>
                <c:pt idx="8">
                  <c:v>95.58628730594029</c:v>
                </c:pt>
                <c:pt idx="9">
                  <c:v>91.81116912657231</c:v>
                </c:pt>
                <c:pt idx="10">
                  <c:v>88.5633732713011</c:v>
                </c:pt>
                <c:pt idx="11">
                  <c:v>85.74360239291859</c:v>
                </c:pt>
                <c:pt idx="12">
                  <c:v>83.26909267310761</c:v>
                </c:pt>
                <c:pt idx="13">
                  <c:v>81.6113374588061</c:v>
                </c:pt>
                <c:pt idx="14">
                  <c:v>80.046278695106</c:v>
                </c:pt>
                <c:pt idx="15">
                  <c:v>78.5656615172239</c:v>
                </c:pt>
                <c:pt idx="16">
                  <c:v>77.162079414185</c:v>
                </c:pt>
                <c:pt idx="17">
                  <c:v>75.82888919012566</c:v>
                </c:pt>
                <c:pt idx="18">
                  <c:v>74.56013154575429</c:v>
                </c:pt>
                <c:pt idx="19">
                  <c:v>73.350458344796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1</c:f>
              <c:strCache>
                <c:ptCount val="20"/>
                <c:pt idx="0">
                  <c:v>8.57</c:v>
                </c:pt>
                <c:pt idx="1">
                  <c:v>8.77</c:v>
                </c:pt>
                <c:pt idx="2">
                  <c:v>8.97</c:v>
                </c:pt>
                <c:pt idx="3">
                  <c:v>9.17</c:v>
                </c:pt>
                <c:pt idx="4">
                  <c:v>9.37</c:v>
                </c:pt>
                <c:pt idx="5">
                  <c:v>9.57</c:v>
                </c:pt>
                <c:pt idx="6">
                  <c:v>9.77</c:v>
                </c:pt>
                <c:pt idx="7">
                  <c:v>9.97</c:v>
                </c:pt>
                <c:pt idx="8">
                  <c:v>10.17</c:v>
                </c:pt>
                <c:pt idx="9">
                  <c:v>10.37</c:v>
                </c:pt>
                <c:pt idx="10">
                  <c:v>10.57</c:v>
                </c:pt>
                <c:pt idx="11">
                  <c:v>10.77</c:v>
                </c:pt>
                <c:pt idx="12">
                  <c:v>10.97</c:v>
                </c:pt>
                <c:pt idx="13">
                  <c:v>11.17</c:v>
                </c:pt>
                <c:pt idx="14">
                  <c:v>11.37</c:v>
                </c:pt>
                <c:pt idx="15">
                  <c:v>11.57</c:v>
                </c:pt>
                <c:pt idx="16">
                  <c:v>11.77</c:v>
                </c:pt>
                <c:pt idx="17">
                  <c:v>11.97</c:v>
                </c:pt>
                <c:pt idx="18">
                  <c:v>12.17</c:v>
                </c:pt>
                <c:pt idx="19">
                  <c:v>12.37</c:v>
                </c:pt>
              </c:strCache>
            </c:strRef>
          </c:cat>
          <c:val>
            <c:numRef>
              <c:f>Sheet1!$C$2:$C$21</c:f>
              <c:numCache>
                <c:formatCode>General</c:formatCode>
                <c:ptCount val="20"/>
                <c:pt idx="0">
                  <c:v>94.37833443026713</c:v>
                </c:pt>
                <c:pt idx="1">
                  <c:v>94.55545400595588</c:v>
                </c:pt>
                <c:pt idx="2">
                  <c:v>94.77464410843255</c:v>
                </c:pt>
                <c:pt idx="3">
                  <c:v>95.85384974838146</c:v>
                </c:pt>
                <c:pt idx="4">
                  <c:v>96.91533800614583</c:v>
                </c:pt>
                <c:pt idx="5">
                  <c:v>97.95977813021578</c:v>
                </c:pt>
                <c:pt idx="6">
                  <c:v>98.98780070724051</c:v>
                </c:pt>
                <c:pt idx="7">
                  <c:v>100.0</c:v>
                </c:pt>
                <c:pt idx="8">
                  <c:v>97.49391120682323</c:v>
                </c:pt>
                <c:pt idx="9">
                  <c:v>95.47522456413809</c:v>
                </c:pt>
                <c:pt idx="10">
                  <c:v>93.86427838542203</c:v>
                </c:pt>
                <c:pt idx="11">
                  <c:v>92.58547521050518</c:v>
                </c:pt>
                <c:pt idx="12">
                  <c:v>91.57347852068644</c:v>
                </c:pt>
                <c:pt idx="13">
                  <c:v>91.37466152325328</c:v>
                </c:pt>
                <c:pt idx="14">
                  <c:v>91.21540389254999</c:v>
                </c:pt>
                <c:pt idx="15">
                  <c:v>91.09166881836077</c:v>
                </c:pt>
                <c:pt idx="16">
                  <c:v>90.99976398380326</c:v>
                </c:pt>
                <c:pt idx="17">
                  <c:v>90.93632373471344</c:v>
                </c:pt>
                <c:pt idx="18">
                  <c:v>90.89828800067181</c:v>
                </c:pt>
                <c:pt idx="19">
                  <c:v>90.8828800585827</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1</c:f>
              <c:strCache>
                <c:ptCount val="20"/>
                <c:pt idx="0">
                  <c:v>8.57</c:v>
                </c:pt>
                <c:pt idx="1">
                  <c:v>8.77</c:v>
                </c:pt>
                <c:pt idx="2">
                  <c:v>8.97</c:v>
                </c:pt>
                <c:pt idx="3">
                  <c:v>9.17</c:v>
                </c:pt>
                <c:pt idx="4">
                  <c:v>9.37</c:v>
                </c:pt>
                <c:pt idx="5">
                  <c:v>9.57</c:v>
                </c:pt>
                <c:pt idx="6">
                  <c:v>9.77</c:v>
                </c:pt>
                <c:pt idx="7">
                  <c:v>9.97</c:v>
                </c:pt>
                <c:pt idx="8">
                  <c:v>10.17</c:v>
                </c:pt>
                <c:pt idx="9">
                  <c:v>10.37</c:v>
                </c:pt>
                <c:pt idx="10">
                  <c:v>10.57</c:v>
                </c:pt>
                <c:pt idx="11">
                  <c:v>10.77</c:v>
                </c:pt>
                <c:pt idx="12">
                  <c:v>10.97</c:v>
                </c:pt>
                <c:pt idx="13">
                  <c:v>11.17</c:v>
                </c:pt>
                <c:pt idx="14">
                  <c:v>11.37</c:v>
                </c:pt>
                <c:pt idx="15">
                  <c:v>11.57</c:v>
                </c:pt>
                <c:pt idx="16">
                  <c:v>11.77</c:v>
                </c:pt>
                <c:pt idx="17">
                  <c:v>11.97</c:v>
                </c:pt>
                <c:pt idx="18">
                  <c:v>12.17</c:v>
                </c:pt>
                <c:pt idx="19">
                  <c:v>12.37</c:v>
                </c:pt>
              </c:strCache>
            </c:strRef>
          </c:cat>
          <c:val>
            <c:numRef>
              <c:f>Sheet1!$D$2:$D$21</c:f>
              <c:numCache>
                <c:formatCode>General</c:formatCode>
                <c:ptCount val="20"/>
                <c:pt idx="0">
                  <c:v>84.54289091176652</c:v>
                </c:pt>
                <c:pt idx="1">
                  <c:v>86.29762379581143</c:v>
                </c:pt>
                <c:pt idx="2">
                  <c:v>88.02699154696721</c:v>
                </c:pt>
                <c:pt idx="3">
                  <c:v>90.51132212055424</c:v>
                </c:pt>
                <c:pt idx="4">
                  <c:v>92.94907483942708</c:v>
                </c:pt>
                <c:pt idx="5">
                  <c:v>95.34200925073365</c:v>
                </c:pt>
                <c:pt idx="6">
                  <c:v>97.69179154729517</c:v>
                </c:pt>
                <c:pt idx="7">
                  <c:v>100.0</c:v>
                </c:pt>
                <c:pt idx="8">
                  <c:v>98.71260639935953</c:v>
                </c:pt>
                <c:pt idx="9">
                  <c:v>97.81686343941558</c:v>
                </c:pt>
                <c:pt idx="10">
                  <c:v>97.25323996576188</c:v>
                </c:pt>
                <c:pt idx="11">
                  <c:v>96.96118888381558</c:v>
                </c:pt>
                <c:pt idx="12">
                  <c:v>96.88640963628323</c:v>
                </c:pt>
                <c:pt idx="13">
                  <c:v>97.62679886407965</c:v>
                </c:pt>
                <c:pt idx="14">
                  <c:v>98.37266750530101</c:v>
                </c:pt>
                <c:pt idx="15">
                  <c:v>99.12269618076351</c:v>
                </c:pt>
                <c:pt idx="16">
                  <c:v>99.87558362735214</c:v>
                </c:pt>
                <c:pt idx="17">
                  <c:v>100.6300725804893</c:v>
                </c:pt>
                <c:pt idx="18">
                  <c:v>101.38496661070403</c:v>
                </c:pt>
                <c:pt idx="19">
                  <c:v>102.13914068377072</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1</c:f>
              <c:strCache>
                <c:ptCount val="20"/>
                <c:pt idx="0">
                  <c:v>8.57</c:v>
                </c:pt>
                <c:pt idx="1">
                  <c:v>8.77</c:v>
                </c:pt>
                <c:pt idx="2">
                  <c:v>8.97</c:v>
                </c:pt>
                <c:pt idx="3">
                  <c:v>9.17</c:v>
                </c:pt>
                <c:pt idx="4">
                  <c:v>9.37</c:v>
                </c:pt>
                <c:pt idx="5">
                  <c:v>9.57</c:v>
                </c:pt>
                <c:pt idx="6">
                  <c:v>9.77</c:v>
                </c:pt>
                <c:pt idx="7">
                  <c:v>9.97</c:v>
                </c:pt>
                <c:pt idx="8">
                  <c:v>10.17</c:v>
                </c:pt>
                <c:pt idx="9">
                  <c:v>10.37</c:v>
                </c:pt>
                <c:pt idx="10">
                  <c:v>10.57</c:v>
                </c:pt>
                <c:pt idx="11">
                  <c:v>10.77</c:v>
                </c:pt>
                <c:pt idx="12">
                  <c:v>10.97</c:v>
                </c:pt>
                <c:pt idx="13">
                  <c:v>11.17</c:v>
                </c:pt>
                <c:pt idx="14">
                  <c:v>11.37</c:v>
                </c:pt>
                <c:pt idx="15">
                  <c:v>11.57</c:v>
                </c:pt>
                <c:pt idx="16">
                  <c:v>11.77</c:v>
                </c:pt>
                <c:pt idx="17">
                  <c:v>11.97</c:v>
                </c:pt>
                <c:pt idx="18">
                  <c:v>12.17</c:v>
                </c:pt>
                <c:pt idx="19">
                  <c:v>12.37</c:v>
                </c:pt>
              </c:strCache>
            </c:strRef>
          </c:cat>
          <c:val>
            <c:numRef>
              <c:f>Sheet1!$E$2:$E$21</c:f>
              <c:numCache>
                <c:formatCode>General</c:formatCode>
                <c:ptCount val="20"/>
                <c:pt idx="0">
                  <c:v>0.5501681692407356</c:v>
                </c:pt>
                <c:pt idx="1">
                  <c:v>0.5604265918350176</c:v>
                </c:pt>
                <c:pt idx="2">
                  <c:v>0.5702275596870798</c:v>
                </c:pt>
                <c:pt idx="3">
                  <c:v>0.5796010044049188</c:v>
                </c:pt>
                <c:pt idx="4">
                  <c:v>0.5885743020697017</c:v>
                </c:pt>
                <c:pt idx="5">
                  <c:v>0.5971725402709619</c:v>
                </c:pt>
                <c:pt idx="6">
                  <c:v>0.6054187523432043</c:v>
                </c:pt>
                <c:pt idx="7">
                  <c:v>0.6133341234095392</c:v>
                </c:pt>
                <c:pt idx="8">
                  <c:v>0.6209381721133831</c:v>
                </c:pt>
                <c:pt idx="9">
                  <c:v>0.6282489113204537</c:v>
                </c:pt>
                <c:pt idx="10">
                  <c:v>0.6352829905764528</c:v>
                </c:pt>
                <c:pt idx="11">
                  <c:v>0.6420558226920245</c:v>
                </c:pt>
                <c:pt idx="12">
                  <c:v>0.6485816964806841</c:v>
                </c:pt>
                <c:pt idx="13">
                  <c:v>0.6548738773852378</c:v>
                </c:pt>
                <c:pt idx="14">
                  <c:v>0.6609446974840023</c:v>
                </c:pt>
                <c:pt idx="15">
                  <c:v>0.6668056361618931</c:v>
                </c:pt>
                <c:pt idx="16">
                  <c:v>0.6724673925567635</c:v>
                </c:pt>
                <c:pt idx="17">
                  <c:v>0.6779399507429495</c:v>
                </c:pt>
                <c:pt idx="18">
                  <c:v>0.6832326384875189</c:v>
                </c:pt>
                <c:pt idx="19">
                  <c:v>0.6883541803066374</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3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1</c:f>
              <c:strCache>
                <c:ptCount val="20"/>
                <c:pt idx="0">
                  <c:v>8.57</c:v>
                </c:pt>
                <c:pt idx="1">
                  <c:v>8.77</c:v>
                </c:pt>
                <c:pt idx="2">
                  <c:v>8.97</c:v>
                </c:pt>
                <c:pt idx="3">
                  <c:v>9.17</c:v>
                </c:pt>
                <c:pt idx="4">
                  <c:v>9.37</c:v>
                </c:pt>
                <c:pt idx="5">
                  <c:v>9.57</c:v>
                </c:pt>
                <c:pt idx="6">
                  <c:v>9.77</c:v>
                </c:pt>
                <c:pt idx="7">
                  <c:v>9.97</c:v>
                </c:pt>
                <c:pt idx="8">
                  <c:v>10.17</c:v>
                </c:pt>
                <c:pt idx="9">
                  <c:v>10.37</c:v>
                </c:pt>
                <c:pt idx="10">
                  <c:v>10.57</c:v>
                </c:pt>
                <c:pt idx="11">
                  <c:v>10.77</c:v>
                </c:pt>
                <c:pt idx="12">
                  <c:v>10.97</c:v>
                </c:pt>
                <c:pt idx="13">
                  <c:v>11.17</c:v>
                </c:pt>
                <c:pt idx="14">
                  <c:v>11.37</c:v>
                </c:pt>
                <c:pt idx="15">
                  <c:v>11.57</c:v>
                </c:pt>
                <c:pt idx="16">
                  <c:v>11.77</c:v>
                </c:pt>
                <c:pt idx="17">
                  <c:v>11.97</c:v>
                </c:pt>
                <c:pt idx="18">
                  <c:v>12.17</c:v>
                </c:pt>
                <c:pt idx="19">
                  <c:v>12.37</c:v>
                </c:pt>
              </c:strCache>
            </c:strRef>
          </c:cat>
          <c:val>
            <c:numRef>
              <c:f>Sheet1!$B$2:$B$21</c:f>
              <c:numCache>
                <c:formatCode>General</c:formatCode>
                <c:ptCount val="20"/>
                <c:pt idx="0">
                  <c:v>109.16936575168714</c:v>
                </c:pt>
                <c:pt idx="1">
                  <c:v>107.08980967699905</c:v>
                </c:pt>
                <c:pt idx="2">
                  <c:v>105.14150865856082</c:v>
                </c:pt>
                <c:pt idx="3">
                  <c:v>104.06128068082054</c:v>
                </c:pt>
                <c:pt idx="4">
                  <c:v>103.00803138964876</c:v>
                </c:pt>
                <c:pt idx="5">
                  <c:v>101.98072143394432</c:v>
                </c:pt>
                <c:pt idx="6">
                  <c:v>100.97835952611425</c:v>
                </c:pt>
                <c:pt idx="7">
                  <c:v>100.0</c:v>
                </c:pt>
                <c:pt idx="8">
                  <c:v>95.4648838054389</c:v>
                </c:pt>
                <c:pt idx="9">
                  <c:v>91.55689555919366</c:v>
                </c:pt>
                <c:pt idx="10">
                  <c:v>88.17041205254019</c:v>
                </c:pt>
                <c:pt idx="11">
                  <c:v>85.2120851923898</c:v>
                </c:pt>
                <c:pt idx="12">
                  <c:v>82.60360875763934</c:v>
                </c:pt>
                <c:pt idx="13">
                  <c:v>80.86868385063298</c:v>
                </c:pt>
                <c:pt idx="14">
                  <c:v>79.2274393419689</c:v>
                </c:pt>
                <c:pt idx="15">
                  <c:v>77.67204000858214</c:v>
                </c:pt>
                <c:pt idx="16">
                  <c:v>76.19542504881605</c:v>
                </c:pt>
                <c:pt idx="17">
                  <c:v>74.79123360603172</c:v>
                </c:pt>
                <c:pt idx="18">
                  <c:v>73.453734686628</c:v>
                </c:pt>
                <c:pt idx="19">
                  <c:v>72.17776230773109</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1</c:f>
              <c:strCache>
                <c:ptCount val="20"/>
                <c:pt idx="0">
                  <c:v>8.57</c:v>
                </c:pt>
                <c:pt idx="1">
                  <c:v>8.77</c:v>
                </c:pt>
                <c:pt idx="2">
                  <c:v>8.97</c:v>
                </c:pt>
                <c:pt idx="3">
                  <c:v>9.17</c:v>
                </c:pt>
                <c:pt idx="4">
                  <c:v>9.37</c:v>
                </c:pt>
                <c:pt idx="5">
                  <c:v>9.57</c:v>
                </c:pt>
                <c:pt idx="6">
                  <c:v>9.77</c:v>
                </c:pt>
                <c:pt idx="7">
                  <c:v>9.97</c:v>
                </c:pt>
                <c:pt idx="8">
                  <c:v>10.17</c:v>
                </c:pt>
                <c:pt idx="9">
                  <c:v>10.37</c:v>
                </c:pt>
                <c:pt idx="10">
                  <c:v>10.57</c:v>
                </c:pt>
                <c:pt idx="11">
                  <c:v>10.77</c:v>
                </c:pt>
                <c:pt idx="12">
                  <c:v>10.97</c:v>
                </c:pt>
                <c:pt idx="13">
                  <c:v>11.17</c:v>
                </c:pt>
                <c:pt idx="14">
                  <c:v>11.37</c:v>
                </c:pt>
                <c:pt idx="15">
                  <c:v>11.57</c:v>
                </c:pt>
                <c:pt idx="16">
                  <c:v>11.77</c:v>
                </c:pt>
                <c:pt idx="17">
                  <c:v>11.97</c:v>
                </c:pt>
                <c:pt idx="18">
                  <c:v>12.17</c:v>
                </c:pt>
                <c:pt idx="19">
                  <c:v>12.37</c:v>
                </c:pt>
              </c:strCache>
            </c:strRef>
          </c:cat>
          <c:val>
            <c:numRef>
              <c:f>Sheet1!$C$2:$C$21</c:f>
              <c:numCache>
                <c:formatCode>General</c:formatCode>
                <c:ptCount val="20"/>
                <c:pt idx="0">
                  <c:v>93.96963253117157</c:v>
                </c:pt>
                <c:pt idx="1">
                  <c:v>94.31241241457933</c:v>
                </c:pt>
                <c:pt idx="2">
                  <c:v>94.69019317306895</c:v>
                </c:pt>
                <c:pt idx="3">
                  <c:v>95.78707112529813</c:v>
                </c:pt>
                <c:pt idx="4">
                  <c:v>96.86587271792077</c:v>
                </c:pt>
                <c:pt idx="5">
                  <c:v>97.92723432949087</c:v>
                </c:pt>
                <c:pt idx="6">
                  <c:v>98.97175522225633</c:v>
                </c:pt>
                <c:pt idx="7">
                  <c:v>100.0</c:v>
                </c:pt>
                <c:pt idx="8">
                  <c:v>97.37044109579854</c:v>
                </c:pt>
                <c:pt idx="9">
                  <c:v>95.21154901939258</c:v>
                </c:pt>
                <c:pt idx="10">
                  <c:v>93.44897001234716</c:v>
                </c:pt>
                <c:pt idx="11">
                  <c:v>92.01317929088968</c:v>
                </c:pt>
                <c:pt idx="12">
                  <c:v>90.84374352898006</c:v>
                </c:pt>
                <c:pt idx="13">
                  <c:v>90.54551996897955</c:v>
                </c:pt>
                <c:pt idx="14">
                  <c:v>90.2849378043874</c:v>
                </c:pt>
                <c:pt idx="15">
                  <c:v>90.05850267383079</c:v>
                </c:pt>
                <c:pt idx="16">
                  <c:v>89.86301110029368</c:v>
                </c:pt>
                <c:pt idx="17">
                  <c:v>89.69553795998073</c:v>
                </c:pt>
                <c:pt idx="18">
                  <c:v>89.55342046582867</c:v>
                </c:pt>
                <c:pt idx="19">
                  <c:v>89.43424030456933</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1</c:f>
              <c:strCache>
                <c:ptCount val="20"/>
                <c:pt idx="0">
                  <c:v>8.57</c:v>
                </c:pt>
                <c:pt idx="1">
                  <c:v>8.77</c:v>
                </c:pt>
                <c:pt idx="2">
                  <c:v>8.97</c:v>
                </c:pt>
                <c:pt idx="3">
                  <c:v>9.17</c:v>
                </c:pt>
                <c:pt idx="4">
                  <c:v>9.37</c:v>
                </c:pt>
                <c:pt idx="5">
                  <c:v>9.57</c:v>
                </c:pt>
                <c:pt idx="6">
                  <c:v>9.77</c:v>
                </c:pt>
                <c:pt idx="7">
                  <c:v>9.97</c:v>
                </c:pt>
                <c:pt idx="8">
                  <c:v>10.17</c:v>
                </c:pt>
                <c:pt idx="9">
                  <c:v>10.37</c:v>
                </c:pt>
                <c:pt idx="10">
                  <c:v>10.57</c:v>
                </c:pt>
                <c:pt idx="11">
                  <c:v>10.77</c:v>
                </c:pt>
                <c:pt idx="12">
                  <c:v>10.97</c:v>
                </c:pt>
                <c:pt idx="13">
                  <c:v>11.17</c:v>
                </c:pt>
                <c:pt idx="14">
                  <c:v>11.37</c:v>
                </c:pt>
                <c:pt idx="15">
                  <c:v>11.57</c:v>
                </c:pt>
                <c:pt idx="16">
                  <c:v>11.77</c:v>
                </c:pt>
                <c:pt idx="17">
                  <c:v>11.97</c:v>
                </c:pt>
                <c:pt idx="18">
                  <c:v>12.17</c:v>
                </c:pt>
                <c:pt idx="19">
                  <c:v>12.37</c:v>
                </c:pt>
              </c:strCache>
            </c:strRef>
          </c:cat>
          <c:val>
            <c:numRef>
              <c:f>Sheet1!$D$2:$D$21</c:f>
              <c:numCache>
                <c:formatCode>General</c:formatCode>
                <c:ptCount val="20"/>
                <c:pt idx="0">
                  <c:v>81.34691313078683</c:v>
                </c:pt>
                <c:pt idx="1">
                  <c:v>83.69626776108984</c:v>
                </c:pt>
                <c:pt idx="2">
                  <c:v>86.00155891820863</c:v>
                </c:pt>
                <c:pt idx="3">
                  <c:v>88.90663656312518</c:v>
                </c:pt>
                <c:pt idx="4">
                  <c:v>91.75708833887124</c:v>
                </c:pt>
                <c:pt idx="5">
                  <c:v>94.55489729413965</c:v>
                </c:pt>
                <c:pt idx="6">
                  <c:v>97.30194142853982</c:v>
                </c:pt>
                <c:pt idx="7">
                  <c:v>100.0</c:v>
                </c:pt>
                <c:pt idx="8">
                  <c:v>98.94056738905249</c:v>
                </c:pt>
                <c:pt idx="9">
                  <c:v>98.22369881032985</c:v>
                </c:pt>
                <c:pt idx="10">
                  <c:v>97.80073185754907</c:v>
                </c:pt>
                <c:pt idx="11">
                  <c:v>97.62168477802521</c:v>
                </c:pt>
                <c:pt idx="12">
                  <c:v>97.64076144989532</c:v>
                </c:pt>
                <c:pt idx="13">
                  <c:v>98.534276413083</c:v>
                </c:pt>
                <c:pt idx="14">
                  <c:v>99.41901655036826</c:v>
                </c:pt>
                <c:pt idx="15">
                  <c:v>100.29509666374396</c:v>
                </c:pt>
                <c:pt idx="16">
                  <c:v>101.1625186741048</c:v>
                </c:pt>
                <c:pt idx="17">
                  <c:v>102.02121100510202</c:v>
                </c:pt>
                <c:pt idx="18">
                  <c:v>102.87105785210886</c:v>
                </c:pt>
                <c:pt idx="19">
                  <c:v>103.71192065641455</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1</c:f>
              <c:strCache>
                <c:ptCount val="20"/>
                <c:pt idx="0">
                  <c:v>8.57</c:v>
                </c:pt>
                <c:pt idx="1">
                  <c:v>8.77</c:v>
                </c:pt>
                <c:pt idx="2">
                  <c:v>8.97</c:v>
                </c:pt>
                <c:pt idx="3">
                  <c:v>9.17</c:v>
                </c:pt>
                <c:pt idx="4">
                  <c:v>9.37</c:v>
                </c:pt>
                <c:pt idx="5">
                  <c:v>9.57</c:v>
                </c:pt>
                <c:pt idx="6">
                  <c:v>9.77</c:v>
                </c:pt>
                <c:pt idx="7">
                  <c:v>9.97</c:v>
                </c:pt>
                <c:pt idx="8">
                  <c:v>10.17</c:v>
                </c:pt>
                <c:pt idx="9">
                  <c:v>10.37</c:v>
                </c:pt>
                <c:pt idx="10">
                  <c:v>10.57</c:v>
                </c:pt>
                <c:pt idx="11">
                  <c:v>10.77</c:v>
                </c:pt>
                <c:pt idx="12">
                  <c:v>10.97</c:v>
                </c:pt>
                <c:pt idx="13">
                  <c:v>11.17</c:v>
                </c:pt>
                <c:pt idx="14">
                  <c:v>11.37</c:v>
                </c:pt>
                <c:pt idx="15">
                  <c:v>11.57</c:v>
                </c:pt>
                <c:pt idx="16">
                  <c:v>11.77</c:v>
                </c:pt>
                <c:pt idx="17">
                  <c:v>11.97</c:v>
                </c:pt>
                <c:pt idx="18">
                  <c:v>12.17</c:v>
                </c:pt>
                <c:pt idx="19">
                  <c:v>12.37</c:v>
                </c:pt>
              </c:strCache>
            </c:strRef>
          </c:cat>
          <c:val>
            <c:numRef>
              <c:f>Sheet1!$E$2:$E$21</c:f>
              <c:numCache>
                <c:formatCode>General</c:formatCode>
                <c:ptCount val="20"/>
                <c:pt idx="0">
                  <c:v>0.47763141057261504</c:v>
                </c:pt>
                <c:pt idx="1">
                  <c:v>0.4895440351889751</c:v>
                </c:pt>
                <c:pt idx="2">
                  <c:v>0.5009254390866569</c:v>
                </c:pt>
                <c:pt idx="3">
                  <c:v>0.5118103804370023</c:v>
                </c:pt>
                <c:pt idx="4">
                  <c:v>0.5222306497980055</c:v>
                </c:pt>
                <c:pt idx="5">
                  <c:v>0.5322153802097505</c:v>
                </c:pt>
                <c:pt idx="6">
                  <c:v>0.5417913192023861</c:v>
                </c:pt>
                <c:pt idx="7">
                  <c:v>0.550983068064926</c:v>
                </c:pt>
                <c:pt idx="8">
                  <c:v>0.5598132928817415</c:v>
                </c:pt>
                <c:pt idx="9">
                  <c:v>0.568302911148246</c:v>
                </c:pt>
                <c:pt idx="10">
                  <c:v>0.5764712572003132</c:v>
                </c:pt>
                <c:pt idx="11">
                  <c:v>0.5843362292114496</c:v>
                </c:pt>
                <c:pt idx="12">
                  <c:v>0.5919144201100558</c:v>
                </c:pt>
                <c:pt idx="13">
                  <c:v>0.5992212344321676</c:v>
                </c:pt>
                <c:pt idx="14">
                  <c:v>0.6062709928414524</c:v>
                </c:pt>
                <c:pt idx="15">
                  <c:v>0.6130770258087563</c:v>
                </c:pt>
                <c:pt idx="16">
                  <c:v>0.6196517577406382</c:v>
                </c:pt>
                <c:pt idx="17">
                  <c:v>0.6260067826739608</c:v>
                </c:pt>
                <c:pt idx="18">
                  <c:v>0.6321529325067635</c:v>
                </c:pt>
                <c:pt idx="19">
                  <c:v>0.6381003386101303</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3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1</c:f>
              <c:strCache>
                <c:ptCount val="20"/>
                <c:pt idx="0">
                  <c:v>8.57</c:v>
                </c:pt>
                <c:pt idx="1">
                  <c:v>8.77</c:v>
                </c:pt>
                <c:pt idx="2">
                  <c:v>8.97</c:v>
                </c:pt>
                <c:pt idx="3">
                  <c:v>9.17</c:v>
                </c:pt>
                <c:pt idx="4">
                  <c:v>9.37</c:v>
                </c:pt>
                <c:pt idx="5">
                  <c:v>9.57</c:v>
                </c:pt>
                <c:pt idx="6">
                  <c:v>9.77</c:v>
                </c:pt>
                <c:pt idx="7">
                  <c:v>9.97</c:v>
                </c:pt>
                <c:pt idx="8">
                  <c:v>10.17</c:v>
                </c:pt>
                <c:pt idx="9">
                  <c:v>10.37</c:v>
                </c:pt>
                <c:pt idx="10">
                  <c:v>10.57</c:v>
                </c:pt>
                <c:pt idx="11">
                  <c:v>10.77</c:v>
                </c:pt>
                <c:pt idx="12">
                  <c:v>10.97</c:v>
                </c:pt>
                <c:pt idx="13">
                  <c:v>11.17</c:v>
                </c:pt>
                <c:pt idx="14">
                  <c:v>11.37</c:v>
                </c:pt>
                <c:pt idx="15">
                  <c:v>11.57</c:v>
                </c:pt>
                <c:pt idx="16">
                  <c:v>11.77</c:v>
                </c:pt>
                <c:pt idx="17">
                  <c:v>11.97</c:v>
                </c:pt>
                <c:pt idx="18">
                  <c:v>12.17</c:v>
                </c:pt>
                <c:pt idx="19">
                  <c:v>12.37</c:v>
                </c:pt>
              </c:strCache>
            </c:strRef>
          </c:cat>
          <c:val>
            <c:numRef>
              <c:f>Sheet1!$B$2:$B$21</c:f>
              <c:numCache>
                <c:formatCode>General</c:formatCode>
                <c:ptCount val="20"/>
                <c:pt idx="0">
                  <c:v>108.08828653903211</c:v>
                </c:pt>
                <c:pt idx="1">
                  <c:v>106.33114046680276</c:v>
                </c:pt>
                <c:pt idx="2">
                  <c:v>104.6714124173679</c:v>
                </c:pt>
                <c:pt idx="3">
                  <c:v>103.69327079665463</c:v>
                </c:pt>
                <c:pt idx="4">
                  <c:v>102.73780981523284</c:v>
                </c:pt>
                <c:pt idx="5">
                  <c:v>101.80426579388006</c:v>
                </c:pt>
                <c:pt idx="6">
                  <c:v>100.89190042112624</c:v>
                </c:pt>
                <c:pt idx="7">
                  <c:v>100.0</c:v>
                </c:pt>
                <c:pt idx="8">
                  <c:v>95.87445356741577</c:v>
                </c:pt>
                <c:pt idx="9">
                  <c:v>92.24578484399714</c:v>
                </c:pt>
                <c:pt idx="10">
                  <c:v>89.0581829237007</c:v>
                </c:pt>
                <c:pt idx="11">
                  <c:v>86.25108715013913</c:v>
                </c:pt>
                <c:pt idx="12">
                  <c:v>83.76541733129119</c:v>
                </c:pt>
                <c:pt idx="13">
                  <c:v>82.3087946908826</c:v>
                </c:pt>
                <c:pt idx="14">
                  <c:v>80.92675050788942</c:v>
                </c:pt>
                <c:pt idx="15">
                  <c:v>79.61322336253535</c:v>
                </c:pt>
                <c:pt idx="16">
                  <c:v>78.36269269755493</c:v>
                </c:pt>
                <c:pt idx="17">
                  <c:v>77.17014643955713</c:v>
                </c:pt>
                <c:pt idx="18">
                  <c:v>76.03104404453954</c:v>
                </c:pt>
                <c:pt idx="19">
                  <c:v>74.94127756930334</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1</c:f>
              <c:strCache>
                <c:ptCount val="20"/>
                <c:pt idx="0">
                  <c:v>8.57</c:v>
                </c:pt>
                <c:pt idx="1">
                  <c:v>8.77</c:v>
                </c:pt>
                <c:pt idx="2">
                  <c:v>8.97</c:v>
                </c:pt>
                <c:pt idx="3">
                  <c:v>9.17</c:v>
                </c:pt>
                <c:pt idx="4">
                  <c:v>9.37</c:v>
                </c:pt>
                <c:pt idx="5">
                  <c:v>9.57</c:v>
                </c:pt>
                <c:pt idx="6">
                  <c:v>9.77</c:v>
                </c:pt>
                <c:pt idx="7">
                  <c:v>9.97</c:v>
                </c:pt>
                <c:pt idx="8">
                  <c:v>10.17</c:v>
                </c:pt>
                <c:pt idx="9">
                  <c:v>10.37</c:v>
                </c:pt>
                <c:pt idx="10">
                  <c:v>10.57</c:v>
                </c:pt>
                <c:pt idx="11">
                  <c:v>10.77</c:v>
                </c:pt>
                <c:pt idx="12">
                  <c:v>10.97</c:v>
                </c:pt>
                <c:pt idx="13">
                  <c:v>11.17</c:v>
                </c:pt>
                <c:pt idx="14">
                  <c:v>11.37</c:v>
                </c:pt>
                <c:pt idx="15">
                  <c:v>11.57</c:v>
                </c:pt>
                <c:pt idx="16">
                  <c:v>11.77</c:v>
                </c:pt>
                <c:pt idx="17">
                  <c:v>11.97</c:v>
                </c:pt>
                <c:pt idx="18">
                  <c:v>12.17</c:v>
                </c:pt>
                <c:pt idx="19">
                  <c:v>12.37</c:v>
                </c:pt>
              </c:strCache>
            </c:strRef>
          </c:cat>
          <c:val>
            <c:numRef>
              <c:f>Sheet1!$C$2:$C$21</c:f>
              <c:numCache>
                <c:formatCode>General</c:formatCode>
                <c:ptCount val="20"/>
                <c:pt idx="0">
                  <c:v>93.05760031140049</c:v>
                </c:pt>
                <c:pt idx="1">
                  <c:v>93.65989686200145</c:v>
                </c:pt>
                <c:pt idx="2">
                  <c:v>94.2795721855234</c:v>
                </c:pt>
                <c:pt idx="3">
                  <c:v>95.45861130200774</c:v>
                </c:pt>
                <c:pt idx="4">
                  <c:v>96.61954636935504</c:v>
                </c:pt>
                <c:pt idx="5">
                  <c:v>97.76302320881</c:v>
                </c:pt>
                <c:pt idx="6">
                  <c:v>98.88965016573292</c:v>
                </c:pt>
                <c:pt idx="7">
                  <c:v>100.0</c:v>
                </c:pt>
                <c:pt idx="8">
                  <c:v>97.78451289833049</c:v>
                </c:pt>
                <c:pt idx="9">
                  <c:v>95.92108719931787</c:v>
                </c:pt>
                <c:pt idx="10">
                  <c:v>94.38025094567645</c:v>
                </c:pt>
                <c:pt idx="11">
                  <c:v>93.12297077527863</c:v>
                </c:pt>
                <c:pt idx="12">
                  <c:v>92.10702880295547</c:v>
                </c:pt>
                <c:pt idx="13">
                  <c:v>92.14096514020149</c:v>
                </c:pt>
                <c:pt idx="14">
                  <c:v>92.20185332926918</c:v>
                </c:pt>
                <c:pt idx="15">
                  <c:v>92.28711359662914</c:v>
                </c:pt>
                <c:pt idx="16">
                  <c:v>92.39432302514689</c:v>
                </c:pt>
                <c:pt idx="17">
                  <c:v>92.5212302776643</c:v>
                </c:pt>
                <c:pt idx="18">
                  <c:v>92.66576090823239</c:v>
                </c:pt>
                <c:pt idx="19">
                  <c:v>92.8260158473763</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1</c:f>
              <c:strCache>
                <c:ptCount val="20"/>
                <c:pt idx="0">
                  <c:v>8.57</c:v>
                </c:pt>
                <c:pt idx="1">
                  <c:v>8.77</c:v>
                </c:pt>
                <c:pt idx="2">
                  <c:v>8.97</c:v>
                </c:pt>
                <c:pt idx="3">
                  <c:v>9.17</c:v>
                </c:pt>
                <c:pt idx="4">
                  <c:v>9.37</c:v>
                </c:pt>
                <c:pt idx="5">
                  <c:v>9.57</c:v>
                </c:pt>
                <c:pt idx="6">
                  <c:v>9.77</c:v>
                </c:pt>
                <c:pt idx="7">
                  <c:v>9.97</c:v>
                </c:pt>
                <c:pt idx="8">
                  <c:v>10.17</c:v>
                </c:pt>
                <c:pt idx="9">
                  <c:v>10.37</c:v>
                </c:pt>
                <c:pt idx="10">
                  <c:v>10.57</c:v>
                </c:pt>
                <c:pt idx="11">
                  <c:v>10.77</c:v>
                </c:pt>
                <c:pt idx="12">
                  <c:v>10.97</c:v>
                </c:pt>
                <c:pt idx="13">
                  <c:v>11.17</c:v>
                </c:pt>
                <c:pt idx="14">
                  <c:v>11.37</c:v>
                </c:pt>
                <c:pt idx="15">
                  <c:v>11.57</c:v>
                </c:pt>
                <c:pt idx="16">
                  <c:v>11.77</c:v>
                </c:pt>
                <c:pt idx="17">
                  <c:v>11.97</c:v>
                </c:pt>
                <c:pt idx="18">
                  <c:v>12.17</c:v>
                </c:pt>
                <c:pt idx="19">
                  <c:v>12.37</c:v>
                </c:pt>
              </c:strCache>
            </c:strRef>
          </c:cat>
          <c:val>
            <c:numRef>
              <c:f>Sheet1!$D$2:$D$21</c:f>
              <c:numCache>
                <c:formatCode>General</c:formatCode>
                <c:ptCount val="20"/>
                <c:pt idx="0">
                  <c:v>80.14371239133769</c:v>
                </c:pt>
                <c:pt idx="1">
                  <c:v>82.76803398788502</c:v>
                </c:pt>
                <c:pt idx="2">
                  <c:v>85.34198843378294</c:v>
                </c:pt>
                <c:pt idx="3">
                  <c:v>88.37423650307967</c:v>
                </c:pt>
                <c:pt idx="4">
                  <c:v>91.35439973677646</c:v>
                </c:pt>
                <c:pt idx="5">
                  <c:v>94.28428389463524</c:v>
                </c:pt>
                <c:pt idx="6">
                  <c:v>97.1656063457709</c:v>
                </c:pt>
                <c:pt idx="7">
                  <c:v>100.0</c:v>
                </c:pt>
                <c:pt idx="8">
                  <c:v>99.41543561666832</c:v>
                </c:pt>
                <c:pt idx="9">
                  <c:v>99.05970984899612</c:v>
                </c:pt>
                <c:pt idx="10">
                  <c:v>98.9258822535374</c:v>
                </c:pt>
                <c:pt idx="11">
                  <c:v>98.99331576111781</c:v>
                </c:pt>
                <c:pt idx="12">
                  <c:v>99.23418028542326</c:v>
                </c:pt>
                <c:pt idx="13">
                  <c:v>100.54852093606608</c:v>
                </c:pt>
                <c:pt idx="14">
                  <c:v>101.84912473095591</c:v>
                </c:pt>
                <c:pt idx="15">
                  <c:v>103.13640263044321</c:v>
                </c:pt>
                <c:pt idx="16">
                  <c:v>104.41059076252021</c:v>
                </c:pt>
                <c:pt idx="17">
                  <c:v>105.67180596542065</c:v>
                </c:pt>
                <c:pt idx="18">
                  <c:v>106.92008772020193</c:v>
                </c:pt>
                <c:pt idx="19">
                  <c:v>108.15542904514362</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1</c:f>
              <c:strCache>
                <c:ptCount val="20"/>
                <c:pt idx="0">
                  <c:v>8.57</c:v>
                </c:pt>
                <c:pt idx="1">
                  <c:v>8.77</c:v>
                </c:pt>
                <c:pt idx="2">
                  <c:v>8.97</c:v>
                </c:pt>
                <c:pt idx="3">
                  <c:v>9.17</c:v>
                </c:pt>
                <c:pt idx="4">
                  <c:v>9.37</c:v>
                </c:pt>
                <c:pt idx="5">
                  <c:v>9.57</c:v>
                </c:pt>
                <c:pt idx="6">
                  <c:v>9.77</c:v>
                </c:pt>
                <c:pt idx="7">
                  <c:v>9.97</c:v>
                </c:pt>
                <c:pt idx="8">
                  <c:v>10.17</c:v>
                </c:pt>
                <c:pt idx="9">
                  <c:v>10.37</c:v>
                </c:pt>
                <c:pt idx="10">
                  <c:v>10.57</c:v>
                </c:pt>
                <c:pt idx="11">
                  <c:v>10.77</c:v>
                </c:pt>
                <c:pt idx="12">
                  <c:v>10.97</c:v>
                </c:pt>
                <c:pt idx="13">
                  <c:v>11.17</c:v>
                </c:pt>
                <c:pt idx="14">
                  <c:v>11.37</c:v>
                </c:pt>
                <c:pt idx="15">
                  <c:v>11.57</c:v>
                </c:pt>
                <c:pt idx="16">
                  <c:v>11.77</c:v>
                </c:pt>
                <c:pt idx="17">
                  <c:v>11.97</c:v>
                </c:pt>
                <c:pt idx="18">
                  <c:v>12.17</c:v>
                </c:pt>
                <c:pt idx="19">
                  <c:v>12.37</c:v>
                </c:pt>
              </c:strCache>
            </c:strRef>
          </c:cat>
          <c:val>
            <c:numRef>
              <c:f>Sheet1!$E$2:$E$21</c:f>
              <c:numCache>
                <c:formatCode>General</c:formatCode>
                <c:ptCount val="20"/>
                <c:pt idx="0">
                  <c:v>0.4685103331692536</c:v>
                </c:pt>
                <c:pt idx="1">
                  <c:v>0.48063096411180184</c:v>
                </c:pt>
                <c:pt idx="2">
                  <c:v>0.492211098691249</c:v>
                </c:pt>
                <c:pt idx="3">
                  <c:v>0.5032861019913307</c:v>
                </c:pt>
                <c:pt idx="4">
                  <c:v>0.5138883196649416</c:v>
                </c:pt>
                <c:pt idx="5">
                  <c:v>0.5240473934441486</c:v>
                </c:pt>
                <c:pt idx="6">
                  <c:v>0.5337905378976975</c:v>
                </c:pt>
                <c:pt idx="7">
                  <c:v>0.5431427838776834</c:v>
                </c:pt>
                <c:pt idx="8">
                  <c:v>0.552127193240954</c:v>
                </c:pt>
                <c:pt idx="9">
                  <c:v>0.5607650487232887</c:v>
                </c:pt>
                <c:pt idx="10">
                  <c:v>0.5690760222573796</c:v>
                </c:pt>
                <c:pt idx="11">
                  <c:v>0.5770783245367227</c:v>
                </c:pt>
                <c:pt idx="12">
                  <c:v>0.5847888382188243</c:v>
                </c:pt>
                <c:pt idx="13">
                  <c:v>0.5922232368183082</c:v>
                </c:pt>
                <c:pt idx="14">
                  <c:v>0.5993960910519351</c:v>
                </c:pt>
                <c:pt idx="15">
                  <c:v>0.6063209641538896</c:v>
                </c:pt>
                <c:pt idx="16">
                  <c:v>0.6130104974732798</c:v>
                </c:pt>
                <c:pt idx="17">
                  <c:v>0.6194764874904347</c:v>
                </c:pt>
                <c:pt idx="18">
                  <c:v>0.625729955239154</c:v>
                </c:pt>
                <c:pt idx="19">
                  <c:v>0.6317812089943817</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3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1</c:f>
              <c:strCache>
                <c:ptCount val="20"/>
                <c:pt idx="0">
                  <c:v>8.57</c:v>
                </c:pt>
                <c:pt idx="1">
                  <c:v>8.77</c:v>
                </c:pt>
                <c:pt idx="2">
                  <c:v>8.97</c:v>
                </c:pt>
                <c:pt idx="3">
                  <c:v>9.17</c:v>
                </c:pt>
                <c:pt idx="4">
                  <c:v>9.37</c:v>
                </c:pt>
                <c:pt idx="5">
                  <c:v>9.57</c:v>
                </c:pt>
                <c:pt idx="6">
                  <c:v>9.77</c:v>
                </c:pt>
                <c:pt idx="7">
                  <c:v>9.97</c:v>
                </c:pt>
                <c:pt idx="8">
                  <c:v>10.17</c:v>
                </c:pt>
                <c:pt idx="9">
                  <c:v>10.37</c:v>
                </c:pt>
                <c:pt idx="10">
                  <c:v>10.57</c:v>
                </c:pt>
                <c:pt idx="11">
                  <c:v>10.77</c:v>
                </c:pt>
                <c:pt idx="12">
                  <c:v>10.97</c:v>
                </c:pt>
                <c:pt idx="13">
                  <c:v>11.17</c:v>
                </c:pt>
                <c:pt idx="14">
                  <c:v>11.37</c:v>
                </c:pt>
                <c:pt idx="15">
                  <c:v>11.57</c:v>
                </c:pt>
                <c:pt idx="16">
                  <c:v>11.77</c:v>
                </c:pt>
                <c:pt idx="17">
                  <c:v>11.97</c:v>
                </c:pt>
                <c:pt idx="18">
                  <c:v>12.17</c:v>
                </c:pt>
                <c:pt idx="19">
                  <c:v>12.37</c:v>
                </c:pt>
              </c:strCache>
            </c:strRef>
          </c:cat>
          <c:val>
            <c:numRef>
              <c:f>Sheet1!$B$2:$B$21</c:f>
              <c:numCache>
                <c:formatCode>General</c:formatCode>
                <c:ptCount val="20"/>
                <c:pt idx="0">
                  <c:v>107.80637863534885</c:v>
                </c:pt>
                <c:pt idx="1">
                  <c:v>105.95176388934593</c:v>
                </c:pt>
                <c:pt idx="2">
                  <c:v>104.20522770844241</c:v>
                </c:pt>
                <c:pt idx="3">
                  <c:v>103.32624918210465</c:v>
                </c:pt>
                <c:pt idx="4">
                  <c:v>102.46696443860792</c:v>
                </c:pt>
                <c:pt idx="5">
                  <c:v>101.62662729398704</c:v>
                </c:pt>
                <c:pt idx="6">
                  <c:v>100.80452980835331</c:v>
                </c:pt>
                <c:pt idx="7">
                  <c:v>100.0</c:v>
                </c:pt>
                <c:pt idx="8">
                  <c:v>96.24534444619613</c:v>
                </c:pt>
                <c:pt idx="9">
                  <c:v>92.85034820431794</c:v>
                </c:pt>
                <c:pt idx="10">
                  <c:v>89.78309688533051</c:v>
                </c:pt>
                <c:pt idx="11">
                  <c:v>87.01358372540791</c:v>
                </c:pt>
                <c:pt idx="12">
                  <c:v>84.51351741597028</c:v>
                </c:pt>
                <c:pt idx="13">
                  <c:v>83.02109676128015</c:v>
                </c:pt>
                <c:pt idx="14">
                  <c:v>81.60269103277209</c:v>
                </c:pt>
                <c:pt idx="15">
                  <c:v>80.25376151093046</c:v>
                </c:pt>
                <c:pt idx="16">
                  <c:v>78.97000327728493</c:v>
                </c:pt>
                <c:pt idx="17">
                  <c:v>77.74732353515587</c:v>
                </c:pt>
                <c:pt idx="18">
                  <c:v>76.58181988403939</c:v>
                </c:pt>
                <c:pt idx="19">
                  <c:v>75.46976420175004</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1</c:f>
              <c:strCache>
                <c:ptCount val="20"/>
                <c:pt idx="0">
                  <c:v>8.57</c:v>
                </c:pt>
                <c:pt idx="1">
                  <c:v>8.77</c:v>
                </c:pt>
                <c:pt idx="2">
                  <c:v>8.97</c:v>
                </c:pt>
                <c:pt idx="3">
                  <c:v>9.17</c:v>
                </c:pt>
                <c:pt idx="4">
                  <c:v>9.37</c:v>
                </c:pt>
                <c:pt idx="5">
                  <c:v>9.57</c:v>
                </c:pt>
                <c:pt idx="6">
                  <c:v>9.77</c:v>
                </c:pt>
                <c:pt idx="7">
                  <c:v>9.97</c:v>
                </c:pt>
                <c:pt idx="8">
                  <c:v>10.17</c:v>
                </c:pt>
                <c:pt idx="9">
                  <c:v>10.37</c:v>
                </c:pt>
                <c:pt idx="10">
                  <c:v>10.57</c:v>
                </c:pt>
                <c:pt idx="11">
                  <c:v>10.77</c:v>
                </c:pt>
                <c:pt idx="12">
                  <c:v>10.97</c:v>
                </c:pt>
                <c:pt idx="13">
                  <c:v>11.17</c:v>
                </c:pt>
                <c:pt idx="14">
                  <c:v>11.37</c:v>
                </c:pt>
                <c:pt idx="15">
                  <c:v>11.57</c:v>
                </c:pt>
                <c:pt idx="16">
                  <c:v>11.77</c:v>
                </c:pt>
                <c:pt idx="17">
                  <c:v>11.97</c:v>
                </c:pt>
                <c:pt idx="18">
                  <c:v>12.17</c:v>
                </c:pt>
                <c:pt idx="19">
                  <c:v>12.37</c:v>
                </c:pt>
              </c:strCache>
            </c:strRef>
          </c:cat>
          <c:val>
            <c:numRef>
              <c:f>Sheet1!$C$2:$C$21</c:f>
              <c:numCache>
                <c:formatCode>General</c:formatCode>
                <c:ptCount val="20"/>
                <c:pt idx="0">
                  <c:v>92.94844395021701</c:v>
                </c:pt>
                <c:pt idx="1">
                  <c:v>93.44250873647412</c:v>
                </c:pt>
                <c:pt idx="2">
                  <c:v>93.95983846856755</c:v>
                </c:pt>
                <c:pt idx="3">
                  <c:v>95.20138905056206</c:v>
                </c:pt>
                <c:pt idx="4">
                  <c:v>96.42569569426723</c:v>
                </c:pt>
                <c:pt idx="5">
                  <c:v>97.63325501854287</c:v>
                </c:pt>
                <c:pt idx="6">
                  <c:v>98.82453967229571</c:v>
                </c:pt>
                <c:pt idx="7">
                  <c:v>100.0</c:v>
                </c:pt>
                <c:pt idx="8">
                  <c:v>98.15684390449482</c:v>
                </c:pt>
                <c:pt idx="9">
                  <c:v>96.5375659512445</c:v>
                </c:pt>
                <c:pt idx="10">
                  <c:v>95.12981494772399</c:v>
                </c:pt>
                <c:pt idx="11">
                  <c:v>93.92077081822026</c:v>
                </c:pt>
                <c:pt idx="12">
                  <c:v>92.89712004352944</c:v>
                </c:pt>
                <c:pt idx="13">
                  <c:v>92.8931376876223</c:v>
                </c:pt>
                <c:pt idx="14">
                  <c:v>92.9142779752236</c:v>
                </c:pt>
                <c:pt idx="15">
                  <c:v>92.95966193374865</c:v>
                </c:pt>
                <c:pt idx="16">
                  <c:v>93.0283288264566</c:v>
                </c:pt>
                <c:pt idx="17">
                  <c:v>93.11923334123176</c:v>
                </c:pt>
                <c:pt idx="18">
                  <c:v>93.23124021265723</c:v>
                </c:pt>
                <c:pt idx="19">
                  <c:v>93.3631232058605</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1</c:f>
              <c:strCache>
                <c:ptCount val="20"/>
                <c:pt idx="0">
                  <c:v>8.57</c:v>
                </c:pt>
                <c:pt idx="1">
                  <c:v>8.77</c:v>
                </c:pt>
                <c:pt idx="2">
                  <c:v>8.97</c:v>
                </c:pt>
                <c:pt idx="3">
                  <c:v>9.17</c:v>
                </c:pt>
                <c:pt idx="4">
                  <c:v>9.37</c:v>
                </c:pt>
                <c:pt idx="5">
                  <c:v>9.57</c:v>
                </c:pt>
                <c:pt idx="6">
                  <c:v>9.77</c:v>
                </c:pt>
                <c:pt idx="7">
                  <c:v>9.97</c:v>
                </c:pt>
                <c:pt idx="8">
                  <c:v>10.17</c:v>
                </c:pt>
                <c:pt idx="9">
                  <c:v>10.37</c:v>
                </c:pt>
                <c:pt idx="10">
                  <c:v>10.57</c:v>
                </c:pt>
                <c:pt idx="11">
                  <c:v>10.77</c:v>
                </c:pt>
                <c:pt idx="12">
                  <c:v>10.97</c:v>
                </c:pt>
                <c:pt idx="13">
                  <c:v>11.17</c:v>
                </c:pt>
                <c:pt idx="14">
                  <c:v>11.37</c:v>
                </c:pt>
                <c:pt idx="15">
                  <c:v>11.57</c:v>
                </c:pt>
                <c:pt idx="16">
                  <c:v>11.77</c:v>
                </c:pt>
                <c:pt idx="17">
                  <c:v>11.97</c:v>
                </c:pt>
                <c:pt idx="18">
                  <c:v>12.17</c:v>
                </c:pt>
                <c:pt idx="19">
                  <c:v>12.37</c:v>
                </c:pt>
              </c:strCache>
            </c:strRef>
          </c:cat>
          <c:val>
            <c:numRef>
              <c:f>Sheet1!$D$2:$D$21</c:f>
              <c:numCache>
                <c:formatCode>General</c:formatCode>
                <c:ptCount val="20"/>
                <c:pt idx="0">
                  <c:v>73.99634162394422</c:v>
                </c:pt>
                <c:pt idx="1">
                  <c:v>77.4702814613044</c:v>
                </c:pt>
                <c:pt idx="2">
                  <c:v>80.86190576535755</c:v>
                </c:pt>
                <c:pt idx="3">
                  <c:v>84.80911369575227</c:v>
                </c:pt>
                <c:pt idx="4">
                  <c:v>88.69460737732808</c:v>
                </c:pt>
                <c:pt idx="5">
                  <c:v>92.52035448567476</c:v>
                </c:pt>
                <c:pt idx="6">
                  <c:v>96.28822550311921</c:v>
                </c:pt>
                <c:pt idx="7">
                  <c:v>100.0</c:v>
                </c:pt>
                <c:pt idx="8">
                  <c:v>100.55738542597632</c:v>
                </c:pt>
                <c:pt idx="9">
                  <c:v>101.1702208952552</c:v>
                </c:pt>
                <c:pt idx="10">
                  <c:v>101.85064348580678</c:v>
                </c:pt>
                <c:pt idx="11">
                  <c:v>102.60732037752187</c:v>
                </c:pt>
                <c:pt idx="12">
                  <c:v>103.44564096646351</c:v>
                </c:pt>
                <c:pt idx="13">
                  <c:v>105.33845913226097</c:v>
                </c:pt>
                <c:pt idx="14">
                  <c:v>107.19477601858189</c:v>
                </c:pt>
                <c:pt idx="15">
                  <c:v>109.01837431649597</c:v>
                </c:pt>
                <c:pt idx="16">
                  <c:v>110.81255140654545</c:v>
                </c:pt>
                <c:pt idx="17">
                  <c:v>112.58014034108838</c:v>
                </c:pt>
                <c:pt idx="18">
                  <c:v>114.32352492971066</c:v>
                </c:pt>
                <c:pt idx="19">
                  <c:v>116.04465760712014</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1</c:f>
              <c:strCache>
                <c:ptCount val="20"/>
                <c:pt idx="0">
                  <c:v>8.57</c:v>
                </c:pt>
                <c:pt idx="1">
                  <c:v>8.77</c:v>
                </c:pt>
                <c:pt idx="2">
                  <c:v>8.97</c:v>
                </c:pt>
                <c:pt idx="3">
                  <c:v>9.17</c:v>
                </c:pt>
                <c:pt idx="4">
                  <c:v>9.37</c:v>
                </c:pt>
                <c:pt idx="5">
                  <c:v>9.57</c:v>
                </c:pt>
                <c:pt idx="6">
                  <c:v>9.77</c:v>
                </c:pt>
                <c:pt idx="7">
                  <c:v>9.97</c:v>
                </c:pt>
                <c:pt idx="8">
                  <c:v>10.17</c:v>
                </c:pt>
                <c:pt idx="9">
                  <c:v>10.37</c:v>
                </c:pt>
                <c:pt idx="10">
                  <c:v>10.57</c:v>
                </c:pt>
                <c:pt idx="11">
                  <c:v>10.77</c:v>
                </c:pt>
                <c:pt idx="12">
                  <c:v>10.97</c:v>
                </c:pt>
                <c:pt idx="13">
                  <c:v>11.17</c:v>
                </c:pt>
                <c:pt idx="14">
                  <c:v>11.37</c:v>
                </c:pt>
                <c:pt idx="15">
                  <c:v>11.57</c:v>
                </c:pt>
                <c:pt idx="16">
                  <c:v>11.77</c:v>
                </c:pt>
                <c:pt idx="17">
                  <c:v>11.97</c:v>
                </c:pt>
                <c:pt idx="18">
                  <c:v>12.17</c:v>
                </c:pt>
                <c:pt idx="19">
                  <c:v>12.37</c:v>
                </c:pt>
              </c:strCache>
            </c:strRef>
          </c:cat>
          <c:val>
            <c:numRef>
              <c:f>Sheet1!$E$2:$E$21</c:f>
              <c:numCache>
                <c:formatCode>General</c:formatCode>
                <c:ptCount val="20"/>
                <c:pt idx="0">
                  <c:v>0.35752944631408784</c:v>
                </c:pt>
                <c:pt idx="1">
                  <c:v>0.3721809982795589</c:v>
                </c:pt>
                <c:pt idx="2">
                  <c:v>0.38617919229785214</c:v>
                </c:pt>
                <c:pt idx="3">
                  <c:v>0.3995667780710722</c:v>
                </c:pt>
                <c:pt idx="4">
                  <c:v>0.4123828553801209</c:v>
                </c:pt>
                <c:pt idx="5">
                  <c:v>0.42466325547667005</c:v>
                </c:pt>
                <c:pt idx="6">
                  <c:v>0.43644087563067896</c:v>
                </c:pt>
                <c:pt idx="7">
                  <c:v>0.44774597341140754</c:v>
                </c:pt>
                <c:pt idx="8">
                  <c:v>0.4586064262450081</c:v>
                </c:pt>
                <c:pt idx="9">
                  <c:v>0.469047960936522</c:v>
                </c:pt>
                <c:pt idx="10">
                  <c:v>0.47909435713450643</c:v>
                </c:pt>
                <c:pt idx="11">
                  <c:v>0.48876762812550917</c:v>
                </c:pt>
                <c:pt idx="12">
                  <c:v>0.49808818185157094</c:v>
                </c:pt>
                <c:pt idx="13">
                  <c:v>0.5070749646295196</c:v>
                </c:pt>
                <c:pt idx="14">
                  <c:v>0.5157455897019996</c:v>
                </c:pt>
                <c:pt idx="15">
                  <c:v>0.5241164524556381</c:v>
                </c:pt>
                <c:pt idx="16">
                  <c:v>0.5322028338922457</c:v>
                </c:pt>
                <c:pt idx="17">
                  <c:v>0.5400189937269618</c:v>
                </c:pt>
                <c:pt idx="18">
                  <c:v>0.5475782543066339</c:v>
                </c:pt>
                <c:pt idx="19">
                  <c:v>0.5548930763873672</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4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2</c:f>
              <c:strCache>
                <c:ptCount val="31"/>
                <c:pt idx="0">
                  <c:v>12.57</c:v>
                </c:pt>
                <c:pt idx="1">
                  <c:v>12.77</c:v>
                </c:pt>
                <c:pt idx="2">
                  <c:v>12.97</c:v>
                </c:pt>
                <c:pt idx="3">
                  <c:v>13.17</c:v>
                </c:pt>
                <c:pt idx="4">
                  <c:v>13.37</c:v>
                </c:pt>
                <c:pt idx="5">
                  <c:v>13.57</c:v>
                </c:pt>
                <c:pt idx="6">
                  <c:v>13.77</c:v>
                </c:pt>
                <c:pt idx="7">
                  <c:v>13.97</c:v>
                </c:pt>
                <c:pt idx="8">
                  <c:v>14.17</c:v>
                </c:pt>
                <c:pt idx="9">
                  <c:v>14.37</c:v>
                </c:pt>
                <c:pt idx="10">
                  <c:v>14.57</c:v>
                </c:pt>
                <c:pt idx="11">
                  <c:v>14.77</c:v>
                </c:pt>
                <c:pt idx="12">
                  <c:v>14.97</c:v>
                </c:pt>
                <c:pt idx="13">
                  <c:v>15.17</c:v>
                </c:pt>
                <c:pt idx="14">
                  <c:v>15.37</c:v>
                </c:pt>
                <c:pt idx="15">
                  <c:v>15.57</c:v>
                </c:pt>
                <c:pt idx="16">
                  <c:v>15.77</c:v>
                </c:pt>
                <c:pt idx="17">
                  <c:v>15.97</c:v>
                </c:pt>
                <c:pt idx="18">
                  <c:v>16.17</c:v>
                </c:pt>
                <c:pt idx="19">
                  <c:v>16.37</c:v>
                </c:pt>
                <c:pt idx="20">
                  <c:v>16.57</c:v>
                </c:pt>
                <c:pt idx="21">
                  <c:v>16.77</c:v>
                </c:pt>
                <c:pt idx="22">
                  <c:v>16.97</c:v>
                </c:pt>
                <c:pt idx="23">
                  <c:v>17.17</c:v>
                </c:pt>
                <c:pt idx="24">
                  <c:v>17.37</c:v>
                </c:pt>
                <c:pt idx="25">
                  <c:v>17.57</c:v>
                </c:pt>
                <c:pt idx="26">
                  <c:v>17.77</c:v>
                </c:pt>
                <c:pt idx="27">
                  <c:v>17.97</c:v>
                </c:pt>
                <c:pt idx="28">
                  <c:v>18.17</c:v>
                </c:pt>
                <c:pt idx="29">
                  <c:v>18.37</c:v>
                </c:pt>
                <c:pt idx="30">
                  <c:v>18.57</c:v>
                </c:pt>
              </c:strCache>
            </c:strRef>
          </c:cat>
          <c:val>
            <c:numRef>
              <c:f>Sheet1!$B$2:$B$32</c:f>
              <c:numCache>
                <c:formatCode>General</c:formatCode>
                <c:ptCount val="31"/>
                <c:pt idx="0">
                  <c:v>130.61119765319472</c:v>
                </c:pt>
                <c:pt idx="1">
                  <c:v>124.88567371042365</c:v>
                </c:pt>
                <c:pt idx="2">
                  <c:v>119.66872374578152</c:v>
                </c:pt>
                <c:pt idx="3">
                  <c:v>114.91411223631884</c:v>
                </c:pt>
                <c:pt idx="4">
                  <c:v>110.57387649369265</c:v>
                </c:pt>
                <c:pt idx="5">
                  <c:v>107.90604378360791</c:v>
                </c:pt>
                <c:pt idx="6">
                  <c:v>106.66200089228566</c:v>
                </c:pt>
                <c:pt idx="7">
                  <c:v>105.45976223312927</c:v>
                </c:pt>
                <c:pt idx="8">
                  <c:v>104.29701741735968</c:v>
                </c:pt>
                <c:pt idx="9">
                  <c:v>103.17161245600859</c:v>
                </c:pt>
                <c:pt idx="10">
                  <c:v>102.08153784815383</c:v>
                </c:pt>
                <c:pt idx="11">
                  <c:v>101.0249177357829</c:v>
                </c:pt>
                <c:pt idx="12">
                  <c:v>100.0</c:v>
                </c:pt>
                <c:pt idx="13">
                  <c:v>98.81613497540916</c:v>
                </c:pt>
                <c:pt idx="14">
                  <c:v>97.66922278108194</c:v>
                </c:pt>
                <c:pt idx="15">
                  <c:v>96.55717241176949</c:v>
                </c:pt>
                <c:pt idx="16">
                  <c:v>95.47805726520906</c:v>
                </c:pt>
                <c:pt idx="17">
                  <c:v>94.4300987657016</c:v>
                </c:pt>
                <c:pt idx="18">
                  <c:v>93.68342778269106</c:v>
                </c:pt>
                <c:pt idx="19">
                  <c:v>92.95405026287983</c:v>
                </c:pt>
                <c:pt idx="20">
                  <c:v>92.24128518029165</c:v>
                </c:pt>
                <c:pt idx="21">
                  <c:v>91.54448734079386</c:v>
                </c:pt>
                <c:pt idx="22">
                  <c:v>90.8630450081284</c:v>
                </c:pt>
                <c:pt idx="23">
                  <c:v>90.19637772043242</c:v>
                </c:pt>
                <c:pt idx="24">
                  <c:v>89.54393428017549</c:v>
                </c:pt>
                <c:pt idx="25">
                  <c:v>88.90519090201325</c:v>
                </c:pt>
                <c:pt idx="26">
                  <c:v>88.27964950447395</c:v>
                </c:pt>
                <c:pt idx="27">
                  <c:v>87.66683613271891</c:v>
                </c:pt>
                <c:pt idx="28">
                  <c:v>87.06629950078003</c:v>
                </c:pt>
                <c:pt idx="29">
                  <c:v>86.477609642756</c:v>
                </c:pt>
                <c:pt idx="30">
                  <c:v>85.90035666343974</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2</c:f>
              <c:strCache>
                <c:ptCount val="31"/>
                <c:pt idx="0">
                  <c:v>12.57</c:v>
                </c:pt>
                <c:pt idx="1">
                  <c:v>12.77</c:v>
                </c:pt>
                <c:pt idx="2">
                  <c:v>12.97</c:v>
                </c:pt>
                <c:pt idx="3">
                  <c:v>13.17</c:v>
                </c:pt>
                <c:pt idx="4">
                  <c:v>13.37</c:v>
                </c:pt>
                <c:pt idx="5">
                  <c:v>13.57</c:v>
                </c:pt>
                <c:pt idx="6">
                  <c:v>13.77</c:v>
                </c:pt>
                <c:pt idx="7">
                  <c:v>13.97</c:v>
                </c:pt>
                <c:pt idx="8">
                  <c:v>14.17</c:v>
                </c:pt>
                <c:pt idx="9">
                  <c:v>14.37</c:v>
                </c:pt>
                <c:pt idx="10">
                  <c:v>14.57</c:v>
                </c:pt>
                <c:pt idx="11">
                  <c:v>14.77</c:v>
                </c:pt>
                <c:pt idx="12">
                  <c:v>14.97</c:v>
                </c:pt>
                <c:pt idx="13">
                  <c:v>15.17</c:v>
                </c:pt>
                <c:pt idx="14">
                  <c:v>15.37</c:v>
                </c:pt>
                <c:pt idx="15">
                  <c:v>15.57</c:v>
                </c:pt>
                <c:pt idx="16">
                  <c:v>15.77</c:v>
                </c:pt>
                <c:pt idx="17">
                  <c:v>15.97</c:v>
                </c:pt>
                <c:pt idx="18">
                  <c:v>16.17</c:v>
                </c:pt>
                <c:pt idx="19">
                  <c:v>16.37</c:v>
                </c:pt>
                <c:pt idx="20">
                  <c:v>16.57</c:v>
                </c:pt>
                <c:pt idx="21">
                  <c:v>16.77</c:v>
                </c:pt>
                <c:pt idx="22">
                  <c:v>16.97</c:v>
                </c:pt>
                <c:pt idx="23">
                  <c:v>17.17</c:v>
                </c:pt>
                <c:pt idx="24">
                  <c:v>17.37</c:v>
                </c:pt>
                <c:pt idx="25">
                  <c:v>17.57</c:v>
                </c:pt>
                <c:pt idx="26">
                  <c:v>17.77</c:v>
                </c:pt>
                <c:pt idx="27">
                  <c:v>17.97</c:v>
                </c:pt>
                <c:pt idx="28">
                  <c:v>18.17</c:v>
                </c:pt>
                <c:pt idx="29">
                  <c:v>18.37</c:v>
                </c:pt>
                <c:pt idx="30">
                  <c:v>18.57</c:v>
                </c:pt>
              </c:strCache>
            </c:strRef>
          </c:cat>
          <c:val>
            <c:numRef>
              <c:f>Sheet1!$C$2:$C$32</c:f>
              <c:numCache>
                <c:formatCode>General</c:formatCode>
                <c:ptCount val="31"/>
                <c:pt idx="0">
                  <c:v>109.82116802022601</c:v>
                </c:pt>
                <c:pt idx="1">
                  <c:v>106.6770484263755</c:v>
                </c:pt>
                <c:pt idx="2">
                  <c:v>103.82032217179295</c:v>
                </c:pt>
                <c:pt idx="3">
                  <c:v>101.23073845435657</c:v>
                </c:pt>
                <c:pt idx="4">
                  <c:v>98.88404531944555</c:v>
                </c:pt>
                <c:pt idx="5">
                  <c:v>97.93151184232968</c:v>
                </c:pt>
                <c:pt idx="6">
                  <c:v>98.21169046373845</c:v>
                </c:pt>
                <c:pt idx="7">
                  <c:v>98.49780050907245</c:v>
                </c:pt>
                <c:pt idx="8">
                  <c:v>98.78932008540666</c:v>
                </c:pt>
                <c:pt idx="9">
                  <c:v>99.0857549965755</c:v>
                </c:pt>
                <c:pt idx="10">
                  <c:v>99.38663750833392</c:v>
                </c:pt>
                <c:pt idx="11">
                  <c:v>99.69152521763196</c:v>
                </c:pt>
                <c:pt idx="12">
                  <c:v>100.0</c:v>
                </c:pt>
                <c:pt idx="13">
                  <c:v>100.12147556045224</c:v>
                </c:pt>
                <c:pt idx="14">
                  <c:v>100.24944193199903</c:v>
                </c:pt>
                <c:pt idx="15">
                  <c:v>100.3831992718462</c:v>
                </c:pt>
                <c:pt idx="16">
                  <c:v>100.52210970859437</c:v>
                </c:pt>
                <c:pt idx="17">
                  <c:v>100.665590804422</c:v>
                </c:pt>
                <c:pt idx="18">
                  <c:v>101.10400113300722</c:v>
                </c:pt>
                <c:pt idx="19">
                  <c:v>101.54141785966932</c:v>
                </c:pt>
                <c:pt idx="20">
                  <c:v>101.97777813218592</c:v>
                </c:pt>
                <c:pt idx="21">
                  <c:v>102.41302302290526</c:v>
                </c:pt>
                <c:pt idx="22">
                  <c:v>102.84709721892791</c:v>
                </c:pt>
                <c:pt idx="23">
                  <c:v>103.27994874148993</c:v>
                </c:pt>
                <c:pt idx="24">
                  <c:v>103.7115286924356</c:v>
                </c:pt>
                <c:pt idx="25">
                  <c:v>104.14179102570809</c:v>
                </c:pt>
                <c:pt idx="26">
                  <c:v>104.57069234181809</c:v>
                </c:pt>
                <c:pt idx="27">
                  <c:v>104.99819170335117</c:v>
                </c:pt>
                <c:pt idx="28">
                  <c:v>105.42425046962649</c:v>
                </c:pt>
                <c:pt idx="29">
                  <c:v>105.84883214871664</c:v>
                </c:pt>
                <c:pt idx="30">
                  <c:v>106.2719022651463</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2</c:f>
              <c:strCache>
                <c:ptCount val="31"/>
                <c:pt idx="0">
                  <c:v>12.57</c:v>
                </c:pt>
                <c:pt idx="1">
                  <c:v>12.77</c:v>
                </c:pt>
                <c:pt idx="2">
                  <c:v>12.97</c:v>
                </c:pt>
                <c:pt idx="3">
                  <c:v>13.17</c:v>
                </c:pt>
                <c:pt idx="4">
                  <c:v>13.37</c:v>
                </c:pt>
                <c:pt idx="5">
                  <c:v>13.57</c:v>
                </c:pt>
                <c:pt idx="6">
                  <c:v>13.77</c:v>
                </c:pt>
                <c:pt idx="7">
                  <c:v>13.97</c:v>
                </c:pt>
                <c:pt idx="8">
                  <c:v>14.17</c:v>
                </c:pt>
                <c:pt idx="9">
                  <c:v>14.37</c:v>
                </c:pt>
                <c:pt idx="10">
                  <c:v>14.57</c:v>
                </c:pt>
                <c:pt idx="11">
                  <c:v>14.77</c:v>
                </c:pt>
                <c:pt idx="12">
                  <c:v>14.97</c:v>
                </c:pt>
                <c:pt idx="13">
                  <c:v>15.17</c:v>
                </c:pt>
                <c:pt idx="14">
                  <c:v>15.37</c:v>
                </c:pt>
                <c:pt idx="15">
                  <c:v>15.57</c:v>
                </c:pt>
                <c:pt idx="16">
                  <c:v>15.77</c:v>
                </c:pt>
                <c:pt idx="17">
                  <c:v>15.97</c:v>
                </c:pt>
                <c:pt idx="18">
                  <c:v>16.17</c:v>
                </c:pt>
                <c:pt idx="19">
                  <c:v>16.37</c:v>
                </c:pt>
                <c:pt idx="20">
                  <c:v>16.57</c:v>
                </c:pt>
                <c:pt idx="21">
                  <c:v>16.77</c:v>
                </c:pt>
                <c:pt idx="22">
                  <c:v>16.97</c:v>
                </c:pt>
                <c:pt idx="23">
                  <c:v>17.17</c:v>
                </c:pt>
                <c:pt idx="24">
                  <c:v>17.37</c:v>
                </c:pt>
                <c:pt idx="25">
                  <c:v>17.57</c:v>
                </c:pt>
                <c:pt idx="26">
                  <c:v>17.77</c:v>
                </c:pt>
                <c:pt idx="27">
                  <c:v>17.97</c:v>
                </c:pt>
                <c:pt idx="28">
                  <c:v>18.17</c:v>
                </c:pt>
                <c:pt idx="29">
                  <c:v>18.37</c:v>
                </c:pt>
                <c:pt idx="30">
                  <c:v>18.57</c:v>
                </c:pt>
              </c:strCache>
            </c:strRef>
          </c:cat>
          <c:val>
            <c:numRef>
              <c:f>Sheet1!$D$2:$D$32</c:f>
              <c:numCache>
                <c:formatCode>General</c:formatCode>
                <c:ptCount val="31"/>
                <c:pt idx="0">
                  <c:v>92.78730454635948</c:v>
                </c:pt>
                <c:pt idx="1">
                  <c:v>91.73366285900899</c:v>
                </c:pt>
                <c:pt idx="2">
                  <c:v>90.7895190494482</c:v>
                </c:pt>
                <c:pt idx="3">
                  <c:v>89.95549933142978</c:v>
                </c:pt>
                <c:pt idx="4">
                  <c:v>89.22637306339222</c:v>
                </c:pt>
                <c:pt idx="5">
                  <c:v>89.67765093208206</c:v>
                </c:pt>
                <c:pt idx="6">
                  <c:v>91.2177962880861</c:v>
                </c:pt>
                <c:pt idx="7">
                  <c:v>92.7346576050099</c:v>
                </c:pt>
                <c:pt idx="8">
                  <c:v>94.22917405467274</c:v>
                </c:pt>
                <c:pt idx="9">
                  <c:v>95.70220686270413</c:v>
                </c:pt>
                <c:pt idx="10">
                  <c:v>97.1545468433931</c:v>
                </c:pt>
                <c:pt idx="11">
                  <c:v>98.58692125065309</c:v>
                </c:pt>
                <c:pt idx="12">
                  <c:v>100.0</c:v>
                </c:pt>
                <c:pt idx="13">
                  <c:v>101.20082773382586</c:v>
                </c:pt>
                <c:pt idx="14">
                  <c:v>102.38325229345257</c:v>
                </c:pt>
                <c:pt idx="15">
                  <c:v>103.5477065957115</c:v>
                </c:pt>
                <c:pt idx="16">
                  <c:v>104.6946019845386</c:v>
                </c:pt>
                <c:pt idx="17">
                  <c:v>105.82432971589928</c:v>
                </c:pt>
                <c:pt idx="18">
                  <c:v>107.24839013662042</c:v>
                </c:pt>
                <c:pt idx="19">
                  <c:v>108.65662711511041</c:v>
                </c:pt>
                <c:pt idx="20">
                  <c:v>110.04948015583751</c:v>
                </c:pt>
                <c:pt idx="21">
                  <c:v>111.42736663778305</c:v>
                </c:pt>
                <c:pt idx="22">
                  <c:v>112.79068319115359</c:v>
                </c:pt>
                <c:pt idx="23">
                  <c:v>114.13980697140906</c:v>
                </c:pt>
                <c:pt idx="24">
                  <c:v>115.47509684076933</c:v>
                </c:pt>
                <c:pt idx="25">
                  <c:v>116.79689446613057</c:v>
                </c:pt>
                <c:pt idx="26">
                  <c:v>118.1055253412269</c:v>
                </c:pt>
                <c:pt idx="27">
                  <c:v>119.40129973995639</c:v>
                </c:pt>
                <c:pt idx="28">
                  <c:v>120.68451360693902</c:v>
                </c:pt>
                <c:pt idx="29">
                  <c:v>121.9554493906572</c:v>
                </c:pt>
                <c:pt idx="30">
                  <c:v>123.21437682391752</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2</c:f>
              <c:strCache>
                <c:ptCount val="31"/>
                <c:pt idx="0">
                  <c:v>12.57</c:v>
                </c:pt>
                <c:pt idx="1">
                  <c:v>12.77</c:v>
                </c:pt>
                <c:pt idx="2">
                  <c:v>12.97</c:v>
                </c:pt>
                <c:pt idx="3">
                  <c:v>13.17</c:v>
                </c:pt>
                <c:pt idx="4">
                  <c:v>13.37</c:v>
                </c:pt>
                <c:pt idx="5">
                  <c:v>13.57</c:v>
                </c:pt>
                <c:pt idx="6">
                  <c:v>13.77</c:v>
                </c:pt>
                <c:pt idx="7">
                  <c:v>13.97</c:v>
                </c:pt>
                <c:pt idx="8">
                  <c:v>14.17</c:v>
                </c:pt>
                <c:pt idx="9">
                  <c:v>14.37</c:v>
                </c:pt>
                <c:pt idx="10">
                  <c:v>14.57</c:v>
                </c:pt>
                <c:pt idx="11">
                  <c:v>14.77</c:v>
                </c:pt>
                <c:pt idx="12">
                  <c:v>14.97</c:v>
                </c:pt>
                <c:pt idx="13">
                  <c:v>15.17</c:v>
                </c:pt>
                <c:pt idx="14">
                  <c:v>15.37</c:v>
                </c:pt>
                <c:pt idx="15">
                  <c:v>15.57</c:v>
                </c:pt>
                <c:pt idx="16">
                  <c:v>15.77</c:v>
                </c:pt>
                <c:pt idx="17">
                  <c:v>15.97</c:v>
                </c:pt>
                <c:pt idx="18">
                  <c:v>16.17</c:v>
                </c:pt>
                <c:pt idx="19">
                  <c:v>16.37</c:v>
                </c:pt>
                <c:pt idx="20">
                  <c:v>16.57</c:v>
                </c:pt>
                <c:pt idx="21">
                  <c:v>16.77</c:v>
                </c:pt>
                <c:pt idx="22">
                  <c:v>16.97</c:v>
                </c:pt>
                <c:pt idx="23">
                  <c:v>17.17</c:v>
                </c:pt>
                <c:pt idx="24">
                  <c:v>17.37</c:v>
                </c:pt>
                <c:pt idx="25">
                  <c:v>17.57</c:v>
                </c:pt>
                <c:pt idx="26">
                  <c:v>17.77</c:v>
                </c:pt>
                <c:pt idx="27">
                  <c:v>17.97</c:v>
                </c:pt>
                <c:pt idx="28">
                  <c:v>18.17</c:v>
                </c:pt>
                <c:pt idx="29">
                  <c:v>18.37</c:v>
                </c:pt>
                <c:pt idx="30">
                  <c:v>18.57</c:v>
                </c:pt>
              </c:strCache>
            </c:strRef>
          </c:cat>
          <c:val>
            <c:numRef>
              <c:f>Sheet1!$E$2:$E$32</c:f>
              <c:numCache>
                <c:formatCode>General</c:formatCode>
                <c:ptCount val="31"/>
                <c:pt idx="0">
                  <c:v>0.46837994929034954</c:v>
                </c:pt>
                <c:pt idx="1">
                  <c:v>0.4767060268269143</c:v>
                </c:pt>
                <c:pt idx="2">
                  <c:v>0.4847753247941168</c:v>
                </c:pt>
                <c:pt idx="3">
                  <c:v>0.49259954157780517</c:v>
                </c:pt>
                <c:pt idx="4">
                  <c:v>0.5001896755856167</c:v>
                </c:pt>
                <c:pt idx="5">
                  <c:v>0.5075560768297489</c:v>
                </c:pt>
                <c:pt idx="6">
                  <c:v>0.5147084940145021</c:v>
                </c:pt>
                <c:pt idx="7">
                  <c:v>0.5216561175790763</c:v>
                </c:pt>
                <c:pt idx="8">
                  <c:v>0.52840761909525</c:v>
                </c:pt>
                <c:pt idx="9">
                  <c:v>0.5349711873750658</c:v>
                </c:pt>
                <c:pt idx="10">
                  <c:v>0.5413545616046462</c:v>
                </c:pt>
                <c:pt idx="11">
                  <c:v>0.547565061786032</c:v>
                </c:pt>
                <c:pt idx="12">
                  <c:v>0.5536096167387905</c:v>
                </c:pt>
                <c:pt idx="13">
                  <c:v>0.5594947898865981</c:v>
                </c:pt>
                <c:pt idx="14">
                  <c:v>0.5652268030305593</c:v>
                </c:pt>
                <c:pt idx="15">
                  <c:v>0.5708115582902823</c:v>
                </c:pt>
                <c:pt idx="16">
                  <c:v>0.5762546583753769</c:v>
                </c:pt>
                <c:pt idx="17">
                  <c:v>0.5815614253337317</c:v>
                </c:pt>
                <c:pt idx="18">
                  <c:v>0.5867369179084536</c:v>
                </c:pt>
                <c:pt idx="19">
                  <c:v>0.5917859476224615</c:v>
                </c:pt>
                <c:pt idx="20">
                  <c:v>0.5967130936982313</c:v>
                </c:pt>
                <c:pt idx="21">
                  <c:v>0.60152271690994</c:v>
                </c:pt>
                <c:pt idx="22">
                  <c:v>0.6062189724560809</c:v>
                </c:pt>
                <c:pt idx="23">
                  <c:v>0.6108058219324225</c:v>
                </c:pt>
                <c:pt idx="24">
                  <c:v>0.6152870444778178</c:v>
                </c:pt>
                <c:pt idx="25">
                  <c:v>0.619666247158776</c:v>
                </c:pt>
                <c:pt idx="26">
                  <c:v>0.6239468746527683</c:v>
                </c:pt>
                <c:pt idx="27">
                  <c:v>0.6281322182849023</c:v>
                </c:pt>
                <c:pt idx="28">
                  <c:v>0.6322254244677873</c:v>
                </c:pt>
                <c:pt idx="29">
                  <c:v>0.6362295025900759</c:v>
                </c:pt>
                <c:pt idx="30">
                  <c:v>0.6401473323952447</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70.0"/>
          <c:max val="16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42</c:f>
              <c:strCache>
                <c:ptCount val="41"/>
                <c:pt idx="0">
                  <c:v>16.97</c:v>
                </c:pt>
                <c:pt idx="1">
                  <c:v>17.17</c:v>
                </c:pt>
                <c:pt idx="2">
                  <c:v>17.37</c:v>
                </c:pt>
                <c:pt idx="3">
                  <c:v>17.57</c:v>
                </c:pt>
                <c:pt idx="4">
                  <c:v>17.77</c:v>
                </c:pt>
                <c:pt idx="5">
                  <c:v>17.97</c:v>
                </c:pt>
                <c:pt idx="6">
                  <c:v>18.17</c:v>
                </c:pt>
                <c:pt idx="7">
                  <c:v>18.37</c:v>
                </c:pt>
                <c:pt idx="8">
                  <c:v>18.57</c:v>
                </c:pt>
                <c:pt idx="9">
                  <c:v>18.77</c:v>
                </c:pt>
                <c:pt idx="10">
                  <c:v>18.97</c:v>
                </c:pt>
                <c:pt idx="11">
                  <c:v>19.17</c:v>
                </c:pt>
                <c:pt idx="12">
                  <c:v>19.37</c:v>
                </c:pt>
                <c:pt idx="13">
                  <c:v>19.57</c:v>
                </c:pt>
                <c:pt idx="14">
                  <c:v>19.77</c:v>
                </c:pt>
                <c:pt idx="15">
                  <c:v>19.97</c:v>
                </c:pt>
                <c:pt idx="16">
                  <c:v>20.17</c:v>
                </c:pt>
                <c:pt idx="17">
                  <c:v>20.37</c:v>
                </c:pt>
                <c:pt idx="18">
                  <c:v>20.57</c:v>
                </c:pt>
                <c:pt idx="19">
                  <c:v>20.77</c:v>
                </c:pt>
                <c:pt idx="20">
                  <c:v>20.97</c:v>
                </c:pt>
                <c:pt idx="21">
                  <c:v>21.17</c:v>
                </c:pt>
                <c:pt idx="22">
                  <c:v>21.37</c:v>
                </c:pt>
                <c:pt idx="23">
                  <c:v>21.57</c:v>
                </c:pt>
                <c:pt idx="24">
                  <c:v>21.77</c:v>
                </c:pt>
                <c:pt idx="25">
                  <c:v>21.97</c:v>
                </c:pt>
                <c:pt idx="26">
                  <c:v>22.17</c:v>
                </c:pt>
                <c:pt idx="27">
                  <c:v>22.37</c:v>
                </c:pt>
                <c:pt idx="28">
                  <c:v>22.57</c:v>
                </c:pt>
                <c:pt idx="29">
                  <c:v>22.77</c:v>
                </c:pt>
                <c:pt idx="30">
                  <c:v>22.97</c:v>
                </c:pt>
                <c:pt idx="31">
                  <c:v>23.17</c:v>
                </c:pt>
                <c:pt idx="32">
                  <c:v>23.37</c:v>
                </c:pt>
                <c:pt idx="33">
                  <c:v>23.57</c:v>
                </c:pt>
                <c:pt idx="34">
                  <c:v>23.77</c:v>
                </c:pt>
                <c:pt idx="35">
                  <c:v>23.97</c:v>
                </c:pt>
                <c:pt idx="36">
                  <c:v>24.17</c:v>
                </c:pt>
                <c:pt idx="37">
                  <c:v>24.37</c:v>
                </c:pt>
                <c:pt idx="38">
                  <c:v>24.57</c:v>
                </c:pt>
                <c:pt idx="39">
                  <c:v>24.77</c:v>
                </c:pt>
                <c:pt idx="40">
                  <c:v>24.97</c:v>
                </c:pt>
              </c:strCache>
            </c:strRef>
          </c:cat>
          <c:val>
            <c:numRef>
              <c:f>Sheet1!$B$2:$B$42</c:f>
              <c:numCache>
                <c:formatCode>General</c:formatCode>
                <c:ptCount val="41"/>
                <c:pt idx="0">
                  <c:v>108.04587773461995</c:v>
                </c:pt>
                <c:pt idx="1">
                  <c:v>107.32254369983454</c:v>
                </c:pt>
                <c:pt idx="2">
                  <c:v>106.61552758633594</c:v>
                </c:pt>
                <c:pt idx="3">
                  <c:v>105.92411793109287</c:v>
                </c:pt>
                <c:pt idx="4">
                  <c:v>105.24764619633775</c:v>
                </c:pt>
                <c:pt idx="5">
                  <c:v>104.58548356595531</c:v>
                </c:pt>
                <c:pt idx="6">
                  <c:v>103.937038025145</c:v>
                </c:pt>
                <c:pt idx="7">
                  <c:v>103.30175169488436</c:v>
                </c:pt>
                <c:pt idx="8">
                  <c:v>102.67909839584037</c:v>
                </c:pt>
                <c:pt idx="9">
                  <c:v>102.28758092443624</c:v>
                </c:pt>
                <c:pt idx="10">
                  <c:v>101.89906182580681</c:v>
                </c:pt>
                <c:pt idx="11">
                  <c:v>101.51349894012256</c:v>
                </c:pt>
                <c:pt idx="12">
                  <c:v>101.1308510872974</c:v>
                </c:pt>
                <c:pt idx="13">
                  <c:v>100.75107803705687</c:v>
                </c:pt>
                <c:pt idx="14">
                  <c:v>100.37414048005557</c:v>
                </c:pt>
                <c:pt idx="15">
                  <c:v>100.0</c:v>
                </c:pt>
                <c:pt idx="16">
                  <c:v>99.62861904674996</c:v>
                </c:pt>
                <c:pt idx="17">
                  <c:v>99.25996091035371</c:v>
                </c:pt>
                <c:pt idx="18">
                  <c:v>98.89398969598567</c:v>
                </c:pt>
                <c:pt idx="19">
                  <c:v>98.53067029975604</c:v>
                </c:pt>
                <c:pt idx="20">
                  <c:v>98.16996838535398</c:v>
                </c:pt>
                <c:pt idx="21">
                  <c:v>97.81185036150055</c:v>
                </c:pt>
                <c:pt idx="22">
                  <c:v>97.45628336017334</c:v>
                </c:pt>
                <c:pt idx="23">
                  <c:v>97.10323521557866</c:v>
                </c:pt>
                <c:pt idx="24">
                  <c:v>96.75267444384413</c:v>
                </c:pt>
                <c:pt idx="25">
                  <c:v>96.40457022339868</c:v>
                </c:pt>
                <c:pt idx="26">
                  <c:v>96.01212444802617</c:v>
                </c:pt>
                <c:pt idx="27">
                  <c:v>95.6222511304222</c:v>
                </c:pt>
                <c:pt idx="28">
                  <c:v>95.2349245493175</c:v>
                </c:pt>
                <c:pt idx="29">
                  <c:v>94.85011935436796</c:v>
                </c:pt>
                <c:pt idx="30">
                  <c:v>94.46781055922993</c:v>
                </c:pt>
                <c:pt idx="31">
                  <c:v>94.0879735347666</c:v>
                </c:pt>
                <c:pt idx="32">
                  <c:v>93.71058400239265</c:v>
                </c:pt>
                <c:pt idx="33">
                  <c:v>93.33561802754183</c:v>
                </c:pt>
                <c:pt idx="34">
                  <c:v>92.96305201326443</c:v>
                </c:pt>
                <c:pt idx="35">
                  <c:v>92.59286269395302</c:v>
                </c:pt>
                <c:pt idx="36">
                  <c:v>92.22502712919452</c:v>
                </c:pt>
                <c:pt idx="37">
                  <c:v>91.85952269773861</c:v>
                </c:pt>
                <c:pt idx="38">
                  <c:v>91.4963270915974</c:v>
                </c:pt>
                <c:pt idx="39">
                  <c:v>91.13541831025742</c:v>
                </c:pt>
                <c:pt idx="40">
                  <c:v>90.77677465501264</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42</c:f>
              <c:strCache>
                <c:ptCount val="41"/>
                <c:pt idx="0">
                  <c:v>16.97</c:v>
                </c:pt>
                <c:pt idx="1">
                  <c:v>17.17</c:v>
                </c:pt>
                <c:pt idx="2">
                  <c:v>17.37</c:v>
                </c:pt>
                <c:pt idx="3">
                  <c:v>17.57</c:v>
                </c:pt>
                <c:pt idx="4">
                  <c:v>17.77</c:v>
                </c:pt>
                <c:pt idx="5">
                  <c:v>17.97</c:v>
                </c:pt>
                <c:pt idx="6">
                  <c:v>18.17</c:v>
                </c:pt>
                <c:pt idx="7">
                  <c:v>18.37</c:v>
                </c:pt>
                <c:pt idx="8">
                  <c:v>18.57</c:v>
                </c:pt>
                <c:pt idx="9">
                  <c:v>18.77</c:v>
                </c:pt>
                <c:pt idx="10">
                  <c:v>18.97</c:v>
                </c:pt>
                <c:pt idx="11">
                  <c:v>19.17</c:v>
                </c:pt>
                <c:pt idx="12">
                  <c:v>19.37</c:v>
                </c:pt>
                <c:pt idx="13">
                  <c:v>19.57</c:v>
                </c:pt>
                <c:pt idx="14">
                  <c:v>19.77</c:v>
                </c:pt>
                <c:pt idx="15">
                  <c:v>19.97</c:v>
                </c:pt>
                <c:pt idx="16">
                  <c:v>20.17</c:v>
                </c:pt>
                <c:pt idx="17">
                  <c:v>20.37</c:v>
                </c:pt>
                <c:pt idx="18">
                  <c:v>20.57</c:v>
                </c:pt>
                <c:pt idx="19">
                  <c:v>20.77</c:v>
                </c:pt>
                <c:pt idx="20">
                  <c:v>20.97</c:v>
                </c:pt>
                <c:pt idx="21">
                  <c:v>21.17</c:v>
                </c:pt>
                <c:pt idx="22">
                  <c:v>21.37</c:v>
                </c:pt>
                <c:pt idx="23">
                  <c:v>21.57</c:v>
                </c:pt>
                <c:pt idx="24">
                  <c:v>21.77</c:v>
                </c:pt>
                <c:pt idx="25">
                  <c:v>21.97</c:v>
                </c:pt>
                <c:pt idx="26">
                  <c:v>22.17</c:v>
                </c:pt>
                <c:pt idx="27">
                  <c:v>22.37</c:v>
                </c:pt>
                <c:pt idx="28">
                  <c:v>22.57</c:v>
                </c:pt>
                <c:pt idx="29">
                  <c:v>22.77</c:v>
                </c:pt>
                <c:pt idx="30">
                  <c:v>22.97</c:v>
                </c:pt>
                <c:pt idx="31">
                  <c:v>23.17</c:v>
                </c:pt>
                <c:pt idx="32">
                  <c:v>23.37</c:v>
                </c:pt>
                <c:pt idx="33">
                  <c:v>23.57</c:v>
                </c:pt>
                <c:pt idx="34">
                  <c:v>23.77</c:v>
                </c:pt>
                <c:pt idx="35">
                  <c:v>23.97</c:v>
                </c:pt>
                <c:pt idx="36">
                  <c:v>24.17</c:v>
                </c:pt>
                <c:pt idx="37">
                  <c:v>24.37</c:v>
                </c:pt>
                <c:pt idx="38">
                  <c:v>24.57</c:v>
                </c:pt>
                <c:pt idx="39">
                  <c:v>24.77</c:v>
                </c:pt>
                <c:pt idx="40">
                  <c:v>24.97</c:v>
                </c:pt>
              </c:strCache>
            </c:strRef>
          </c:cat>
          <c:val>
            <c:numRef>
              <c:f>Sheet1!$C$2:$C$42</c:f>
              <c:numCache>
                <c:formatCode>General</c:formatCode>
                <c:ptCount val="41"/>
                <c:pt idx="0">
                  <c:v>92.06901880453195</c:v>
                </c:pt>
                <c:pt idx="1">
                  <c:v>92.51377515205712</c:v>
                </c:pt>
                <c:pt idx="2">
                  <c:v>92.95821517241568</c:v>
                </c:pt>
                <c:pt idx="3">
                  <c:v>93.40220254690952</c:v>
                </c:pt>
                <c:pt idx="4">
                  <c:v>93.84561082126548</c:v>
                </c:pt>
                <c:pt idx="5">
                  <c:v>94.28832265637936</c:v>
                </c:pt>
                <c:pt idx="6">
                  <c:v>94.73022914577301</c:v>
                </c:pt>
                <c:pt idx="7">
                  <c:v>95.17122919327218</c:v>
                </c:pt>
                <c:pt idx="8">
                  <c:v>95.61122894505378</c:v>
                </c:pt>
                <c:pt idx="9">
                  <c:v>96.25325958873869</c:v>
                </c:pt>
                <c:pt idx="10">
                  <c:v>96.89018052213217</c:v>
                </c:pt>
                <c:pt idx="11">
                  <c:v>97.52204572843395</c:v>
                </c:pt>
                <c:pt idx="12">
                  <c:v>98.14890835062201</c:v>
                </c:pt>
                <c:pt idx="13">
                  <c:v>98.77082071368577</c:v>
                </c:pt>
                <c:pt idx="14">
                  <c:v>99.38783434601811</c:v>
                </c:pt>
                <c:pt idx="15">
                  <c:v>100.0</c:v>
                </c:pt>
                <c:pt idx="16">
                  <c:v>100.60736767182357</c:v>
                </c:pt>
                <c:pt idx="17">
                  <c:v>101.20998662058017</c:v>
                </c:pt>
                <c:pt idx="18">
                  <c:v>101.80790538665036</c:v>
                </c:pt>
                <c:pt idx="19">
                  <c:v>102.40117180942944</c:v>
                </c:pt>
                <c:pt idx="20">
                  <c:v>102.98983304441111</c:v>
                </c:pt>
                <c:pt idx="21">
                  <c:v>103.57393557966783</c:v>
                </c:pt>
                <c:pt idx="22">
                  <c:v>104.15352525174309</c:v>
                </c:pt>
                <c:pt idx="23">
                  <c:v>104.72864726098837</c:v>
                </c:pt>
                <c:pt idx="24">
                  <c:v>105.29934618636823</c:v>
                </c:pt>
                <c:pt idx="25">
                  <c:v>105.86566599975151</c:v>
                </c:pt>
                <c:pt idx="26">
                  <c:v>106.3765901746418</c:v>
                </c:pt>
                <c:pt idx="27">
                  <c:v>106.88252793935813</c:v>
                </c:pt>
                <c:pt idx="28">
                  <c:v>107.38353059897857</c:v>
                </c:pt>
                <c:pt idx="29">
                  <c:v>107.87964876748973</c:v>
                </c:pt>
                <c:pt idx="30">
                  <c:v>108.37093238043217</c:v>
                </c:pt>
                <c:pt idx="31">
                  <c:v>108.85743070722673</c:v>
                </c:pt>
                <c:pt idx="32">
                  <c:v>109.33919236320253</c:v>
                </c:pt>
                <c:pt idx="33">
                  <c:v>109.81626532132016</c:v>
                </c:pt>
                <c:pt idx="34">
                  <c:v>110.28869692360807</c:v>
                </c:pt>
                <c:pt idx="35">
                  <c:v>110.75653389231985</c:v>
                </c:pt>
                <c:pt idx="36">
                  <c:v>111.21982234082279</c:v>
                </c:pt>
                <c:pt idx="37">
                  <c:v>111.67860778421374</c:v>
                </c:pt>
                <c:pt idx="38">
                  <c:v>112.13293514969051</c:v>
                </c:pt>
                <c:pt idx="39">
                  <c:v>112.58284878666707</c:v>
                </c:pt>
                <c:pt idx="40">
                  <c:v>113.02839247665017</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42</c:f>
              <c:strCache>
                <c:ptCount val="41"/>
                <c:pt idx="0">
                  <c:v>16.97</c:v>
                </c:pt>
                <c:pt idx="1">
                  <c:v>17.17</c:v>
                </c:pt>
                <c:pt idx="2">
                  <c:v>17.37</c:v>
                </c:pt>
                <c:pt idx="3">
                  <c:v>17.57</c:v>
                </c:pt>
                <c:pt idx="4">
                  <c:v>17.77</c:v>
                </c:pt>
                <c:pt idx="5">
                  <c:v>17.97</c:v>
                </c:pt>
                <c:pt idx="6">
                  <c:v>18.17</c:v>
                </c:pt>
                <c:pt idx="7">
                  <c:v>18.37</c:v>
                </c:pt>
                <c:pt idx="8">
                  <c:v>18.57</c:v>
                </c:pt>
                <c:pt idx="9">
                  <c:v>18.77</c:v>
                </c:pt>
                <c:pt idx="10">
                  <c:v>18.97</c:v>
                </c:pt>
                <c:pt idx="11">
                  <c:v>19.17</c:v>
                </c:pt>
                <c:pt idx="12">
                  <c:v>19.37</c:v>
                </c:pt>
                <c:pt idx="13">
                  <c:v>19.57</c:v>
                </c:pt>
                <c:pt idx="14">
                  <c:v>19.77</c:v>
                </c:pt>
                <c:pt idx="15">
                  <c:v>19.97</c:v>
                </c:pt>
                <c:pt idx="16">
                  <c:v>20.17</c:v>
                </c:pt>
                <c:pt idx="17">
                  <c:v>20.37</c:v>
                </c:pt>
                <c:pt idx="18">
                  <c:v>20.57</c:v>
                </c:pt>
                <c:pt idx="19">
                  <c:v>20.77</c:v>
                </c:pt>
                <c:pt idx="20">
                  <c:v>20.97</c:v>
                </c:pt>
                <c:pt idx="21">
                  <c:v>21.17</c:v>
                </c:pt>
                <c:pt idx="22">
                  <c:v>21.37</c:v>
                </c:pt>
                <c:pt idx="23">
                  <c:v>21.57</c:v>
                </c:pt>
                <c:pt idx="24">
                  <c:v>21.77</c:v>
                </c:pt>
                <c:pt idx="25">
                  <c:v>21.97</c:v>
                </c:pt>
                <c:pt idx="26">
                  <c:v>22.17</c:v>
                </c:pt>
                <c:pt idx="27">
                  <c:v>22.37</c:v>
                </c:pt>
                <c:pt idx="28">
                  <c:v>22.57</c:v>
                </c:pt>
                <c:pt idx="29">
                  <c:v>22.77</c:v>
                </c:pt>
                <c:pt idx="30">
                  <c:v>22.97</c:v>
                </c:pt>
                <c:pt idx="31">
                  <c:v>23.17</c:v>
                </c:pt>
                <c:pt idx="32">
                  <c:v>23.37</c:v>
                </c:pt>
                <c:pt idx="33">
                  <c:v>23.57</c:v>
                </c:pt>
                <c:pt idx="34">
                  <c:v>23.77</c:v>
                </c:pt>
                <c:pt idx="35">
                  <c:v>23.97</c:v>
                </c:pt>
                <c:pt idx="36">
                  <c:v>24.17</c:v>
                </c:pt>
                <c:pt idx="37">
                  <c:v>24.37</c:v>
                </c:pt>
                <c:pt idx="38">
                  <c:v>24.57</c:v>
                </c:pt>
                <c:pt idx="39">
                  <c:v>24.77</c:v>
                </c:pt>
                <c:pt idx="40">
                  <c:v>24.97</c:v>
                </c:pt>
              </c:strCache>
            </c:strRef>
          </c:cat>
          <c:val>
            <c:numRef>
              <c:f>Sheet1!$D$2:$D$42</c:f>
              <c:numCache>
                <c:formatCode>General</c:formatCode>
                <c:ptCount val="41"/>
                <c:pt idx="0">
                  <c:v>79.25546198148005</c:v>
                </c:pt>
                <c:pt idx="1">
                  <c:v>80.631382472016</c:v>
                </c:pt>
                <c:pt idx="2">
                  <c:v>81.9941534188594</c:v>
                </c:pt>
                <c:pt idx="3">
                  <c:v>83.34408465292454</c:v>
                </c:pt>
                <c:pt idx="4">
                  <c:v>84.68146998785771</c:v>
                </c:pt>
                <c:pt idx="5">
                  <c:v>86.00658839821473</c:v>
                </c:pt>
                <c:pt idx="6">
                  <c:v>87.31970509416352</c:v>
                </c:pt>
                <c:pt idx="7">
                  <c:v>88.62107250350965</c:v>
                </c:pt>
                <c:pt idx="8">
                  <c:v>89.91093117052962</c:v>
                </c:pt>
                <c:pt idx="9">
                  <c:v>91.38516782754544</c:v>
                </c:pt>
                <c:pt idx="10">
                  <c:v>92.84822645744099</c:v>
                </c:pt>
                <c:pt idx="11">
                  <c:v>94.3002276882679</c:v>
                </c:pt>
                <c:pt idx="12">
                  <c:v>95.74129007984541</c:v>
                </c:pt>
                <c:pt idx="13">
                  <c:v>97.17153018191527</c:v>
                </c:pt>
                <c:pt idx="14">
                  <c:v>98.59106259013507</c:v>
                </c:pt>
                <c:pt idx="15">
                  <c:v>100.0</c:v>
                </c:pt>
                <c:pt idx="16">
                  <c:v>101.39845325878865</c:v>
                </c:pt>
                <c:pt idx="17">
                  <c:v>102.78653141560842</c:v>
                </c:pt>
                <c:pt idx="18">
                  <c:v>104.16434176962504</c:v>
                </c:pt>
                <c:pt idx="19">
                  <c:v>105.53198991655341</c:v>
                </c:pt>
                <c:pt idx="20">
                  <c:v>106.88957979347882</c:v>
                </c:pt>
                <c:pt idx="21">
                  <c:v>108.23721372208419</c:v>
                </c:pt>
                <c:pt idx="22">
                  <c:v>109.57499245034177</c:v>
                </c:pt>
                <c:pt idx="23">
                  <c:v>110.90301519273767</c:v>
                </c:pt>
                <c:pt idx="24">
                  <c:v>112.22137966909081</c:v>
                </c:pt>
                <c:pt idx="25">
                  <c:v>113.53018214201727</c:v>
                </c:pt>
                <c:pt idx="26">
                  <c:v>114.77361072264594</c:v>
                </c:pt>
                <c:pt idx="27">
                  <c:v>116.00621707539153</c:v>
                </c:pt>
                <c:pt idx="28">
                  <c:v>117.22810663286867</c:v>
                </c:pt>
                <c:pt idx="29">
                  <c:v>118.43938346318336</c:v>
                </c:pt>
                <c:pt idx="30">
                  <c:v>119.6401502941093</c:v>
                </c:pt>
                <c:pt idx="31">
                  <c:v>120.83050853669471</c:v>
                </c:pt>
                <c:pt idx="32">
                  <c:v>122.01055830832411</c:v>
                </c:pt>
                <c:pt idx="33">
                  <c:v>123.18039845523418</c:v>
                </c:pt>
                <c:pt idx="34">
                  <c:v>124.34012657450666</c:v>
                </c:pt>
                <c:pt idx="35">
                  <c:v>125.48983903555195</c:v>
                </c:pt>
                <c:pt idx="36">
                  <c:v>126.62963100109846</c:v>
                </c:pt>
                <c:pt idx="37">
                  <c:v>127.75959644768821</c:v>
                </c:pt>
                <c:pt idx="38">
                  <c:v>128.8798281857142</c:v>
                </c:pt>
                <c:pt idx="39">
                  <c:v>129.99041787898844</c:v>
                </c:pt>
                <c:pt idx="40">
                  <c:v>131.09145606386966</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42</c:f>
              <c:strCache>
                <c:ptCount val="41"/>
                <c:pt idx="0">
                  <c:v>16.97</c:v>
                </c:pt>
                <c:pt idx="1">
                  <c:v>17.17</c:v>
                </c:pt>
                <c:pt idx="2">
                  <c:v>17.37</c:v>
                </c:pt>
                <c:pt idx="3">
                  <c:v>17.57</c:v>
                </c:pt>
                <c:pt idx="4">
                  <c:v>17.77</c:v>
                </c:pt>
                <c:pt idx="5">
                  <c:v>17.97</c:v>
                </c:pt>
                <c:pt idx="6">
                  <c:v>18.17</c:v>
                </c:pt>
                <c:pt idx="7">
                  <c:v>18.37</c:v>
                </c:pt>
                <c:pt idx="8">
                  <c:v>18.57</c:v>
                </c:pt>
                <c:pt idx="9">
                  <c:v>18.77</c:v>
                </c:pt>
                <c:pt idx="10">
                  <c:v>18.97</c:v>
                </c:pt>
                <c:pt idx="11">
                  <c:v>19.17</c:v>
                </c:pt>
                <c:pt idx="12">
                  <c:v>19.37</c:v>
                </c:pt>
                <c:pt idx="13">
                  <c:v>19.57</c:v>
                </c:pt>
                <c:pt idx="14">
                  <c:v>19.77</c:v>
                </c:pt>
                <c:pt idx="15">
                  <c:v>19.97</c:v>
                </c:pt>
                <c:pt idx="16">
                  <c:v>20.17</c:v>
                </c:pt>
                <c:pt idx="17">
                  <c:v>20.37</c:v>
                </c:pt>
                <c:pt idx="18">
                  <c:v>20.57</c:v>
                </c:pt>
                <c:pt idx="19">
                  <c:v>20.77</c:v>
                </c:pt>
                <c:pt idx="20">
                  <c:v>20.97</c:v>
                </c:pt>
                <c:pt idx="21">
                  <c:v>21.17</c:v>
                </c:pt>
                <c:pt idx="22">
                  <c:v>21.37</c:v>
                </c:pt>
                <c:pt idx="23">
                  <c:v>21.57</c:v>
                </c:pt>
                <c:pt idx="24">
                  <c:v>21.77</c:v>
                </c:pt>
                <c:pt idx="25">
                  <c:v>21.97</c:v>
                </c:pt>
                <c:pt idx="26">
                  <c:v>22.17</c:v>
                </c:pt>
                <c:pt idx="27">
                  <c:v>22.37</c:v>
                </c:pt>
                <c:pt idx="28">
                  <c:v>22.57</c:v>
                </c:pt>
                <c:pt idx="29">
                  <c:v>22.77</c:v>
                </c:pt>
                <c:pt idx="30">
                  <c:v>22.97</c:v>
                </c:pt>
                <c:pt idx="31">
                  <c:v>23.17</c:v>
                </c:pt>
                <c:pt idx="32">
                  <c:v>23.37</c:v>
                </c:pt>
                <c:pt idx="33">
                  <c:v>23.57</c:v>
                </c:pt>
                <c:pt idx="34">
                  <c:v>23.77</c:v>
                </c:pt>
                <c:pt idx="35">
                  <c:v>23.97</c:v>
                </c:pt>
                <c:pt idx="36">
                  <c:v>24.17</c:v>
                </c:pt>
                <c:pt idx="37">
                  <c:v>24.37</c:v>
                </c:pt>
                <c:pt idx="38">
                  <c:v>24.57</c:v>
                </c:pt>
                <c:pt idx="39">
                  <c:v>24.77</c:v>
                </c:pt>
                <c:pt idx="40">
                  <c:v>24.97</c:v>
                </c:pt>
              </c:strCache>
            </c:strRef>
          </c:cat>
          <c:val>
            <c:numRef>
              <c:f>Sheet1!$E$2:$E$42</c:f>
              <c:numCache>
                <c:formatCode>General</c:formatCode>
                <c:ptCount val="41"/>
                <c:pt idx="0">
                  <c:v>0.4866544263009643</c:v>
                </c:pt>
                <c:pt idx="1">
                  <c:v>0.4926339903510404</c:v>
                </c:pt>
                <c:pt idx="2">
                  <c:v>0.49847585574711367</c:v>
                </c:pt>
                <c:pt idx="3">
                  <c:v>0.5041847247767424</c:v>
                </c:pt>
                <c:pt idx="4">
                  <c:v>0.5097650880319282</c:v>
                </c:pt>
                <c:pt idx="5">
                  <c:v>0.515221236189614</c:v>
                </c:pt>
                <c:pt idx="6">
                  <c:v>0.5205572710141643</c:v>
                </c:pt>
                <c:pt idx="7">
                  <c:v>0.5257771156411194</c:v>
                </c:pt>
                <c:pt idx="8">
                  <c:v>0.5308845241964115</c:v>
                </c:pt>
                <c:pt idx="9">
                  <c:v>0.5358830908006055</c:v>
                </c:pt>
                <c:pt idx="10">
                  <c:v>0.5407762580035511</c:v>
                </c:pt>
                <c:pt idx="11">
                  <c:v>0.5455673246910467</c:v>
                </c:pt>
                <c:pt idx="12">
                  <c:v>0.5502594535016708</c:v>
                </c:pt>
                <c:pt idx="13">
                  <c:v>0.554855677788828</c:v>
                </c:pt>
                <c:pt idx="14">
                  <c:v>0.5593589081602106</c:v>
                </c:pt>
                <c:pt idx="15">
                  <c:v>0.5637719386243046</c:v>
                </c:pt>
                <c:pt idx="16">
                  <c:v>0.5680974523712128</c:v>
                </c:pt>
                <c:pt idx="17">
                  <c:v>0.572338027212929</c:v>
                </c:pt>
                <c:pt idx="18">
                  <c:v>0.5764961407062406</c:v>
                </c:pt>
                <c:pt idx="19">
                  <c:v>0.5805741749796517</c:v>
                </c:pt>
                <c:pt idx="20">
                  <c:v>0.5845744212840899</c:v>
                </c:pt>
                <c:pt idx="21">
                  <c:v>0.5884990842856572</c:v>
                </c:pt>
                <c:pt idx="22">
                  <c:v>0.5923502861173311</c:v>
                </c:pt>
                <c:pt idx="23">
                  <c:v>0.5961300702052555</c:v>
                </c:pt>
                <c:pt idx="24">
                  <c:v>0.5998404048841233</c:v>
                </c:pt>
                <c:pt idx="25">
                  <c:v>0.6034831868150824</c:v>
                </c:pt>
                <c:pt idx="26">
                  <c:v>0.6070602442186452</c:v>
                </c:pt>
                <c:pt idx="27">
                  <c:v>0.6105733399341693</c:v>
                </c:pt>
                <c:pt idx="28">
                  <c:v>0.6140241743166754</c:v>
                </c:pt>
                <c:pt idx="29">
                  <c:v>0.6174143879809998</c:v>
                </c:pt>
                <c:pt idx="30">
                  <c:v>0.6207455644025844</c:v>
                </c:pt>
                <c:pt idx="31">
                  <c:v>0.624019232383572</c:v>
                </c:pt>
                <c:pt idx="32">
                  <c:v>0.6272368683922706</c:v>
                </c:pt>
                <c:pt idx="33">
                  <c:v>0.6303998987835113</c:v>
                </c:pt>
                <c:pt idx="34">
                  <c:v>0.6335097019069148</c:v>
                </c:pt>
                <c:pt idx="35">
                  <c:v>0.6365676101096105</c:v>
                </c:pt>
                <c:pt idx="36">
                  <c:v>0.6395749116395267</c:v>
                </c:pt>
                <c:pt idx="37">
                  <c:v>0.6425328524549596</c:v>
                </c:pt>
                <c:pt idx="38">
                  <c:v>0.6454426379457617</c:v>
                </c:pt>
                <c:pt idx="39">
                  <c:v>0.6483054345711492</c:v>
                </c:pt>
                <c:pt idx="40">
                  <c:v>0.6511223714187973</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6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42</c:f>
              <c:strCache>
                <c:ptCount val="41"/>
                <c:pt idx="0">
                  <c:v>16.97</c:v>
                </c:pt>
                <c:pt idx="1">
                  <c:v>17.17</c:v>
                </c:pt>
                <c:pt idx="2">
                  <c:v>17.37</c:v>
                </c:pt>
                <c:pt idx="3">
                  <c:v>17.57</c:v>
                </c:pt>
                <c:pt idx="4">
                  <c:v>17.77</c:v>
                </c:pt>
                <c:pt idx="5">
                  <c:v>17.97</c:v>
                </c:pt>
                <c:pt idx="6">
                  <c:v>18.17</c:v>
                </c:pt>
                <c:pt idx="7">
                  <c:v>18.37</c:v>
                </c:pt>
                <c:pt idx="8">
                  <c:v>18.57</c:v>
                </c:pt>
                <c:pt idx="9">
                  <c:v>18.77</c:v>
                </c:pt>
                <c:pt idx="10">
                  <c:v>18.97</c:v>
                </c:pt>
                <c:pt idx="11">
                  <c:v>19.17</c:v>
                </c:pt>
                <c:pt idx="12">
                  <c:v>19.37</c:v>
                </c:pt>
                <c:pt idx="13">
                  <c:v>19.57</c:v>
                </c:pt>
                <c:pt idx="14">
                  <c:v>19.77</c:v>
                </c:pt>
                <c:pt idx="15">
                  <c:v>19.97</c:v>
                </c:pt>
                <c:pt idx="16">
                  <c:v>20.17</c:v>
                </c:pt>
                <c:pt idx="17">
                  <c:v>20.37</c:v>
                </c:pt>
                <c:pt idx="18">
                  <c:v>20.57</c:v>
                </c:pt>
                <c:pt idx="19">
                  <c:v>20.77</c:v>
                </c:pt>
                <c:pt idx="20">
                  <c:v>20.97</c:v>
                </c:pt>
                <c:pt idx="21">
                  <c:v>21.17</c:v>
                </c:pt>
                <c:pt idx="22">
                  <c:v>21.37</c:v>
                </c:pt>
                <c:pt idx="23">
                  <c:v>21.57</c:v>
                </c:pt>
                <c:pt idx="24">
                  <c:v>21.77</c:v>
                </c:pt>
                <c:pt idx="25">
                  <c:v>21.97</c:v>
                </c:pt>
                <c:pt idx="26">
                  <c:v>22.17</c:v>
                </c:pt>
                <c:pt idx="27">
                  <c:v>22.37</c:v>
                </c:pt>
                <c:pt idx="28">
                  <c:v>22.57</c:v>
                </c:pt>
                <c:pt idx="29">
                  <c:v>22.77</c:v>
                </c:pt>
                <c:pt idx="30">
                  <c:v>22.97</c:v>
                </c:pt>
                <c:pt idx="31">
                  <c:v>23.17</c:v>
                </c:pt>
                <c:pt idx="32">
                  <c:v>23.37</c:v>
                </c:pt>
                <c:pt idx="33">
                  <c:v>23.57</c:v>
                </c:pt>
                <c:pt idx="34">
                  <c:v>23.77</c:v>
                </c:pt>
                <c:pt idx="35">
                  <c:v>23.97</c:v>
                </c:pt>
                <c:pt idx="36">
                  <c:v>24.17</c:v>
                </c:pt>
                <c:pt idx="37">
                  <c:v>24.37</c:v>
                </c:pt>
                <c:pt idx="38">
                  <c:v>24.57</c:v>
                </c:pt>
                <c:pt idx="39">
                  <c:v>24.77</c:v>
                </c:pt>
                <c:pt idx="40">
                  <c:v>24.97</c:v>
                </c:pt>
              </c:strCache>
            </c:strRef>
          </c:cat>
          <c:val>
            <c:numRef>
              <c:f>Sheet1!$B$2:$B$42</c:f>
              <c:numCache>
                <c:formatCode>General</c:formatCode>
                <c:ptCount val="41"/>
                <c:pt idx="0">
                  <c:v>105.96310786563048</c:v>
                </c:pt>
                <c:pt idx="1">
                  <c:v>105.47549293361563</c:v>
                </c:pt>
                <c:pt idx="2">
                  <c:v>104.99658435896875</c:v>
                </c:pt>
                <c:pt idx="3">
                  <c:v>104.52606883299292</c:v>
                </c:pt>
                <c:pt idx="4">
                  <c:v>104.06364928337268</c:v>
                </c:pt>
                <c:pt idx="5">
                  <c:v>103.60904380147761</c:v>
                </c:pt>
                <c:pt idx="6">
                  <c:v>103.16198465586433</c:v>
                </c:pt>
                <c:pt idx="7">
                  <c:v>102.72221738384832</c:v>
                </c:pt>
                <c:pt idx="8">
                  <c:v>102.28949995388517</c:v>
                </c:pt>
                <c:pt idx="9">
                  <c:v>101.95479855895503</c:v>
                </c:pt>
                <c:pt idx="10">
                  <c:v>101.62270202693556</c:v>
                </c:pt>
                <c:pt idx="11">
                  <c:v>101.2931725924549</c:v>
                </c:pt>
                <c:pt idx="12">
                  <c:v>100.96617334818903</c:v>
                </c:pt>
                <c:pt idx="13">
                  <c:v>100.64166821813299</c:v>
                </c:pt>
                <c:pt idx="14">
                  <c:v>100.31962193189811</c:v>
                </c:pt>
                <c:pt idx="15">
                  <c:v>100.0</c:v>
                </c:pt>
                <c:pt idx="16">
                  <c:v>99.68276869008552</c:v>
                </c:pt>
                <c:pt idx="17">
                  <c:v>99.36789500406422</c:v>
                </c:pt>
                <c:pt idx="18">
                  <c:v>99.05534665610787</c:v>
                </c:pt>
                <c:pt idx="19">
                  <c:v>98.74509205146923</c:v>
                </c:pt>
                <c:pt idx="20">
                  <c:v>98.43710026609685</c:v>
                </c:pt>
                <c:pt idx="21">
                  <c:v>98.1313410270079</c:v>
                </c:pt>
                <c:pt idx="22">
                  <c:v>97.82778469338041</c:v>
                </c:pt>
                <c:pt idx="23">
                  <c:v>97.52640223834254</c:v>
                </c:pt>
                <c:pt idx="24">
                  <c:v>97.22716523142104</c:v>
                </c:pt>
                <c:pt idx="25">
                  <c:v>96.93004582162801</c:v>
                </c:pt>
                <c:pt idx="26">
                  <c:v>96.59754206492944</c:v>
                </c:pt>
                <c:pt idx="27">
                  <c:v>96.26707200809948</c:v>
                </c:pt>
                <c:pt idx="28">
                  <c:v>95.93861636934113</c:v>
                </c:pt>
                <c:pt idx="29">
                  <c:v>95.61215611458296</c:v>
                </c:pt>
                <c:pt idx="30">
                  <c:v>95.28767245332764</c:v>
                </c:pt>
                <c:pt idx="31">
                  <c:v>94.96514683457978</c:v>
                </c:pt>
                <c:pt idx="32">
                  <c:v>94.64456094286717</c:v>
                </c:pt>
                <c:pt idx="33">
                  <c:v>94.3258966943372</c:v>
                </c:pt>
                <c:pt idx="34">
                  <c:v>94.00913623293671</c:v>
                </c:pt>
                <c:pt idx="35">
                  <c:v>93.69426192667308</c:v>
                </c:pt>
                <c:pt idx="36">
                  <c:v>93.3812563639507</c:v>
                </c:pt>
                <c:pt idx="37">
                  <c:v>93.07010234998448</c:v>
                </c:pt>
                <c:pt idx="38">
                  <c:v>92.76078290328932</c:v>
                </c:pt>
                <c:pt idx="39">
                  <c:v>92.4532812522388</c:v>
                </c:pt>
                <c:pt idx="40">
                  <c:v>92.14758083170025</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42</c:f>
              <c:strCache>
                <c:ptCount val="41"/>
                <c:pt idx="0">
                  <c:v>16.97</c:v>
                </c:pt>
                <c:pt idx="1">
                  <c:v>17.17</c:v>
                </c:pt>
                <c:pt idx="2">
                  <c:v>17.37</c:v>
                </c:pt>
                <c:pt idx="3">
                  <c:v>17.57</c:v>
                </c:pt>
                <c:pt idx="4">
                  <c:v>17.77</c:v>
                </c:pt>
                <c:pt idx="5">
                  <c:v>17.97</c:v>
                </c:pt>
                <c:pt idx="6">
                  <c:v>18.17</c:v>
                </c:pt>
                <c:pt idx="7">
                  <c:v>18.37</c:v>
                </c:pt>
                <c:pt idx="8">
                  <c:v>18.57</c:v>
                </c:pt>
                <c:pt idx="9">
                  <c:v>18.77</c:v>
                </c:pt>
                <c:pt idx="10">
                  <c:v>18.97</c:v>
                </c:pt>
                <c:pt idx="11">
                  <c:v>19.17</c:v>
                </c:pt>
                <c:pt idx="12">
                  <c:v>19.37</c:v>
                </c:pt>
                <c:pt idx="13">
                  <c:v>19.57</c:v>
                </c:pt>
                <c:pt idx="14">
                  <c:v>19.77</c:v>
                </c:pt>
                <c:pt idx="15">
                  <c:v>19.97</c:v>
                </c:pt>
                <c:pt idx="16">
                  <c:v>20.17</c:v>
                </c:pt>
                <c:pt idx="17">
                  <c:v>20.37</c:v>
                </c:pt>
                <c:pt idx="18">
                  <c:v>20.57</c:v>
                </c:pt>
                <c:pt idx="19">
                  <c:v>20.77</c:v>
                </c:pt>
                <c:pt idx="20">
                  <c:v>20.97</c:v>
                </c:pt>
                <c:pt idx="21">
                  <c:v>21.17</c:v>
                </c:pt>
                <c:pt idx="22">
                  <c:v>21.37</c:v>
                </c:pt>
                <c:pt idx="23">
                  <c:v>21.57</c:v>
                </c:pt>
                <c:pt idx="24">
                  <c:v>21.77</c:v>
                </c:pt>
                <c:pt idx="25">
                  <c:v>21.97</c:v>
                </c:pt>
                <c:pt idx="26">
                  <c:v>22.17</c:v>
                </c:pt>
                <c:pt idx="27">
                  <c:v>22.37</c:v>
                </c:pt>
                <c:pt idx="28">
                  <c:v>22.57</c:v>
                </c:pt>
                <c:pt idx="29">
                  <c:v>22.77</c:v>
                </c:pt>
                <c:pt idx="30">
                  <c:v>22.97</c:v>
                </c:pt>
                <c:pt idx="31">
                  <c:v>23.17</c:v>
                </c:pt>
                <c:pt idx="32">
                  <c:v>23.37</c:v>
                </c:pt>
                <c:pt idx="33">
                  <c:v>23.57</c:v>
                </c:pt>
                <c:pt idx="34">
                  <c:v>23.77</c:v>
                </c:pt>
                <c:pt idx="35">
                  <c:v>23.97</c:v>
                </c:pt>
                <c:pt idx="36">
                  <c:v>24.17</c:v>
                </c:pt>
                <c:pt idx="37">
                  <c:v>24.37</c:v>
                </c:pt>
                <c:pt idx="38">
                  <c:v>24.57</c:v>
                </c:pt>
                <c:pt idx="39">
                  <c:v>24.77</c:v>
                </c:pt>
                <c:pt idx="40">
                  <c:v>24.97</c:v>
                </c:pt>
              </c:strCache>
            </c:strRef>
          </c:cat>
          <c:val>
            <c:numRef>
              <c:f>Sheet1!$C$2:$C$42</c:f>
              <c:numCache>
                <c:formatCode>General</c:formatCode>
                <c:ptCount val="41"/>
                <c:pt idx="0">
                  <c:v>90.38334190882154</c:v>
                </c:pt>
                <c:pt idx="1">
                  <c:v>91.00466065785757</c:v>
                </c:pt>
                <c:pt idx="2">
                  <c:v>91.62361570316565</c:v>
                </c:pt>
                <c:pt idx="3">
                  <c:v>92.24019503381923</c:v>
                </c:pt>
                <c:pt idx="4">
                  <c:v>92.8543885605773</c:v>
                </c:pt>
                <c:pt idx="5">
                  <c:v>93.46618795899872</c:v>
                </c:pt>
                <c:pt idx="6">
                  <c:v>94.07558652697398</c:v>
                </c:pt>
                <c:pt idx="7">
                  <c:v>94.68257905519326</c:v>
                </c:pt>
                <c:pt idx="8">
                  <c:v>95.28716170923252</c:v>
                </c:pt>
                <c:pt idx="9">
                  <c:v>95.97349292718546</c:v>
                </c:pt>
                <c:pt idx="10">
                  <c:v>96.65539082543242</c:v>
                </c:pt>
                <c:pt idx="11">
                  <c:v>97.33290245111665</c:v>
                </c:pt>
                <c:pt idx="12">
                  <c:v>98.00607406349914</c:v>
                </c:pt>
                <c:pt idx="13">
                  <c:v>98.67495115345838</c:v>
                </c:pt>
                <c:pt idx="14">
                  <c:v>99.33957846231185</c:v>
                </c:pt>
                <c:pt idx="15">
                  <c:v>100.0</c:v>
                </c:pt>
                <c:pt idx="16">
                  <c:v>100.65625906265456</c:v>
                </c:pt>
                <c:pt idx="17">
                  <c:v>101.30839824958208</c:v>
                </c:pt>
                <c:pt idx="18">
                  <c:v>101.95645947969503</c:v>
                </c:pt>
                <c:pt idx="19">
                  <c:v>102.60048400739991</c:v>
                </c:pt>
                <c:pt idx="20">
                  <c:v>103.24051243798276</c:v>
                </c:pt>
                <c:pt idx="21">
                  <c:v>103.87658474250394</c:v>
                </c:pt>
                <c:pt idx="22">
                  <c:v>104.50874027222304</c:v>
                </c:pt>
                <c:pt idx="23">
                  <c:v>105.13701777257755</c:v>
                </c:pt>
                <c:pt idx="24">
                  <c:v>105.76145539672761</c:v>
                </c:pt>
                <c:pt idx="25">
                  <c:v>106.3820907186924</c:v>
                </c:pt>
                <c:pt idx="26">
                  <c:v>106.95810169695135</c:v>
                </c:pt>
                <c:pt idx="27">
                  <c:v>107.52965077627795</c:v>
                </c:pt>
                <c:pt idx="28">
                  <c:v>108.09678131797615</c:v>
                </c:pt>
                <c:pt idx="29">
                  <c:v>108.65953610227656</c:v>
                </c:pt>
                <c:pt idx="30">
                  <c:v>109.21795733803891</c:v>
                </c:pt>
                <c:pt idx="31">
                  <c:v>109.772086672247</c:v>
                </c:pt>
                <c:pt idx="32">
                  <c:v>110.32196519931668</c:v>
                </c:pt>
                <c:pt idx="33">
                  <c:v>110.8676334702059</c:v>
                </c:pt>
                <c:pt idx="34">
                  <c:v>111.40913150134195</c:v>
                </c:pt>
                <c:pt idx="35">
                  <c:v>111.94649878337034</c:v>
                </c:pt>
                <c:pt idx="36">
                  <c:v>112.4797742897258</c:v>
                </c:pt>
                <c:pt idx="37">
                  <c:v>113.00899648503355</c:v>
                </c:pt>
                <c:pt idx="38">
                  <c:v>113.53420333334587</c:v>
                </c:pt>
                <c:pt idx="39">
                  <c:v>114.05543230621255</c:v>
                </c:pt>
                <c:pt idx="40">
                  <c:v>114.5727203906004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42</c:f>
              <c:strCache>
                <c:ptCount val="41"/>
                <c:pt idx="0">
                  <c:v>16.97</c:v>
                </c:pt>
                <c:pt idx="1">
                  <c:v>17.17</c:v>
                </c:pt>
                <c:pt idx="2">
                  <c:v>17.37</c:v>
                </c:pt>
                <c:pt idx="3">
                  <c:v>17.57</c:v>
                </c:pt>
                <c:pt idx="4">
                  <c:v>17.77</c:v>
                </c:pt>
                <c:pt idx="5">
                  <c:v>17.97</c:v>
                </c:pt>
                <c:pt idx="6">
                  <c:v>18.17</c:v>
                </c:pt>
                <c:pt idx="7">
                  <c:v>18.37</c:v>
                </c:pt>
                <c:pt idx="8">
                  <c:v>18.57</c:v>
                </c:pt>
                <c:pt idx="9">
                  <c:v>18.77</c:v>
                </c:pt>
                <c:pt idx="10">
                  <c:v>18.97</c:v>
                </c:pt>
                <c:pt idx="11">
                  <c:v>19.17</c:v>
                </c:pt>
                <c:pt idx="12">
                  <c:v>19.37</c:v>
                </c:pt>
                <c:pt idx="13">
                  <c:v>19.57</c:v>
                </c:pt>
                <c:pt idx="14">
                  <c:v>19.77</c:v>
                </c:pt>
                <c:pt idx="15">
                  <c:v>19.97</c:v>
                </c:pt>
                <c:pt idx="16">
                  <c:v>20.17</c:v>
                </c:pt>
                <c:pt idx="17">
                  <c:v>20.37</c:v>
                </c:pt>
                <c:pt idx="18">
                  <c:v>20.57</c:v>
                </c:pt>
                <c:pt idx="19">
                  <c:v>20.77</c:v>
                </c:pt>
                <c:pt idx="20">
                  <c:v>20.97</c:v>
                </c:pt>
                <c:pt idx="21">
                  <c:v>21.17</c:v>
                </c:pt>
                <c:pt idx="22">
                  <c:v>21.37</c:v>
                </c:pt>
                <c:pt idx="23">
                  <c:v>21.57</c:v>
                </c:pt>
                <c:pt idx="24">
                  <c:v>21.77</c:v>
                </c:pt>
                <c:pt idx="25">
                  <c:v>21.97</c:v>
                </c:pt>
                <c:pt idx="26">
                  <c:v>22.17</c:v>
                </c:pt>
                <c:pt idx="27">
                  <c:v>22.37</c:v>
                </c:pt>
                <c:pt idx="28">
                  <c:v>22.57</c:v>
                </c:pt>
                <c:pt idx="29">
                  <c:v>22.77</c:v>
                </c:pt>
                <c:pt idx="30">
                  <c:v>22.97</c:v>
                </c:pt>
                <c:pt idx="31">
                  <c:v>23.17</c:v>
                </c:pt>
                <c:pt idx="32">
                  <c:v>23.37</c:v>
                </c:pt>
                <c:pt idx="33">
                  <c:v>23.57</c:v>
                </c:pt>
                <c:pt idx="34">
                  <c:v>23.77</c:v>
                </c:pt>
                <c:pt idx="35">
                  <c:v>23.97</c:v>
                </c:pt>
                <c:pt idx="36">
                  <c:v>24.17</c:v>
                </c:pt>
                <c:pt idx="37">
                  <c:v>24.37</c:v>
                </c:pt>
                <c:pt idx="38">
                  <c:v>24.57</c:v>
                </c:pt>
                <c:pt idx="39">
                  <c:v>24.77</c:v>
                </c:pt>
                <c:pt idx="40">
                  <c:v>24.97</c:v>
                </c:pt>
              </c:strCache>
            </c:strRef>
          </c:cat>
          <c:val>
            <c:numRef>
              <c:f>Sheet1!$D$2:$D$42</c:f>
              <c:numCache>
                <c:formatCode>General</c:formatCode>
                <c:ptCount val="41"/>
                <c:pt idx="0">
                  <c:v>69.61385532167661</c:v>
                </c:pt>
                <c:pt idx="1">
                  <c:v>71.70564246461852</c:v>
                </c:pt>
                <c:pt idx="2">
                  <c:v>73.78124492376763</c:v>
                </c:pt>
                <c:pt idx="3">
                  <c:v>75.84103269188496</c:v>
                </c:pt>
                <c:pt idx="4">
                  <c:v>77.88535925330055</c:v>
                </c:pt>
                <c:pt idx="5">
                  <c:v>79.91456261309263</c:v>
                </c:pt>
                <c:pt idx="6">
                  <c:v>81.92896624753327</c:v>
                </c:pt>
                <c:pt idx="7">
                  <c:v>83.92887998295959</c:v>
                </c:pt>
                <c:pt idx="8">
                  <c:v>85.9146008094685</c:v>
                </c:pt>
                <c:pt idx="9">
                  <c:v>87.96509668804782</c:v>
                </c:pt>
                <c:pt idx="10">
                  <c:v>90.00259091914565</c:v>
                </c:pt>
                <c:pt idx="11">
                  <c:v>92.02722790483669</c:v>
                </c:pt>
                <c:pt idx="12">
                  <c:v>94.03914939173082</c:v>
                </c:pt>
                <c:pt idx="13">
                  <c:v>96.03849454358122</c:v>
                </c:pt>
                <c:pt idx="14">
                  <c:v>98.02540001122708</c:v>
                </c:pt>
                <c:pt idx="15">
                  <c:v>100.0</c:v>
                </c:pt>
                <c:pt idx="16">
                  <c:v>101.96242633470098</c:v>
                </c:pt>
                <c:pt idx="17">
                  <c:v>103.91280852225964</c:v>
                </c:pt>
                <c:pt idx="18">
                  <c:v>105.85127381218496</c:v>
                </c:pt>
                <c:pt idx="19">
                  <c:v>107.77794725488931</c:v>
                </c:pt>
                <c:pt idx="20">
                  <c:v>109.692951757996</c:v>
                </c:pt>
                <c:pt idx="21">
                  <c:v>111.59640814070877</c:v>
                </c:pt>
                <c:pt idx="22">
                  <c:v>113.48843518632452</c:v>
                </c:pt>
                <c:pt idx="23">
                  <c:v>115.3691496929761</c:v>
                </c:pt>
                <c:pt idx="24">
                  <c:v>117.23866652266979</c:v>
                </c:pt>
                <c:pt idx="25">
                  <c:v>119.09709864870092</c:v>
                </c:pt>
                <c:pt idx="26">
                  <c:v>120.89765540692672</c:v>
                </c:pt>
                <c:pt idx="27">
                  <c:v>122.68559583264955</c:v>
                </c:pt>
                <c:pt idx="28">
                  <c:v>124.46103443842682</c:v>
                </c:pt>
                <c:pt idx="29">
                  <c:v>126.2240843000244</c:v>
                </c:pt>
                <c:pt idx="30">
                  <c:v>127.97485707916671</c:v>
                </c:pt>
                <c:pt idx="31">
                  <c:v>129.71346304582673</c:v>
                </c:pt>
                <c:pt idx="32">
                  <c:v>131.44001110008566</c:v>
                </c:pt>
                <c:pt idx="33">
                  <c:v>133.15460879355433</c:v>
                </c:pt>
                <c:pt idx="34">
                  <c:v>134.85736235037695</c:v>
                </c:pt>
                <c:pt idx="35">
                  <c:v>136.54837668783097</c:v>
                </c:pt>
                <c:pt idx="36">
                  <c:v>138.22775543652347</c:v>
                </c:pt>
                <c:pt idx="37">
                  <c:v>139.89560096020247</c:v>
                </c:pt>
                <c:pt idx="38">
                  <c:v>141.55201437519088</c:v>
                </c:pt>
                <c:pt idx="39">
                  <c:v>143.1970955694458</c:v>
                </c:pt>
                <c:pt idx="40">
                  <c:v>144.83094322126732</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42</c:f>
              <c:strCache>
                <c:ptCount val="41"/>
                <c:pt idx="0">
                  <c:v>16.97</c:v>
                </c:pt>
                <c:pt idx="1">
                  <c:v>17.17</c:v>
                </c:pt>
                <c:pt idx="2">
                  <c:v>17.37</c:v>
                </c:pt>
                <c:pt idx="3">
                  <c:v>17.57</c:v>
                </c:pt>
                <c:pt idx="4">
                  <c:v>17.77</c:v>
                </c:pt>
                <c:pt idx="5">
                  <c:v>17.97</c:v>
                </c:pt>
                <c:pt idx="6">
                  <c:v>18.17</c:v>
                </c:pt>
                <c:pt idx="7">
                  <c:v>18.37</c:v>
                </c:pt>
                <c:pt idx="8">
                  <c:v>18.57</c:v>
                </c:pt>
                <c:pt idx="9">
                  <c:v>18.77</c:v>
                </c:pt>
                <c:pt idx="10">
                  <c:v>18.97</c:v>
                </c:pt>
                <c:pt idx="11">
                  <c:v>19.17</c:v>
                </c:pt>
                <c:pt idx="12">
                  <c:v>19.37</c:v>
                </c:pt>
                <c:pt idx="13">
                  <c:v>19.57</c:v>
                </c:pt>
                <c:pt idx="14">
                  <c:v>19.77</c:v>
                </c:pt>
                <c:pt idx="15">
                  <c:v>19.97</c:v>
                </c:pt>
                <c:pt idx="16">
                  <c:v>20.17</c:v>
                </c:pt>
                <c:pt idx="17">
                  <c:v>20.37</c:v>
                </c:pt>
                <c:pt idx="18">
                  <c:v>20.57</c:v>
                </c:pt>
                <c:pt idx="19">
                  <c:v>20.77</c:v>
                </c:pt>
                <c:pt idx="20">
                  <c:v>20.97</c:v>
                </c:pt>
                <c:pt idx="21">
                  <c:v>21.17</c:v>
                </c:pt>
                <c:pt idx="22">
                  <c:v>21.37</c:v>
                </c:pt>
                <c:pt idx="23">
                  <c:v>21.57</c:v>
                </c:pt>
                <c:pt idx="24">
                  <c:v>21.77</c:v>
                </c:pt>
                <c:pt idx="25">
                  <c:v>21.97</c:v>
                </c:pt>
                <c:pt idx="26">
                  <c:v>22.17</c:v>
                </c:pt>
                <c:pt idx="27">
                  <c:v>22.37</c:v>
                </c:pt>
                <c:pt idx="28">
                  <c:v>22.57</c:v>
                </c:pt>
                <c:pt idx="29">
                  <c:v>22.77</c:v>
                </c:pt>
                <c:pt idx="30">
                  <c:v>22.97</c:v>
                </c:pt>
                <c:pt idx="31">
                  <c:v>23.17</c:v>
                </c:pt>
                <c:pt idx="32">
                  <c:v>23.37</c:v>
                </c:pt>
                <c:pt idx="33">
                  <c:v>23.57</c:v>
                </c:pt>
                <c:pt idx="34">
                  <c:v>23.77</c:v>
                </c:pt>
                <c:pt idx="35">
                  <c:v>23.97</c:v>
                </c:pt>
                <c:pt idx="36">
                  <c:v>24.17</c:v>
                </c:pt>
                <c:pt idx="37">
                  <c:v>24.37</c:v>
                </c:pt>
                <c:pt idx="38">
                  <c:v>24.57</c:v>
                </c:pt>
                <c:pt idx="39">
                  <c:v>24.77</c:v>
                </c:pt>
                <c:pt idx="40">
                  <c:v>24.97</c:v>
                </c:pt>
              </c:strCache>
            </c:strRef>
          </c:cat>
          <c:val>
            <c:numRef>
              <c:f>Sheet1!$E$2:$E$42</c:f>
              <c:numCache>
                <c:formatCode>General</c:formatCode>
                <c:ptCount val="41"/>
                <c:pt idx="0">
                  <c:v>0.33856309323391515</c:v>
                </c:pt>
                <c:pt idx="1">
                  <c:v>0.3462676582515748</c:v>
                </c:pt>
                <c:pt idx="2">
                  <c:v>0.35379480093146465</c:v>
                </c:pt>
                <c:pt idx="3">
                  <c:v>0.3611505800898998</c:v>
                </c:pt>
                <c:pt idx="4">
                  <c:v>0.3683407817771266</c:v>
                </c:pt>
                <c:pt idx="5">
                  <c:v>0.37537093445629044</c:v>
                </c:pt>
                <c:pt idx="6">
                  <c:v>0.3822463231799416</c:v>
                </c:pt>
                <c:pt idx="7">
                  <c:v>0.38897200284047584</c:v>
                </c:pt>
                <c:pt idx="8">
                  <c:v>0.39555281056432634</c:v>
                </c:pt>
                <c:pt idx="9">
                  <c:v>0.4019933773137742</c:v>
                </c:pt>
                <c:pt idx="10">
                  <c:v>0.4082981387548518</c:v>
                </c:pt>
                <c:pt idx="11">
                  <c:v>0.4144713454449421</c:v>
                </c:pt>
                <c:pt idx="12">
                  <c:v>0.42051707238923797</c:v>
                </c:pt>
                <c:pt idx="13">
                  <c:v>0.4264392280112182</c:v>
                </c:pt>
                <c:pt idx="14">
                  <c:v>0.43224156257863133</c:v>
                </c:pt>
                <c:pt idx="15">
                  <c:v>0.43792767612316175</c:v>
                </c:pt>
                <c:pt idx="16">
                  <c:v>0.4435010258889211</c:v>
                </c:pt>
                <c:pt idx="17">
                  <c:v>0.44896493334214727</c:v>
                </c:pt>
                <c:pt idx="18">
                  <c:v>0.4543225907719758</c:v>
                </c:pt>
                <c:pt idx="19">
                  <c:v>0.4595770675098479</c:v>
                </c:pt>
                <c:pt idx="20">
                  <c:v>0.46473131579301574</c:v>
                </c:pt>
                <c:pt idx="21">
                  <c:v>0.46978817629567965</c:v>
                </c:pt>
                <c:pt idx="22">
                  <c:v>0.47475038334953396</c:v>
                </c:pt>
                <c:pt idx="23">
                  <c:v>0.4796205698738776</c:v>
                </c:pt>
                <c:pt idx="24">
                  <c:v>0.4844012720339706</c:v>
                </c:pt>
                <c:pt idx="25">
                  <c:v>0.48909493364494944</c:v>
                </c:pt>
                <c:pt idx="26">
                  <c:v>0.4937039103373721</c:v>
                </c:pt>
                <c:pt idx="27">
                  <c:v>0.4982304734993089</c:v>
                </c:pt>
                <c:pt idx="28">
                  <c:v>0.502676814008841</c:v>
                </c:pt>
                <c:pt idx="29">
                  <c:v>0.5070450457698524</c:v>
                </c:pt>
                <c:pt idx="30">
                  <c:v>0.5113372090631058</c:v>
                </c:pt>
                <c:pt idx="31">
                  <c:v>0.5155552737237609</c:v>
                </c:pt>
                <c:pt idx="32">
                  <c:v>0.5197011421557355</c:v>
                </c:pt>
                <c:pt idx="33">
                  <c:v>0.5237766521925982</c:v>
                </c:pt>
                <c:pt idx="34">
                  <c:v>0.527783579814032</c:v>
                </c:pt>
                <c:pt idx="35">
                  <c:v>0.5317236417263054</c:v>
                </c:pt>
                <c:pt idx="36">
                  <c:v>0.5355984978146271</c:v>
                </c:pt>
                <c:pt idx="37">
                  <c:v>0.5394097534747452</c:v>
                </c:pt>
                <c:pt idx="38">
                  <c:v>0.5431589618306691</c:v>
                </c:pt>
                <c:pt idx="39">
                  <c:v>0.5468476258449553</c:v>
                </c:pt>
                <c:pt idx="40">
                  <c:v>0.550477200327574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7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2</c:f>
              <c:strCache>
                <c:ptCount val="31"/>
                <c:pt idx="0">
                  <c:v>12.57</c:v>
                </c:pt>
                <c:pt idx="1">
                  <c:v>12.77</c:v>
                </c:pt>
                <c:pt idx="2">
                  <c:v>12.97</c:v>
                </c:pt>
                <c:pt idx="3">
                  <c:v>13.17</c:v>
                </c:pt>
                <c:pt idx="4">
                  <c:v>13.37</c:v>
                </c:pt>
                <c:pt idx="5">
                  <c:v>13.57</c:v>
                </c:pt>
                <c:pt idx="6">
                  <c:v>13.77</c:v>
                </c:pt>
                <c:pt idx="7">
                  <c:v>13.97</c:v>
                </c:pt>
                <c:pt idx="8">
                  <c:v>14.17</c:v>
                </c:pt>
                <c:pt idx="9">
                  <c:v>14.37</c:v>
                </c:pt>
                <c:pt idx="10">
                  <c:v>14.57</c:v>
                </c:pt>
                <c:pt idx="11">
                  <c:v>14.77</c:v>
                </c:pt>
                <c:pt idx="12">
                  <c:v>14.97</c:v>
                </c:pt>
                <c:pt idx="13">
                  <c:v>15.17</c:v>
                </c:pt>
                <c:pt idx="14">
                  <c:v>15.37</c:v>
                </c:pt>
                <c:pt idx="15">
                  <c:v>15.57</c:v>
                </c:pt>
                <c:pt idx="16">
                  <c:v>15.77</c:v>
                </c:pt>
                <c:pt idx="17">
                  <c:v>15.97</c:v>
                </c:pt>
                <c:pt idx="18">
                  <c:v>16.17</c:v>
                </c:pt>
                <c:pt idx="19">
                  <c:v>16.37</c:v>
                </c:pt>
                <c:pt idx="20">
                  <c:v>16.57</c:v>
                </c:pt>
                <c:pt idx="21">
                  <c:v>16.77</c:v>
                </c:pt>
                <c:pt idx="22">
                  <c:v>16.97</c:v>
                </c:pt>
                <c:pt idx="23">
                  <c:v>17.17</c:v>
                </c:pt>
                <c:pt idx="24">
                  <c:v>17.37</c:v>
                </c:pt>
                <c:pt idx="25">
                  <c:v>17.57</c:v>
                </c:pt>
                <c:pt idx="26">
                  <c:v>17.77</c:v>
                </c:pt>
                <c:pt idx="27">
                  <c:v>17.97</c:v>
                </c:pt>
                <c:pt idx="28">
                  <c:v>18.17</c:v>
                </c:pt>
                <c:pt idx="29">
                  <c:v>18.37</c:v>
                </c:pt>
                <c:pt idx="30">
                  <c:v>18.57</c:v>
                </c:pt>
              </c:strCache>
            </c:strRef>
          </c:cat>
          <c:val>
            <c:numRef>
              <c:f>Sheet1!$B$2:$B$32</c:f>
              <c:numCache>
                <c:formatCode>General</c:formatCode>
                <c:ptCount val="31"/>
                <c:pt idx="0">
                  <c:v>120.25461564197926</c:v>
                </c:pt>
                <c:pt idx="1">
                  <c:v>116.49156445272857</c:v>
                </c:pt>
                <c:pt idx="2">
                  <c:v>113.04378626608795</c:v>
                </c:pt>
                <c:pt idx="3">
                  <c:v>109.87101743027733</c:v>
                </c:pt>
                <c:pt idx="4">
                  <c:v>106.93914726054174</c:v>
                </c:pt>
                <c:pt idx="5">
                  <c:v>105.15056146954673</c:v>
                </c:pt>
                <c:pt idx="6">
                  <c:v>104.35881469047708</c:v>
                </c:pt>
                <c:pt idx="7">
                  <c:v>103.58724006178677</c:v>
                </c:pt>
                <c:pt idx="8">
                  <c:v>102.83486445769978</c:v>
                </c:pt>
                <c:pt idx="9">
                  <c:v>102.10077790937468</c:v>
                </c:pt>
                <c:pt idx="10">
                  <c:v>101.38412868323736</c:v>
                </c:pt>
                <c:pt idx="11">
                  <c:v>100.68411880762287</c:v>
                </c:pt>
                <c:pt idx="12">
                  <c:v>100.0</c:v>
                </c:pt>
                <c:pt idx="13">
                  <c:v>98.96902185513316</c:v>
                </c:pt>
                <c:pt idx="14">
                  <c:v>97.96930706907322</c:v>
                </c:pt>
                <c:pt idx="15">
                  <c:v>96.99902701680342</c:v>
                </c:pt>
                <c:pt idx="16">
                  <c:v>96.05650991711548</c:v>
                </c:pt>
                <c:pt idx="17">
                  <c:v>95.14022328304878</c:v>
                </c:pt>
                <c:pt idx="18">
                  <c:v>94.63758443491103</c:v>
                </c:pt>
                <c:pt idx="19">
                  <c:v>94.14342497685382</c:v>
                </c:pt>
                <c:pt idx="20">
                  <c:v>93.65746487682298</c:v>
                </c:pt>
                <c:pt idx="21">
                  <c:v>93.17943764630702</c:v>
                </c:pt>
                <c:pt idx="22">
                  <c:v>92.70908949759458</c:v>
                </c:pt>
                <c:pt idx="23">
                  <c:v>92.24617856484896</c:v>
                </c:pt>
                <c:pt idx="24">
                  <c:v>91.79047418334365</c:v>
                </c:pt>
                <c:pt idx="25">
                  <c:v>91.3417562217451</c:v>
                </c:pt>
                <c:pt idx="26">
                  <c:v>90.89981446285995</c:v>
                </c:pt>
                <c:pt idx="27">
                  <c:v>90.46444802869394</c:v>
                </c:pt>
                <c:pt idx="28">
                  <c:v>90.03546484609213</c:v>
                </c:pt>
                <c:pt idx="29">
                  <c:v>89.61268114957295</c:v>
                </c:pt>
                <c:pt idx="30">
                  <c:v>89.195921018304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2</c:f>
              <c:strCache>
                <c:ptCount val="31"/>
                <c:pt idx="0">
                  <c:v>12.57</c:v>
                </c:pt>
                <c:pt idx="1">
                  <c:v>12.77</c:v>
                </c:pt>
                <c:pt idx="2">
                  <c:v>12.97</c:v>
                </c:pt>
                <c:pt idx="3">
                  <c:v>13.17</c:v>
                </c:pt>
                <c:pt idx="4">
                  <c:v>13.37</c:v>
                </c:pt>
                <c:pt idx="5">
                  <c:v>13.57</c:v>
                </c:pt>
                <c:pt idx="6">
                  <c:v>13.77</c:v>
                </c:pt>
                <c:pt idx="7">
                  <c:v>13.97</c:v>
                </c:pt>
                <c:pt idx="8">
                  <c:v>14.17</c:v>
                </c:pt>
                <c:pt idx="9">
                  <c:v>14.37</c:v>
                </c:pt>
                <c:pt idx="10">
                  <c:v>14.57</c:v>
                </c:pt>
                <c:pt idx="11">
                  <c:v>14.77</c:v>
                </c:pt>
                <c:pt idx="12">
                  <c:v>14.97</c:v>
                </c:pt>
                <c:pt idx="13">
                  <c:v>15.17</c:v>
                </c:pt>
                <c:pt idx="14">
                  <c:v>15.37</c:v>
                </c:pt>
                <c:pt idx="15">
                  <c:v>15.57</c:v>
                </c:pt>
                <c:pt idx="16">
                  <c:v>15.77</c:v>
                </c:pt>
                <c:pt idx="17">
                  <c:v>15.97</c:v>
                </c:pt>
                <c:pt idx="18">
                  <c:v>16.17</c:v>
                </c:pt>
                <c:pt idx="19">
                  <c:v>16.37</c:v>
                </c:pt>
                <c:pt idx="20">
                  <c:v>16.57</c:v>
                </c:pt>
                <c:pt idx="21">
                  <c:v>16.77</c:v>
                </c:pt>
                <c:pt idx="22">
                  <c:v>16.97</c:v>
                </c:pt>
                <c:pt idx="23">
                  <c:v>17.17</c:v>
                </c:pt>
                <c:pt idx="24">
                  <c:v>17.37</c:v>
                </c:pt>
                <c:pt idx="25">
                  <c:v>17.57</c:v>
                </c:pt>
                <c:pt idx="26">
                  <c:v>17.77</c:v>
                </c:pt>
                <c:pt idx="27">
                  <c:v>17.97</c:v>
                </c:pt>
                <c:pt idx="28">
                  <c:v>18.17</c:v>
                </c:pt>
                <c:pt idx="29">
                  <c:v>18.37</c:v>
                </c:pt>
                <c:pt idx="30">
                  <c:v>18.57</c:v>
                </c:pt>
              </c:strCache>
            </c:strRef>
          </c:cat>
          <c:val>
            <c:numRef>
              <c:f>Sheet1!$C$2:$C$32</c:f>
              <c:numCache>
                <c:formatCode>General</c:formatCode>
                <c:ptCount val="31"/>
                <c:pt idx="0">
                  <c:v>101.07844191265202</c:v>
                </c:pt>
                <c:pt idx="1">
                  <c:v>99.46842464200374</c:v>
                </c:pt>
                <c:pt idx="2">
                  <c:v>98.03116411302801</c:v>
                </c:pt>
                <c:pt idx="3">
                  <c:v>96.74387481296185</c:v>
                </c:pt>
                <c:pt idx="4">
                  <c:v>95.58711382658687</c:v>
                </c:pt>
                <c:pt idx="5">
                  <c:v>95.38658910662663</c:v>
                </c:pt>
                <c:pt idx="6">
                  <c:v>96.05327427786547</c:v>
                </c:pt>
                <c:pt idx="7">
                  <c:v>96.71759054249668</c:v>
                </c:pt>
                <c:pt idx="8">
                  <c:v>97.37942555987493</c:v>
                </c:pt>
                <c:pt idx="9">
                  <c:v>98.03867571992654</c:v>
                </c:pt>
                <c:pt idx="10">
                  <c:v>98.69524555979844</c:v>
                </c:pt>
                <c:pt idx="11">
                  <c:v>99.3490472294098</c:v>
                </c:pt>
                <c:pt idx="12">
                  <c:v>100.0</c:v>
                </c:pt>
                <c:pt idx="13">
                  <c:v>100.28255066696674</c:v>
                </c:pt>
                <c:pt idx="14">
                  <c:v>100.56971167208988</c:v>
                </c:pt>
                <c:pt idx="15">
                  <c:v>100.8608325324454</c:v>
                </c:pt>
                <c:pt idx="16">
                  <c:v>101.15533042158778</c:v>
                </c:pt>
                <c:pt idx="17">
                  <c:v>101.45268190942991</c:v>
                </c:pt>
                <c:pt idx="18">
                  <c:v>102.17039997070476</c:v>
                </c:pt>
                <c:pt idx="19">
                  <c:v>102.88390517542058</c:v>
                </c:pt>
                <c:pt idx="20">
                  <c:v>103.59322875714183</c:v>
                </c:pt>
                <c:pt idx="21">
                  <c:v>104.29840213985769</c:v>
                </c:pt>
                <c:pt idx="22">
                  <c:v>104.99945688690184</c:v>
                </c:pt>
                <c:pt idx="23">
                  <c:v>105.69642465559457</c:v>
                </c:pt>
                <c:pt idx="24">
                  <c:v>106.38933715700125</c:v>
                </c:pt>
                <c:pt idx="25">
                  <c:v>107.07822612023836</c:v>
                </c:pt>
                <c:pt idx="26">
                  <c:v>107.76312326084032</c:v>
                </c:pt>
                <c:pt idx="27">
                  <c:v>108.4440602527267</c:v>
                </c:pt>
                <c:pt idx="28">
                  <c:v>109.12106870338263</c:v>
                </c:pt>
                <c:pt idx="29">
                  <c:v>109.79418013188416</c:v>
                </c:pt>
                <c:pt idx="30">
                  <c:v>110.46342594945759</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2</c:f>
              <c:strCache>
                <c:ptCount val="31"/>
                <c:pt idx="0">
                  <c:v>12.57</c:v>
                </c:pt>
                <c:pt idx="1">
                  <c:v>12.77</c:v>
                </c:pt>
                <c:pt idx="2">
                  <c:v>12.97</c:v>
                </c:pt>
                <c:pt idx="3">
                  <c:v>13.17</c:v>
                </c:pt>
                <c:pt idx="4">
                  <c:v>13.37</c:v>
                </c:pt>
                <c:pt idx="5">
                  <c:v>13.57</c:v>
                </c:pt>
                <c:pt idx="6">
                  <c:v>13.77</c:v>
                </c:pt>
                <c:pt idx="7">
                  <c:v>13.97</c:v>
                </c:pt>
                <c:pt idx="8">
                  <c:v>14.17</c:v>
                </c:pt>
                <c:pt idx="9">
                  <c:v>14.37</c:v>
                </c:pt>
                <c:pt idx="10">
                  <c:v>14.57</c:v>
                </c:pt>
                <c:pt idx="11">
                  <c:v>14.77</c:v>
                </c:pt>
                <c:pt idx="12">
                  <c:v>14.97</c:v>
                </c:pt>
                <c:pt idx="13">
                  <c:v>15.17</c:v>
                </c:pt>
                <c:pt idx="14">
                  <c:v>15.37</c:v>
                </c:pt>
                <c:pt idx="15">
                  <c:v>15.57</c:v>
                </c:pt>
                <c:pt idx="16">
                  <c:v>15.77</c:v>
                </c:pt>
                <c:pt idx="17">
                  <c:v>15.97</c:v>
                </c:pt>
                <c:pt idx="18">
                  <c:v>16.17</c:v>
                </c:pt>
                <c:pt idx="19">
                  <c:v>16.37</c:v>
                </c:pt>
                <c:pt idx="20">
                  <c:v>16.57</c:v>
                </c:pt>
                <c:pt idx="21">
                  <c:v>16.77</c:v>
                </c:pt>
                <c:pt idx="22">
                  <c:v>16.97</c:v>
                </c:pt>
                <c:pt idx="23">
                  <c:v>17.17</c:v>
                </c:pt>
                <c:pt idx="24">
                  <c:v>17.37</c:v>
                </c:pt>
                <c:pt idx="25">
                  <c:v>17.57</c:v>
                </c:pt>
                <c:pt idx="26">
                  <c:v>17.77</c:v>
                </c:pt>
                <c:pt idx="27">
                  <c:v>17.97</c:v>
                </c:pt>
                <c:pt idx="28">
                  <c:v>18.17</c:v>
                </c:pt>
                <c:pt idx="29">
                  <c:v>18.37</c:v>
                </c:pt>
                <c:pt idx="30">
                  <c:v>18.57</c:v>
                </c:pt>
              </c:strCache>
            </c:strRef>
          </c:cat>
          <c:val>
            <c:numRef>
              <c:f>Sheet1!$D$2:$D$32</c:f>
              <c:numCache>
                <c:formatCode>General</c:formatCode>
                <c:ptCount val="31"/>
                <c:pt idx="0">
                  <c:v>83.25670738375183</c:v>
                </c:pt>
                <c:pt idx="1">
                  <c:v>83.63808788956385</c:v>
                </c:pt>
                <c:pt idx="2">
                  <c:v>84.06095117137572</c:v>
                </c:pt>
                <c:pt idx="3">
                  <c:v>84.51857377506391</c:v>
                </c:pt>
                <c:pt idx="4">
                  <c:v>85.00499397288796</c:v>
                </c:pt>
                <c:pt idx="5">
                  <c:v>86.27917509179088</c:v>
                </c:pt>
                <c:pt idx="6">
                  <c:v>88.30513628801673</c:v>
                </c:pt>
                <c:pt idx="7">
                  <c:v>90.30808516175408</c:v>
                </c:pt>
                <c:pt idx="8">
                  <c:v>92.28869994212319</c:v>
                </c:pt>
                <c:pt idx="9">
                  <c:v>94.24761735911554</c:v>
                </c:pt>
                <c:pt idx="10">
                  <c:v>96.18543607056984</c:v>
                </c:pt>
                <c:pt idx="11">
                  <c:v>98.10271976885662</c:v>
                </c:pt>
                <c:pt idx="12">
                  <c:v>100.0</c:v>
                </c:pt>
                <c:pt idx="13">
                  <c:v>101.5064482229659</c:v>
                </c:pt>
                <c:pt idx="14">
                  <c:v>102.99289724579035</c:v>
                </c:pt>
                <c:pt idx="15">
                  <c:v>104.45978243884349</c:v>
                </c:pt>
                <c:pt idx="16">
                  <c:v>105.90752456783932</c:v>
                </c:pt>
                <c:pt idx="17">
                  <c:v>107.3365301008164</c:v>
                </c:pt>
                <c:pt idx="18">
                  <c:v>109.19583090225406</c:v>
                </c:pt>
                <c:pt idx="19">
                  <c:v>111.0393589864692</c:v>
                </c:pt>
                <c:pt idx="20">
                  <c:v>112.86742908325415</c:v>
                </c:pt>
                <c:pt idx="21">
                  <c:v>114.68034387256967</c:v>
                </c:pt>
                <c:pt idx="22">
                  <c:v>116.47839466192234</c:v>
                </c:pt>
                <c:pt idx="23">
                  <c:v>118.26186201591602</c:v>
                </c:pt>
                <c:pt idx="24">
                  <c:v>120.03101634203492</c:v>
                </c:pt>
                <c:pt idx="25">
                  <c:v>121.78611843627871</c:v>
                </c:pt>
                <c:pt idx="26">
                  <c:v>123.52741999194214</c:v>
                </c:pt>
                <c:pt idx="27">
                  <c:v>125.25516407448605</c:v>
                </c:pt>
                <c:pt idx="28">
                  <c:v>126.96958556519414</c:v>
                </c:pt>
                <c:pt idx="29">
                  <c:v>128.6709115760321</c:v>
                </c:pt>
                <c:pt idx="30">
                  <c:v>130.35936183792555</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2</c:f>
              <c:strCache>
                <c:ptCount val="31"/>
                <c:pt idx="0">
                  <c:v>12.57</c:v>
                </c:pt>
                <c:pt idx="1">
                  <c:v>12.77</c:v>
                </c:pt>
                <c:pt idx="2">
                  <c:v>12.97</c:v>
                </c:pt>
                <c:pt idx="3">
                  <c:v>13.17</c:v>
                </c:pt>
                <c:pt idx="4">
                  <c:v>13.37</c:v>
                </c:pt>
                <c:pt idx="5">
                  <c:v>13.57</c:v>
                </c:pt>
                <c:pt idx="6">
                  <c:v>13.77</c:v>
                </c:pt>
                <c:pt idx="7">
                  <c:v>13.97</c:v>
                </c:pt>
                <c:pt idx="8">
                  <c:v>14.17</c:v>
                </c:pt>
                <c:pt idx="9">
                  <c:v>14.37</c:v>
                </c:pt>
                <c:pt idx="10">
                  <c:v>14.57</c:v>
                </c:pt>
                <c:pt idx="11">
                  <c:v>14.77</c:v>
                </c:pt>
                <c:pt idx="12">
                  <c:v>14.97</c:v>
                </c:pt>
                <c:pt idx="13">
                  <c:v>15.17</c:v>
                </c:pt>
                <c:pt idx="14">
                  <c:v>15.37</c:v>
                </c:pt>
                <c:pt idx="15">
                  <c:v>15.57</c:v>
                </c:pt>
                <c:pt idx="16">
                  <c:v>15.77</c:v>
                </c:pt>
                <c:pt idx="17">
                  <c:v>15.97</c:v>
                </c:pt>
                <c:pt idx="18">
                  <c:v>16.17</c:v>
                </c:pt>
                <c:pt idx="19">
                  <c:v>16.37</c:v>
                </c:pt>
                <c:pt idx="20">
                  <c:v>16.57</c:v>
                </c:pt>
                <c:pt idx="21">
                  <c:v>16.77</c:v>
                </c:pt>
                <c:pt idx="22">
                  <c:v>16.97</c:v>
                </c:pt>
                <c:pt idx="23">
                  <c:v>17.17</c:v>
                </c:pt>
                <c:pt idx="24">
                  <c:v>17.37</c:v>
                </c:pt>
                <c:pt idx="25">
                  <c:v>17.57</c:v>
                </c:pt>
                <c:pt idx="26">
                  <c:v>17.77</c:v>
                </c:pt>
                <c:pt idx="27">
                  <c:v>17.97</c:v>
                </c:pt>
                <c:pt idx="28">
                  <c:v>18.17</c:v>
                </c:pt>
                <c:pt idx="29">
                  <c:v>18.37</c:v>
                </c:pt>
                <c:pt idx="30">
                  <c:v>18.57</c:v>
                </c:pt>
              </c:strCache>
            </c:strRef>
          </c:cat>
          <c:val>
            <c:numRef>
              <c:f>Sheet1!$E$2:$E$32</c:f>
              <c:numCache>
                <c:formatCode>General</c:formatCode>
                <c:ptCount val="31"/>
                <c:pt idx="0">
                  <c:v>0.4296531739562139</c:v>
                </c:pt>
                <c:pt idx="1">
                  <c:v>0.43858577890599915</c:v>
                </c:pt>
                <c:pt idx="2">
                  <c:v>0.4472428987378264</c:v>
                </c:pt>
                <c:pt idx="3">
                  <c:v>0.4556370840265459</c:v>
                </c:pt>
                <c:pt idx="4">
                  <c:v>0.4637801343776821</c:v>
                </c:pt>
                <c:pt idx="5">
                  <c:v>0.4716831537678414</c:v>
                </c:pt>
                <c:pt idx="6">
                  <c:v>0.47935660106242617</c:v>
                </c:pt>
                <c:pt idx="7">
                  <c:v>0.48681033619395914</c:v>
                </c:pt>
                <c:pt idx="8">
                  <c:v>0.49405366242975357</c:v>
                </c:pt>
                <c:pt idx="9">
                  <c:v>0.5010953651099243</c:v>
                </c:pt>
                <c:pt idx="10">
                  <c:v>0.5079437471948942</c:v>
                </c:pt>
                <c:pt idx="11">
                  <c:v>0.5146066619248213</c:v>
                </c:pt>
                <c:pt idx="12">
                  <c:v>0.5210915428610294</c:v>
                </c:pt>
                <c:pt idx="13">
                  <c:v>0.5274054315510618</c:v>
                </c:pt>
                <c:pt idx="14">
                  <c:v>0.5335550030338068</c:v>
                </c:pt>
                <c:pt idx="15">
                  <c:v>0.5395465893789086</c:v>
                </c:pt>
                <c:pt idx="16">
                  <c:v>0.5453862014349783</c:v>
                </c:pt>
                <c:pt idx="17">
                  <c:v>0.55107954894362</c:v>
                </c:pt>
                <c:pt idx="18">
                  <c:v>0.5566320591607674</c:v>
                </c:pt>
                <c:pt idx="19">
                  <c:v>0.5620488941129878</c:v>
                </c:pt>
                <c:pt idx="20">
                  <c:v>0.5673349666040801</c:v>
                </c:pt>
                <c:pt idx="21">
                  <c:v>0.5724949550763034</c:v>
                </c:pt>
                <c:pt idx="22">
                  <c:v>0.5775333174207193</c:v>
                </c:pt>
                <c:pt idx="23">
                  <c:v>0.5824543038223419</c:v>
                </c:pt>
                <c:pt idx="24">
                  <c:v>0.5872619687178819</c:v>
                </c:pt>
                <c:pt idx="25">
                  <c:v>0.5919601819368018</c:v>
                </c:pt>
                <c:pt idx="26">
                  <c:v>0.5965526390900173</c:v>
                </c:pt>
                <c:pt idx="27">
                  <c:v>0.601042871264864</c:v>
                </c:pt>
                <c:pt idx="28">
                  <c:v>0.6054342540797804</c:v>
                </c:pt>
                <c:pt idx="29">
                  <c:v>0.6097300161475019</c:v>
                </c:pt>
                <c:pt idx="30">
                  <c:v>0.6139332469913629</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70.0"/>
          <c:max val="16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Gillette Razor (13.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Gillette Dispo (17.5%)</c:v>
                </c:pt>
                <c:pt idx="1">
                  <c:v>Bic Dispo (16.9%)</c:v>
                </c:pt>
                <c:pt idx="2">
                  <c:v>Schick Dispo (8.1%)</c:v>
                </c:pt>
                <c:pt idx="3">
                  <c:v>Equate Dispo (19.1%)</c:v>
                </c:pt>
                <c:pt idx="4">
                  <c:v>Harrys Razor (6.2%)</c:v>
                </c:pt>
                <c:pt idx="5">
                  <c:v>Schick Razor (2.1%)</c:v>
                </c:pt>
                <c:pt idx="6">
                  <c:v>Dollar Shave Club Razor (2.0%)</c:v>
                </c:pt>
                <c:pt idx="7">
                  <c:v>Harrys Blade (5.0%)</c:v>
                </c:pt>
                <c:pt idx="8">
                  <c:v>Equate Razor (1.1%)</c:v>
                </c:pt>
                <c:pt idx="9">
                  <c:v>Dollar Shave Club Blade (0.9%)</c:v>
                </c:pt>
              </c:strCache>
            </c:strRef>
          </c:cat>
          <c:val>
            <c:numRef>
              <c:f>Sheet1!$B$2:$B$11</c:f>
              <c:numCache>
                <c:formatCode>General</c:formatCode>
                <c:ptCount val="10"/>
                <c:pt idx="0">
                  <c:v>0.2530949633882921</c:v>
                </c:pt>
                <c:pt idx="1">
                  <c:v>0.14054478814084007</c:v>
                </c:pt>
                <c:pt idx="2">
                  <c:v>0.09380907008892893</c:v>
                </c:pt>
                <c:pt idx="3">
                  <c:v>0.08216341071078581</c:v>
                </c:pt>
                <c:pt idx="4">
                  <c:v>0.07276113901399443</c:v>
                </c:pt>
                <c:pt idx="5">
                  <c:v>0.0653222008341323</c:v>
                </c:pt>
                <c:pt idx="6">
                  <c:v>0.05801129583044787</c:v>
                </c:pt>
                <c:pt idx="7">
                  <c:v>0.04410966070876345</c:v>
                </c:pt>
                <c:pt idx="8">
                  <c:v>0.04163340734926083</c:v>
                </c:pt>
                <c:pt idx="9">
                  <c:v>0.025114303274911577</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1</c:f>
              <c:strCache>
                <c:ptCount val="20"/>
                <c:pt idx="0">
                  <c:v>8.57</c:v>
                </c:pt>
                <c:pt idx="1">
                  <c:v>8.77</c:v>
                </c:pt>
                <c:pt idx="2">
                  <c:v>8.97</c:v>
                </c:pt>
                <c:pt idx="3">
                  <c:v>9.17</c:v>
                </c:pt>
                <c:pt idx="4">
                  <c:v>9.37</c:v>
                </c:pt>
                <c:pt idx="5">
                  <c:v>9.57</c:v>
                </c:pt>
                <c:pt idx="6">
                  <c:v>9.77</c:v>
                </c:pt>
                <c:pt idx="7">
                  <c:v>9.97</c:v>
                </c:pt>
                <c:pt idx="8">
                  <c:v>10.17</c:v>
                </c:pt>
                <c:pt idx="9">
                  <c:v>10.37</c:v>
                </c:pt>
                <c:pt idx="10">
                  <c:v>10.57</c:v>
                </c:pt>
                <c:pt idx="11">
                  <c:v>10.77</c:v>
                </c:pt>
                <c:pt idx="12">
                  <c:v>10.97</c:v>
                </c:pt>
                <c:pt idx="13">
                  <c:v>11.17</c:v>
                </c:pt>
                <c:pt idx="14">
                  <c:v>11.37</c:v>
                </c:pt>
                <c:pt idx="15">
                  <c:v>11.57</c:v>
                </c:pt>
                <c:pt idx="16">
                  <c:v>11.77</c:v>
                </c:pt>
                <c:pt idx="17">
                  <c:v>11.97</c:v>
                </c:pt>
                <c:pt idx="18">
                  <c:v>12.17</c:v>
                </c:pt>
                <c:pt idx="19">
                  <c:v>12.37</c:v>
                </c:pt>
              </c:strCache>
            </c:strRef>
          </c:cat>
          <c:val>
            <c:numRef>
              <c:f>Sheet1!$B$2:$B$21</c:f>
              <c:numCache>
                <c:formatCode>General</c:formatCode>
                <c:ptCount val="20"/>
                <c:pt idx="0">
                  <c:v>109.5346729399949</c:v>
                </c:pt>
                <c:pt idx="1">
                  <c:v>107.19329028856075</c:v>
                </c:pt>
                <c:pt idx="2">
                  <c:v>105.00723985263565</c:v>
                </c:pt>
                <c:pt idx="3">
                  <c:v>103.95749603385394</c:v>
                </c:pt>
                <c:pt idx="4">
                  <c:v>102.93282118538278</c:v>
                </c:pt>
                <c:pt idx="5">
                  <c:v>101.93227158226689</c:v>
                </c:pt>
                <c:pt idx="6">
                  <c:v>100.9549494006859</c:v>
                </c:pt>
                <c:pt idx="7">
                  <c:v>100.0</c:v>
                </c:pt>
                <c:pt idx="8">
                  <c:v>95.23610838999949</c:v>
                </c:pt>
                <c:pt idx="9">
                  <c:v>91.08685035104055</c:v>
                </c:pt>
                <c:pt idx="10">
                  <c:v>87.45176488772086</c:v>
                </c:pt>
                <c:pt idx="11">
                  <c:v>84.24416028342941</c:v>
                </c:pt>
                <c:pt idx="12">
                  <c:v>81.39164741298755</c:v>
                </c:pt>
                <c:pt idx="13">
                  <c:v>79.70303655676554</c:v>
                </c:pt>
                <c:pt idx="14">
                  <c:v>78.10085957507383</c:v>
                </c:pt>
                <c:pt idx="15">
                  <c:v>76.57834283919433</c:v>
                </c:pt>
                <c:pt idx="16">
                  <c:v>75.12938063810157</c:v>
                </c:pt>
                <c:pt idx="17">
                  <c:v>73.74846561200182</c:v>
                </c:pt>
                <c:pt idx="18">
                  <c:v>72.43062477793943</c:v>
                </c:pt>
                <c:pt idx="19">
                  <c:v>71.17136136449227</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1</c:f>
              <c:strCache>
                <c:ptCount val="20"/>
                <c:pt idx="0">
                  <c:v>8.57</c:v>
                </c:pt>
                <c:pt idx="1">
                  <c:v>8.77</c:v>
                </c:pt>
                <c:pt idx="2">
                  <c:v>8.97</c:v>
                </c:pt>
                <c:pt idx="3">
                  <c:v>9.17</c:v>
                </c:pt>
                <c:pt idx="4">
                  <c:v>9.37</c:v>
                </c:pt>
                <c:pt idx="5">
                  <c:v>9.57</c:v>
                </c:pt>
                <c:pt idx="6">
                  <c:v>9.77</c:v>
                </c:pt>
                <c:pt idx="7">
                  <c:v>9.97</c:v>
                </c:pt>
                <c:pt idx="8">
                  <c:v>10.17</c:v>
                </c:pt>
                <c:pt idx="9">
                  <c:v>10.37</c:v>
                </c:pt>
                <c:pt idx="10">
                  <c:v>10.57</c:v>
                </c:pt>
                <c:pt idx="11">
                  <c:v>10.77</c:v>
                </c:pt>
                <c:pt idx="12">
                  <c:v>10.97</c:v>
                </c:pt>
                <c:pt idx="13">
                  <c:v>11.17</c:v>
                </c:pt>
                <c:pt idx="14">
                  <c:v>11.37</c:v>
                </c:pt>
                <c:pt idx="15">
                  <c:v>11.57</c:v>
                </c:pt>
                <c:pt idx="16">
                  <c:v>11.77</c:v>
                </c:pt>
                <c:pt idx="17">
                  <c:v>11.97</c:v>
                </c:pt>
                <c:pt idx="18">
                  <c:v>12.17</c:v>
                </c:pt>
                <c:pt idx="19">
                  <c:v>12.37</c:v>
                </c:pt>
              </c:strCache>
            </c:strRef>
          </c:cat>
          <c:val>
            <c:numRef>
              <c:f>Sheet1!$C$2:$C$21</c:f>
              <c:numCache>
                <c:formatCode>General</c:formatCode>
                <c:ptCount val="20"/>
                <c:pt idx="0">
                  <c:v>94.25370987528714</c:v>
                </c:pt>
                <c:pt idx="1">
                  <c:v>94.37862000761972</c:v>
                </c:pt>
                <c:pt idx="2">
                  <c:v>94.54962703986133</c:v>
                </c:pt>
                <c:pt idx="3">
                  <c:v>95.67581475296798</c:v>
                </c:pt>
                <c:pt idx="4">
                  <c:v>96.78334940228375</c:v>
                </c:pt>
                <c:pt idx="5">
                  <c:v>97.87284299257017</c:v>
                </c:pt>
                <c:pt idx="6">
                  <c:v>98.94487613744654</c:v>
                </c:pt>
                <c:pt idx="7">
                  <c:v>100.0</c:v>
                </c:pt>
                <c:pt idx="8">
                  <c:v>97.14389521164595</c:v>
                </c:pt>
                <c:pt idx="9">
                  <c:v>94.7355953433343</c:v>
                </c:pt>
                <c:pt idx="10">
                  <c:v>92.70561797431098</c:v>
                </c:pt>
                <c:pt idx="11">
                  <c:v>90.99130135954897</c:v>
                </c:pt>
                <c:pt idx="12">
                  <c:v>89.53876700784907</c:v>
                </c:pt>
                <c:pt idx="13">
                  <c:v>89.27145790942257</c:v>
                </c:pt>
                <c:pt idx="14">
                  <c:v>89.03524949709073</c:v>
                </c:pt>
                <c:pt idx="15">
                  <c:v>88.82745705065493</c:v>
                </c:pt>
                <c:pt idx="16">
                  <c:v>88.64564412750524</c:v>
                </c:pt>
                <c:pt idx="17">
                  <c:v>88.48760553471185</c:v>
                </c:pt>
                <c:pt idx="18">
                  <c:v>88.35134883287847</c:v>
                </c:pt>
                <c:pt idx="19">
                  <c:v>88.23507541521704</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1</c:f>
              <c:strCache>
                <c:ptCount val="20"/>
                <c:pt idx="0">
                  <c:v>8.57</c:v>
                </c:pt>
                <c:pt idx="1">
                  <c:v>8.77</c:v>
                </c:pt>
                <c:pt idx="2">
                  <c:v>8.97</c:v>
                </c:pt>
                <c:pt idx="3">
                  <c:v>9.17</c:v>
                </c:pt>
                <c:pt idx="4">
                  <c:v>9.37</c:v>
                </c:pt>
                <c:pt idx="5">
                  <c:v>9.57</c:v>
                </c:pt>
                <c:pt idx="6">
                  <c:v>9.77</c:v>
                </c:pt>
                <c:pt idx="7">
                  <c:v>9.97</c:v>
                </c:pt>
                <c:pt idx="8">
                  <c:v>10.17</c:v>
                </c:pt>
                <c:pt idx="9">
                  <c:v>10.37</c:v>
                </c:pt>
                <c:pt idx="10">
                  <c:v>10.57</c:v>
                </c:pt>
                <c:pt idx="11">
                  <c:v>10.77</c:v>
                </c:pt>
                <c:pt idx="12">
                  <c:v>10.97</c:v>
                </c:pt>
                <c:pt idx="13">
                  <c:v>11.17</c:v>
                </c:pt>
                <c:pt idx="14">
                  <c:v>11.37</c:v>
                </c:pt>
                <c:pt idx="15">
                  <c:v>11.57</c:v>
                </c:pt>
                <c:pt idx="16">
                  <c:v>11.77</c:v>
                </c:pt>
                <c:pt idx="17">
                  <c:v>11.97</c:v>
                </c:pt>
                <c:pt idx="18">
                  <c:v>12.17</c:v>
                </c:pt>
                <c:pt idx="19">
                  <c:v>12.37</c:v>
                </c:pt>
              </c:strCache>
            </c:strRef>
          </c:cat>
          <c:val>
            <c:numRef>
              <c:f>Sheet1!$D$2:$D$21</c:f>
              <c:numCache>
                <c:formatCode>General</c:formatCode>
                <c:ptCount val="20"/>
                <c:pt idx="0">
                  <c:v>78.38145434768661</c:v>
                </c:pt>
                <c:pt idx="1">
                  <c:v>81.06132222749606</c:v>
                </c:pt>
                <c:pt idx="2">
                  <c:v>83.67470253754541</c:v>
                </c:pt>
                <c:pt idx="3">
                  <c:v>87.06207307872994</c:v>
                </c:pt>
                <c:pt idx="4">
                  <c:v>90.3861534396184</c:v>
                </c:pt>
                <c:pt idx="5">
                  <c:v>93.64913228561565</c:v>
                </c:pt>
                <c:pt idx="6">
                  <c:v>96.85308894181563</c:v>
                </c:pt>
                <c:pt idx="7">
                  <c:v>100.0</c:v>
                </c:pt>
                <c:pt idx="8">
                  <c:v>99.105608890774</c:v>
                </c:pt>
                <c:pt idx="9">
                  <c:v>98.4886776412522</c:v>
                </c:pt>
                <c:pt idx="10">
                  <c:v>98.11141868124518</c:v>
                </c:pt>
                <c:pt idx="11">
                  <c:v>97.93572437250936</c:v>
                </c:pt>
                <c:pt idx="12">
                  <c:v>97.92660593595109</c:v>
                </c:pt>
                <c:pt idx="13">
                  <c:v>99.13333112151332</c:v>
                </c:pt>
                <c:pt idx="14">
                  <c:v>100.31385465036226</c:v>
                </c:pt>
                <c:pt idx="15">
                  <c:v>101.46973674212816</c:v>
                </c:pt>
                <c:pt idx="16">
                  <c:v>102.60234890874642</c:v>
                </c:pt>
                <c:pt idx="17">
                  <c:v>103.71291181221656</c:v>
                </c:pt>
                <c:pt idx="18">
                  <c:v>104.8025242545658</c:v>
                </c:pt>
                <c:pt idx="19">
                  <c:v>105.87218521331245</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1</c:f>
              <c:strCache>
                <c:ptCount val="20"/>
                <c:pt idx="0">
                  <c:v>8.57</c:v>
                </c:pt>
                <c:pt idx="1">
                  <c:v>8.77</c:v>
                </c:pt>
                <c:pt idx="2">
                  <c:v>8.97</c:v>
                </c:pt>
                <c:pt idx="3">
                  <c:v>9.17</c:v>
                </c:pt>
                <c:pt idx="4">
                  <c:v>9.37</c:v>
                </c:pt>
                <c:pt idx="5">
                  <c:v>9.57</c:v>
                </c:pt>
                <c:pt idx="6">
                  <c:v>9.77</c:v>
                </c:pt>
                <c:pt idx="7">
                  <c:v>9.97</c:v>
                </c:pt>
                <c:pt idx="8">
                  <c:v>10.17</c:v>
                </c:pt>
                <c:pt idx="9">
                  <c:v>10.37</c:v>
                </c:pt>
                <c:pt idx="10">
                  <c:v>10.57</c:v>
                </c:pt>
                <c:pt idx="11">
                  <c:v>10.77</c:v>
                </c:pt>
                <c:pt idx="12">
                  <c:v>10.97</c:v>
                </c:pt>
                <c:pt idx="13">
                  <c:v>11.17</c:v>
                </c:pt>
                <c:pt idx="14">
                  <c:v>11.37</c:v>
                </c:pt>
                <c:pt idx="15">
                  <c:v>11.57</c:v>
                </c:pt>
                <c:pt idx="16">
                  <c:v>11.77</c:v>
                </c:pt>
                <c:pt idx="17">
                  <c:v>11.97</c:v>
                </c:pt>
                <c:pt idx="18">
                  <c:v>12.17</c:v>
                </c:pt>
                <c:pt idx="19">
                  <c:v>12.37</c:v>
                </c:pt>
              </c:strCache>
            </c:strRef>
          </c:cat>
          <c:val>
            <c:numRef>
              <c:f>Sheet1!$E$2:$E$21</c:f>
              <c:numCache>
                <c:formatCode>General</c:formatCode>
                <c:ptCount val="20"/>
                <c:pt idx="0">
                  <c:v>0.41101494040589326</c:v>
                </c:pt>
                <c:pt idx="1">
                  <c:v>0.4244467547637975</c:v>
                </c:pt>
                <c:pt idx="2">
                  <c:v>0.4372796030410821</c:v>
                </c:pt>
                <c:pt idx="3">
                  <c:v>0.44955267603909543</c:v>
                </c:pt>
                <c:pt idx="4">
                  <c:v>0.4613018184929036</c:v>
                </c:pt>
                <c:pt idx="5">
                  <c:v>0.4725598787124876</c:v>
                </c:pt>
                <c:pt idx="6">
                  <c:v>0.48335701527927405</c:v>
                </c:pt>
                <c:pt idx="7">
                  <c:v>0.49372096682833566</c:v>
                </c:pt>
                <c:pt idx="8">
                  <c:v>0.5036772899978865</c:v>
                </c:pt>
                <c:pt idx="9">
                  <c:v>0.513249569843636</c:v>
                </c:pt>
                <c:pt idx="10">
                  <c:v>0.522459606365043</c:v>
                </c:pt>
                <c:pt idx="11">
                  <c:v>0.5313275802487006</c:v>
                </c:pt>
                <c:pt idx="12">
                  <c:v>0.5398722004811765</c:v>
                </c:pt>
                <c:pt idx="13">
                  <c:v>0.5481108361037158</c:v>
                </c:pt>
                <c:pt idx="14">
                  <c:v>0.556059634061434</c:v>
                </c:pt>
                <c:pt idx="15">
                  <c:v>0.5637336248296029</c:v>
                </c:pt>
                <c:pt idx="16">
                  <c:v>0.5711468172709012</c:v>
                </c:pt>
                <c:pt idx="17">
                  <c:v>0.5783122839831667</c:v>
                </c:pt>
                <c:pt idx="18">
                  <c:v>0.5852422382315946</c:v>
                </c:pt>
                <c:pt idx="19">
                  <c:v>0.5919481034178258</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3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2</c:f>
              <c:strCache>
                <c:ptCount val="31"/>
                <c:pt idx="0">
                  <c:v>12.57</c:v>
                </c:pt>
                <c:pt idx="1">
                  <c:v>12.77</c:v>
                </c:pt>
                <c:pt idx="2">
                  <c:v>12.97</c:v>
                </c:pt>
                <c:pt idx="3">
                  <c:v>13.17</c:v>
                </c:pt>
                <c:pt idx="4">
                  <c:v>13.37</c:v>
                </c:pt>
                <c:pt idx="5">
                  <c:v>13.57</c:v>
                </c:pt>
                <c:pt idx="6">
                  <c:v>13.77</c:v>
                </c:pt>
                <c:pt idx="7">
                  <c:v>13.97</c:v>
                </c:pt>
                <c:pt idx="8">
                  <c:v>14.17</c:v>
                </c:pt>
                <c:pt idx="9">
                  <c:v>14.37</c:v>
                </c:pt>
                <c:pt idx="10">
                  <c:v>14.57</c:v>
                </c:pt>
                <c:pt idx="11">
                  <c:v>14.77</c:v>
                </c:pt>
                <c:pt idx="12">
                  <c:v>14.97</c:v>
                </c:pt>
                <c:pt idx="13">
                  <c:v>15.17</c:v>
                </c:pt>
                <c:pt idx="14">
                  <c:v>15.37</c:v>
                </c:pt>
                <c:pt idx="15">
                  <c:v>15.57</c:v>
                </c:pt>
                <c:pt idx="16">
                  <c:v>15.77</c:v>
                </c:pt>
                <c:pt idx="17">
                  <c:v>15.97</c:v>
                </c:pt>
                <c:pt idx="18">
                  <c:v>16.17</c:v>
                </c:pt>
                <c:pt idx="19">
                  <c:v>16.37</c:v>
                </c:pt>
                <c:pt idx="20">
                  <c:v>16.57</c:v>
                </c:pt>
                <c:pt idx="21">
                  <c:v>16.77</c:v>
                </c:pt>
                <c:pt idx="22">
                  <c:v>16.97</c:v>
                </c:pt>
                <c:pt idx="23">
                  <c:v>17.17</c:v>
                </c:pt>
                <c:pt idx="24">
                  <c:v>17.37</c:v>
                </c:pt>
                <c:pt idx="25">
                  <c:v>17.57</c:v>
                </c:pt>
                <c:pt idx="26">
                  <c:v>17.77</c:v>
                </c:pt>
                <c:pt idx="27">
                  <c:v>17.97</c:v>
                </c:pt>
                <c:pt idx="28">
                  <c:v>18.17</c:v>
                </c:pt>
                <c:pt idx="29">
                  <c:v>18.37</c:v>
                </c:pt>
                <c:pt idx="30">
                  <c:v>18.57</c:v>
                </c:pt>
              </c:strCache>
            </c:strRef>
          </c:cat>
          <c:val>
            <c:numRef>
              <c:f>Sheet1!$B$2:$B$32</c:f>
              <c:numCache>
                <c:formatCode>General</c:formatCode>
                <c:ptCount val="31"/>
                <c:pt idx="0">
                  <c:v>120.7764124374506</c:v>
                </c:pt>
                <c:pt idx="1">
                  <c:v>117.17766262953057</c:v>
                </c:pt>
                <c:pt idx="2">
                  <c:v>113.87833523928228</c:v>
                </c:pt>
                <c:pt idx="3">
                  <c:v>110.83791207802768</c:v>
                </c:pt>
                <c:pt idx="4">
                  <c:v>108.02272165937812</c:v>
                </c:pt>
                <c:pt idx="5">
                  <c:v>106.19696248862962</c:v>
                </c:pt>
                <c:pt idx="6">
                  <c:v>105.23242267899717</c:v>
                </c:pt>
                <c:pt idx="7">
                  <c:v>104.29679131255898</c:v>
                </c:pt>
                <c:pt idx="8">
                  <c:v>103.3884598164363</c:v>
                </c:pt>
                <c:pt idx="9">
                  <c:v>102.50594154573822</c:v>
                </c:pt>
                <c:pt idx="10">
                  <c:v>101.64786050158632</c:v>
                </c:pt>
                <c:pt idx="11">
                  <c:v>100.81294126523443</c:v>
                </c:pt>
                <c:pt idx="12">
                  <c:v>100.0</c:v>
                </c:pt>
                <c:pt idx="13">
                  <c:v>98.53951974876452</c:v>
                </c:pt>
                <c:pt idx="14">
                  <c:v>97.13799652934141</c:v>
                </c:pt>
                <c:pt idx="15">
                  <c:v>95.79124940894303</c:v>
                </c:pt>
                <c:pt idx="16">
                  <c:v>94.49550778735524</c:v>
                </c:pt>
                <c:pt idx="17">
                  <c:v>93.2473610909237</c:v>
                </c:pt>
                <c:pt idx="18">
                  <c:v>92.59261417825041</c:v>
                </c:pt>
                <c:pt idx="19">
                  <c:v>91.95126499977953</c:v>
                </c:pt>
                <c:pt idx="20">
                  <c:v>91.3227887567711</c:v>
                </c:pt>
                <c:pt idx="21">
                  <c:v>90.70669039528251</c:v>
                </c:pt>
                <c:pt idx="22">
                  <c:v>90.10250247062802</c:v>
                </c:pt>
                <c:pt idx="23">
                  <c:v>89.50978319308948</c:v>
                </c:pt>
                <c:pt idx="24">
                  <c:v>88.92811463747283</c:v>
                </c:pt>
                <c:pt idx="25">
                  <c:v>88.35710110093315</c:v>
                </c:pt>
                <c:pt idx="26">
                  <c:v>87.79636759511877</c:v>
                </c:pt>
                <c:pt idx="27">
                  <c:v>87.24555846013182</c:v>
                </c:pt>
                <c:pt idx="28">
                  <c:v>86.70433608908466</c:v>
                </c:pt>
                <c:pt idx="29">
                  <c:v>86.17237975317424</c:v>
                </c:pt>
                <c:pt idx="30">
                  <c:v>85.64938451821018</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2</c:f>
              <c:strCache>
                <c:ptCount val="31"/>
                <c:pt idx="0">
                  <c:v>12.57</c:v>
                </c:pt>
                <c:pt idx="1">
                  <c:v>12.77</c:v>
                </c:pt>
                <c:pt idx="2">
                  <c:v>12.97</c:v>
                </c:pt>
                <c:pt idx="3">
                  <c:v>13.17</c:v>
                </c:pt>
                <c:pt idx="4">
                  <c:v>13.37</c:v>
                </c:pt>
                <c:pt idx="5">
                  <c:v>13.57</c:v>
                </c:pt>
                <c:pt idx="6">
                  <c:v>13.77</c:v>
                </c:pt>
                <c:pt idx="7">
                  <c:v>13.97</c:v>
                </c:pt>
                <c:pt idx="8">
                  <c:v>14.17</c:v>
                </c:pt>
                <c:pt idx="9">
                  <c:v>14.37</c:v>
                </c:pt>
                <c:pt idx="10">
                  <c:v>14.57</c:v>
                </c:pt>
                <c:pt idx="11">
                  <c:v>14.77</c:v>
                </c:pt>
                <c:pt idx="12">
                  <c:v>14.97</c:v>
                </c:pt>
                <c:pt idx="13">
                  <c:v>15.17</c:v>
                </c:pt>
                <c:pt idx="14">
                  <c:v>15.37</c:v>
                </c:pt>
                <c:pt idx="15">
                  <c:v>15.57</c:v>
                </c:pt>
                <c:pt idx="16">
                  <c:v>15.77</c:v>
                </c:pt>
                <c:pt idx="17">
                  <c:v>15.97</c:v>
                </c:pt>
                <c:pt idx="18">
                  <c:v>16.17</c:v>
                </c:pt>
                <c:pt idx="19">
                  <c:v>16.37</c:v>
                </c:pt>
                <c:pt idx="20">
                  <c:v>16.57</c:v>
                </c:pt>
                <c:pt idx="21">
                  <c:v>16.77</c:v>
                </c:pt>
                <c:pt idx="22">
                  <c:v>16.97</c:v>
                </c:pt>
                <c:pt idx="23">
                  <c:v>17.17</c:v>
                </c:pt>
                <c:pt idx="24">
                  <c:v>17.37</c:v>
                </c:pt>
                <c:pt idx="25">
                  <c:v>17.57</c:v>
                </c:pt>
                <c:pt idx="26">
                  <c:v>17.77</c:v>
                </c:pt>
                <c:pt idx="27">
                  <c:v>17.97</c:v>
                </c:pt>
                <c:pt idx="28">
                  <c:v>18.17</c:v>
                </c:pt>
                <c:pt idx="29">
                  <c:v>18.37</c:v>
                </c:pt>
                <c:pt idx="30">
                  <c:v>18.57</c:v>
                </c:pt>
              </c:strCache>
            </c:strRef>
          </c:cat>
          <c:val>
            <c:numRef>
              <c:f>Sheet1!$C$2:$C$32</c:f>
              <c:numCache>
                <c:formatCode>General</c:formatCode>
                <c:ptCount val="31"/>
                <c:pt idx="0">
                  <c:v>101.49568898854284</c:v>
                </c:pt>
                <c:pt idx="1">
                  <c:v>100.03367193030988</c:v>
                </c:pt>
                <c:pt idx="2">
                  <c:v>98.7350504796389</c:v>
                </c:pt>
                <c:pt idx="3">
                  <c:v>97.57618020222489</c:v>
                </c:pt>
                <c:pt idx="4">
                  <c:v>96.5373649941785</c:v>
                </c:pt>
                <c:pt idx="5">
                  <c:v>96.31909549950613</c:v>
                </c:pt>
                <c:pt idx="6">
                  <c:v>96.84299516976014</c:v>
                </c:pt>
                <c:pt idx="7">
                  <c:v>97.36810168548573</c:v>
                </c:pt>
                <c:pt idx="8">
                  <c:v>97.8940500968638</c:v>
                </c:pt>
                <c:pt idx="9">
                  <c:v>98.420506718194</c:v>
                </c:pt>
                <c:pt idx="10">
                  <c:v>98.94716627087436</c:v>
                </c:pt>
                <c:pt idx="11">
                  <c:v>99.47374932432719</c:v>
                </c:pt>
                <c:pt idx="12">
                  <c:v>100.0</c:v>
                </c:pt>
                <c:pt idx="13">
                  <c:v>99.85028600596613</c:v>
                </c:pt>
                <c:pt idx="14">
                  <c:v>99.72216591330968</c:v>
                </c:pt>
                <c:pt idx="15">
                  <c:v>99.6136512325631</c:v>
                </c:pt>
                <c:pt idx="16">
                  <c:v>99.52296245999666</c:v>
                </c:pt>
                <c:pt idx="17">
                  <c:v>99.44850281929868</c:v>
                </c:pt>
                <c:pt idx="18">
                  <c:v>99.9796682180589</c:v>
                </c:pt>
                <c:pt idx="19">
                  <c:v>100.50799035897914</c:v>
                </c:pt>
                <c:pt idx="20">
                  <c:v>101.03342556921542</c:v>
                </c:pt>
                <c:pt idx="21">
                  <c:v>101.55593547902433</c:v>
                </c:pt>
                <c:pt idx="22">
                  <c:v>102.07548658407637</c:v>
                </c:pt>
                <c:pt idx="23">
                  <c:v>102.59204984488225</c:v>
                </c:pt>
                <c:pt idx="24">
                  <c:v>103.10560032004355</c:v>
                </c:pt>
                <c:pt idx="25">
                  <c:v>103.61611683032635</c:v>
                </c:pt>
                <c:pt idx="26">
                  <c:v>104.12358165083128</c:v>
                </c:pt>
                <c:pt idx="27">
                  <c:v>104.62798022878093</c:v>
                </c:pt>
                <c:pt idx="28">
                  <c:v>105.12930092467118</c:v>
                </c:pt>
                <c:pt idx="29">
                  <c:v>105.62753477473615</c:v>
                </c:pt>
                <c:pt idx="30">
                  <c:v>106.12267527286396</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2</c:f>
              <c:strCache>
                <c:ptCount val="31"/>
                <c:pt idx="0">
                  <c:v>12.57</c:v>
                </c:pt>
                <c:pt idx="1">
                  <c:v>12.77</c:v>
                </c:pt>
                <c:pt idx="2">
                  <c:v>12.97</c:v>
                </c:pt>
                <c:pt idx="3">
                  <c:v>13.17</c:v>
                </c:pt>
                <c:pt idx="4">
                  <c:v>13.37</c:v>
                </c:pt>
                <c:pt idx="5">
                  <c:v>13.57</c:v>
                </c:pt>
                <c:pt idx="6">
                  <c:v>13.77</c:v>
                </c:pt>
                <c:pt idx="7">
                  <c:v>13.97</c:v>
                </c:pt>
                <c:pt idx="8">
                  <c:v>14.17</c:v>
                </c:pt>
                <c:pt idx="9">
                  <c:v>14.37</c:v>
                </c:pt>
                <c:pt idx="10">
                  <c:v>14.57</c:v>
                </c:pt>
                <c:pt idx="11">
                  <c:v>14.77</c:v>
                </c:pt>
                <c:pt idx="12">
                  <c:v>14.97</c:v>
                </c:pt>
                <c:pt idx="13">
                  <c:v>15.17</c:v>
                </c:pt>
                <c:pt idx="14">
                  <c:v>15.37</c:v>
                </c:pt>
                <c:pt idx="15">
                  <c:v>15.57</c:v>
                </c:pt>
                <c:pt idx="16">
                  <c:v>15.77</c:v>
                </c:pt>
                <c:pt idx="17">
                  <c:v>15.97</c:v>
                </c:pt>
                <c:pt idx="18">
                  <c:v>16.17</c:v>
                </c:pt>
                <c:pt idx="19">
                  <c:v>16.37</c:v>
                </c:pt>
                <c:pt idx="20">
                  <c:v>16.57</c:v>
                </c:pt>
                <c:pt idx="21">
                  <c:v>16.77</c:v>
                </c:pt>
                <c:pt idx="22">
                  <c:v>16.97</c:v>
                </c:pt>
                <c:pt idx="23">
                  <c:v>17.17</c:v>
                </c:pt>
                <c:pt idx="24">
                  <c:v>17.37</c:v>
                </c:pt>
                <c:pt idx="25">
                  <c:v>17.57</c:v>
                </c:pt>
                <c:pt idx="26">
                  <c:v>17.77</c:v>
                </c:pt>
                <c:pt idx="27">
                  <c:v>17.97</c:v>
                </c:pt>
                <c:pt idx="28">
                  <c:v>18.17</c:v>
                </c:pt>
                <c:pt idx="29">
                  <c:v>18.37</c:v>
                </c:pt>
                <c:pt idx="30">
                  <c:v>18.57</c:v>
                </c:pt>
              </c:strCache>
            </c:strRef>
          </c:cat>
          <c:val>
            <c:numRef>
              <c:f>Sheet1!$D$2:$D$32</c:f>
              <c:numCache>
                <c:formatCode>General</c:formatCode>
                <c:ptCount val="31"/>
                <c:pt idx="0">
                  <c:v>91.8696781514961</c:v>
                </c:pt>
                <c:pt idx="1">
                  <c:v>91.4693735241088</c:v>
                </c:pt>
                <c:pt idx="2">
                  <c:v>91.16521662576152</c:v>
                </c:pt>
                <c:pt idx="3">
                  <c:v>90.94187851947473</c:v>
                </c:pt>
                <c:pt idx="4">
                  <c:v>90.7865519535291</c:v>
                </c:pt>
                <c:pt idx="5">
                  <c:v>91.3702183126446</c:v>
                </c:pt>
                <c:pt idx="6">
                  <c:v>92.63921172307303</c:v>
                </c:pt>
                <c:pt idx="7">
                  <c:v>93.89575503505196</c:v>
                </c:pt>
                <c:pt idx="8">
                  <c:v>95.14009775127</c:v>
                </c:pt>
                <c:pt idx="9">
                  <c:v>96.37247567439351</c:v>
                </c:pt>
                <c:pt idx="10">
                  <c:v>97.59311223444315</c:v>
                </c:pt>
                <c:pt idx="11">
                  <c:v>98.80221965789458</c:v>
                </c:pt>
                <c:pt idx="12">
                  <c:v>100.0</c:v>
                </c:pt>
                <c:pt idx="13">
                  <c:v>100.50489779496641</c:v>
                </c:pt>
                <c:pt idx="14">
                  <c:v>101.01284565216137</c:v>
                </c:pt>
                <c:pt idx="15">
                  <c:v>101.5229401788978</c:v>
                </c:pt>
                <c:pt idx="16">
                  <c:v>102.03438749545522</c:v>
                </c:pt>
                <c:pt idx="17">
                  <c:v>102.54648883284985</c:v>
                </c:pt>
                <c:pt idx="18">
                  <c:v>103.67321361350344</c:v>
                </c:pt>
                <c:pt idx="19">
                  <c:v>104.78908870830517</c:v>
                </c:pt>
                <c:pt idx="20">
                  <c:v>105.89430723773003</c:v>
                </c:pt>
                <c:pt idx="21">
                  <c:v>106.98905553781009</c:v>
                </c:pt>
                <c:pt idx="22">
                  <c:v>108.0735135649707</c:v>
                </c:pt>
                <c:pt idx="23">
                  <c:v>109.14785526632132</c:v>
                </c:pt>
                <c:pt idx="24">
                  <c:v>110.21224891913678</c:v>
                </c:pt>
                <c:pt idx="25">
                  <c:v>111.26685744278824</c:v>
                </c:pt>
                <c:pt idx="26">
                  <c:v>112.31183868597876</c:v>
                </c:pt>
                <c:pt idx="27">
                  <c:v>113.3473456917949</c:v>
                </c:pt>
                <c:pt idx="28">
                  <c:v>114.37352694277934</c:v>
                </c:pt>
                <c:pt idx="29">
                  <c:v>115.39052658797</c:v>
                </c:pt>
                <c:pt idx="30">
                  <c:v>116.3984846536237</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2</c:f>
              <c:strCache>
                <c:ptCount val="31"/>
                <c:pt idx="0">
                  <c:v>12.57</c:v>
                </c:pt>
                <c:pt idx="1">
                  <c:v>12.77</c:v>
                </c:pt>
                <c:pt idx="2">
                  <c:v>12.97</c:v>
                </c:pt>
                <c:pt idx="3">
                  <c:v>13.17</c:v>
                </c:pt>
                <c:pt idx="4">
                  <c:v>13.37</c:v>
                </c:pt>
                <c:pt idx="5">
                  <c:v>13.57</c:v>
                </c:pt>
                <c:pt idx="6">
                  <c:v>13.77</c:v>
                </c:pt>
                <c:pt idx="7">
                  <c:v>13.97</c:v>
                </c:pt>
                <c:pt idx="8">
                  <c:v>14.17</c:v>
                </c:pt>
                <c:pt idx="9">
                  <c:v>14.37</c:v>
                </c:pt>
                <c:pt idx="10">
                  <c:v>14.57</c:v>
                </c:pt>
                <c:pt idx="11">
                  <c:v>14.77</c:v>
                </c:pt>
                <c:pt idx="12">
                  <c:v>14.97</c:v>
                </c:pt>
                <c:pt idx="13">
                  <c:v>15.17</c:v>
                </c:pt>
                <c:pt idx="14">
                  <c:v>15.37</c:v>
                </c:pt>
                <c:pt idx="15">
                  <c:v>15.57</c:v>
                </c:pt>
                <c:pt idx="16">
                  <c:v>15.77</c:v>
                </c:pt>
                <c:pt idx="17">
                  <c:v>15.97</c:v>
                </c:pt>
                <c:pt idx="18">
                  <c:v>16.17</c:v>
                </c:pt>
                <c:pt idx="19">
                  <c:v>16.37</c:v>
                </c:pt>
                <c:pt idx="20">
                  <c:v>16.57</c:v>
                </c:pt>
                <c:pt idx="21">
                  <c:v>16.77</c:v>
                </c:pt>
                <c:pt idx="22">
                  <c:v>16.97</c:v>
                </c:pt>
                <c:pt idx="23">
                  <c:v>17.17</c:v>
                </c:pt>
                <c:pt idx="24">
                  <c:v>17.37</c:v>
                </c:pt>
                <c:pt idx="25">
                  <c:v>17.57</c:v>
                </c:pt>
                <c:pt idx="26">
                  <c:v>17.77</c:v>
                </c:pt>
                <c:pt idx="27">
                  <c:v>17.97</c:v>
                </c:pt>
                <c:pt idx="28">
                  <c:v>18.17</c:v>
                </c:pt>
                <c:pt idx="29">
                  <c:v>18.37</c:v>
                </c:pt>
                <c:pt idx="30">
                  <c:v>18.57</c:v>
                </c:pt>
              </c:strCache>
            </c:strRef>
          </c:cat>
          <c:val>
            <c:numRef>
              <c:f>Sheet1!$E$2:$E$32</c:f>
              <c:numCache>
                <c:formatCode>General</c:formatCode>
                <c:ptCount val="31"/>
                <c:pt idx="0">
                  <c:v>0.6068049690961386</c:v>
                </c:pt>
                <c:pt idx="1">
                  <c:v>0.6129630745135835</c:v>
                </c:pt>
                <c:pt idx="2">
                  <c:v>0.6189312614910149</c:v>
                </c:pt>
                <c:pt idx="3">
                  <c:v>0.6247181823491619</c:v>
                </c:pt>
                <c:pt idx="4">
                  <c:v>0.6303319716932283</c:v>
                </c:pt>
                <c:pt idx="5">
                  <c:v>0.6357802845643671</c:v>
                </c:pt>
                <c:pt idx="6">
                  <c:v>0.6410703312664097</c:v>
                </c:pt>
                <c:pt idx="7">
                  <c:v>0.6462089092010352</c:v>
                </c:pt>
                <c:pt idx="8">
                  <c:v>0.6512024320069485</c:v>
                </c:pt>
                <c:pt idx="9">
                  <c:v>0.6560569562657245</c:v>
                </c:pt>
                <c:pt idx="10">
                  <c:v>0.6607782060081305</c:v>
                </c:pt>
                <c:pt idx="11">
                  <c:v>0.6653715952294151</c:v>
                </c:pt>
                <c:pt idx="12">
                  <c:v>0.6698422485997637</c:v>
                </c:pt>
                <c:pt idx="13">
                  <c:v>0.674195020536484</c:v>
                </c:pt>
                <c:pt idx="14">
                  <c:v>0.6784345127871477</c:v>
                </c:pt>
                <c:pt idx="15">
                  <c:v>0.6825650906575762</c:v>
                </c:pt>
                <c:pt idx="16">
                  <c:v>0.6865908980049753</c:v>
                </c:pt>
                <c:pt idx="17">
                  <c:v>0.6905158711044748</c:v>
                </c:pt>
                <c:pt idx="18">
                  <c:v>0.6943437514866087</c:v>
                </c:pt>
                <c:pt idx="19">
                  <c:v>0.6980780978337484</c:v>
                </c:pt>
                <c:pt idx="20">
                  <c:v>0.7017222970149948</c:v>
                </c:pt>
                <c:pt idx="21">
                  <c:v>0.7052795743314526</c:v>
                </c:pt>
                <c:pt idx="22">
                  <c:v>0.7087530030370337</c:v>
                </c:pt>
                <c:pt idx="23">
                  <c:v>0.7121455131938533</c:v>
                </c:pt>
                <c:pt idx="24">
                  <c:v>0.7154598999158585</c:v>
                </c:pt>
                <c:pt idx="25">
                  <c:v>0.7186988310494288</c:v>
                </c:pt>
                <c:pt idx="26">
                  <c:v>0.7218648543353102</c:v>
                </c:pt>
                <c:pt idx="27">
                  <c:v>0.7249604040922906</c:v>
                </c:pt>
                <c:pt idx="28">
                  <c:v>0.727987807459464</c:v>
                </c:pt>
                <c:pt idx="29">
                  <c:v>0.7309492902307274</c:v>
                </c:pt>
                <c:pt idx="30">
                  <c:v>0.7338469823122488</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70.0"/>
          <c:max val="14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4</c:f>
              <c:strCache>
                <c:ptCount val="3"/>
                <c:pt idx="0">
                  <c:v>0.78</c:v>
                </c:pt>
                <c:pt idx="1">
                  <c:v>0.98</c:v>
                </c:pt>
                <c:pt idx="2">
                  <c:v>1.18</c:v>
                </c:pt>
              </c:strCache>
            </c:strRef>
          </c:cat>
          <c:val>
            <c:numRef>
              <c:f>Sheet1!$B$2:$B$4</c:f>
              <c:numCache>
                <c:formatCode>General</c:formatCode>
                <c:ptCount val="3"/>
                <c:pt idx="0">
                  <c:v>102.60211352240918</c:v>
                </c:pt>
                <c:pt idx="1">
                  <c:v>100.0</c:v>
                </c:pt>
                <c:pt idx="2">
                  <c:v>97.4619809372789</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4</c:f>
              <c:strCache>
                <c:ptCount val="3"/>
                <c:pt idx="0">
                  <c:v>0.78</c:v>
                </c:pt>
                <c:pt idx="1">
                  <c:v>0.98</c:v>
                </c:pt>
                <c:pt idx="2">
                  <c:v>1.18</c:v>
                </c:pt>
              </c:strCache>
            </c:strRef>
          </c:cat>
          <c:val>
            <c:numRef>
              <c:f>Sheet1!$C$2:$C$4</c:f>
              <c:numCache>
                <c:formatCode>General</c:formatCode>
                <c:ptCount val="3"/>
                <c:pt idx="0">
                  <c:v>81.8276556803729</c:v>
                </c:pt>
                <c:pt idx="1">
                  <c:v>100.0</c:v>
                </c:pt>
                <c:pt idx="2">
                  <c:v>117.12704160052994</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4</c:f>
              <c:strCache>
                <c:ptCount val="3"/>
                <c:pt idx="0">
                  <c:v>0.78</c:v>
                </c:pt>
                <c:pt idx="1">
                  <c:v>0.98</c:v>
                </c:pt>
                <c:pt idx="2">
                  <c:v>1.18</c:v>
                </c:pt>
              </c:strCache>
            </c:strRef>
          </c:cat>
          <c:val>
            <c:numRef>
              <c:f>Sheet1!$D$2:$D$4</c:f>
              <c:numCache>
                <c:formatCode>General</c:formatCode>
                <c:ptCount val="3"/>
                <c:pt idx="0">
                  <c:v>-1491.3808145233704</c:v>
                </c:pt>
                <c:pt idx="1">
                  <c:v>100.0</c:v>
                </c:pt>
                <c:pt idx="2">
                  <c:v>1611.7225197961336</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4</c:f>
              <c:strCache>
                <c:ptCount val="3"/>
                <c:pt idx="0">
                  <c:v>0.78</c:v>
                </c:pt>
                <c:pt idx="1">
                  <c:v>0.98</c:v>
                </c:pt>
                <c:pt idx="2">
                  <c:v>1.18</c:v>
                </c:pt>
              </c:strCache>
            </c:strRef>
          </c:cat>
          <c:val>
            <c:numRef>
              <c:f>Sheet1!$E$2:$E$4</c:f>
              <c:numCache>
                <c:formatCode>General</c:formatCode>
                <c:ptCount val="3"/>
                <c:pt idx="0">
                  <c:v>-0.2729690346843737</c:v>
                </c:pt>
                <c:pt idx="1">
                  <c:v>-0.01317943576919548</c:v>
                </c:pt>
                <c:pt idx="2">
                  <c:v>0.15854589232727798</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1800.0"/>
          <c:max val="190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2"/>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6</c:f>
              <c:strCache>
                <c:ptCount val="5"/>
                <c:pt idx="0">
                  <c:v>1.77</c:v>
                </c:pt>
                <c:pt idx="1">
                  <c:v>1.97</c:v>
                </c:pt>
                <c:pt idx="2">
                  <c:v>2.17</c:v>
                </c:pt>
                <c:pt idx="3">
                  <c:v>2.37</c:v>
                </c:pt>
                <c:pt idx="4">
                  <c:v>2.57</c:v>
                </c:pt>
              </c:strCache>
            </c:strRef>
          </c:cat>
          <c:val>
            <c:numRef>
              <c:f>Sheet1!$B$2:$B$6</c:f>
              <c:numCache>
                <c:formatCode>General</c:formatCode>
                <c:ptCount val="5"/>
                <c:pt idx="0">
                  <c:v>102.03827531487795</c:v>
                </c:pt>
                <c:pt idx="1">
                  <c:v>101.01198370955377</c:v>
                </c:pt>
                <c:pt idx="2">
                  <c:v>100.0</c:v>
                </c:pt>
                <c:pt idx="3">
                  <c:v>99.00199794856857</c:v>
                </c:pt>
                <c:pt idx="4">
                  <c:v>98.017662243668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6</c:f>
              <c:strCache>
                <c:ptCount val="5"/>
                <c:pt idx="0">
                  <c:v>1.77</c:v>
                </c:pt>
                <c:pt idx="1">
                  <c:v>1.97</c:v>
                </c:pt>
                <c:pt idx="2">
                  <c:v>2.17</c:v>
                </c:pt>
                <c:pt idx="3">
                  <c:v>2.37</c:v>
                </c:pt>
                <c:pt idx="4">
                  <c:v>2.57</c:v>
                </c:pt>
              </c:strCache>
            </c:strRef>
          </c:cat>
          <c:val>
            <c:numRef>
              <c:f>Sheet1!$C$2:$C$6</c:f>
              <c:numCache>
                <c:formatCode>General</c:formatCode>
                <c:ptCount val="5"/>
                <c:pt idx="0">
                  <c:v>83.49484203411383</c:v>
                </c:pt>
                <c:pt idx="1">
                  <c:v>91.84662189098202</c:v>
                </c:pt>
                <c:pt idx="2">
                  <c:v>100.0</c:v>
                </c:pt>
                <c:pt idx="3">
                  <c:v>107.96023117138023</c:v>
                </c:pt>
                <c:pt idx="4">
                  <c:v>115.73237272648794</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6</c:f>
              <c:strCache>
                <c:ptCount val="5"/>
                <c:pt idx="0">
                  <c:v>1.77</c:v>
                </c:pt>
                <c:pt idx="1">
                  <c:v>1.97</c:v>
                </c:pt>
                <c:pt idx="2">
                  <c:v>2.17</c:v>
                </c:pt>
                <c:pt idx="3">
                  <c:v>2.37</c:v>
                </c:pt>
                <c:pt idx="4">
                  <c:v>2.57</c:v>
                </c:pt>
              </c:strCache>
            </c:strRef>
          </c:cat>
          <c:val>
            <c:numRef>
              <c:f>Sheet1!$D$2:$D$6</c:f>
              <c:numCache>
                <c:formatCode>General</c:formatCode>
                <c:ptCount val="5"/>
                <c:pt idx="0">
                  <c:v>-3009.7353203840257</c:v>
                </c:pt>
                <c:pt idx="1">
                  <c:v>-1439.2320404581108</c:v>
                </c:pt>
                <c:pt idx="2">
                  <c:v>100.0</c:v>
                </c:pt>
                <c:pt idx="3">
                  <c:v>1608.6098052266714</c:v>
                </c:pt>
                <c:pt idx="4">
                  <c:v>3087.226829387009</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6</c:f>
              <c:strCache>
                <c:ptCount val="5"/>
                <c:pt idx="0">
                  <c:v>1.77</c:v>
                </c:pt>
                <c:pt idx="1">
                  <c:v>1.97</c:v>
                </c:pt>
                <c:pt idx="2">
                  <c:v>2.17</c:v>
                </c:pt>
                <c:pt idx="3">
                  <c:v>2.37</c:v>
                </c:pt>
                <c:pt idx="4">
                  <c:v>2.57</c:v>
                </c:pt>
              </c:strCache>
            </c:strRef>
          </c:cat>
          <c:val>
            <c:numRef>
              <c:f>Sheet1!$E$2:$E$6</c:f>
              <c:numCache>
                <c:formatCode>General</c:formatCode>
                <c:ptCount val="5"/>
                <c:pt idx="0">
                  <c:v>-0.23340882450623143</c:v>
                </c:pt>
                <c:pt idx="1">
                  <c:v>-0.10818965450559877</c:v>
                </c:pt>
                <c:pt idx="2">
                  <c:v>-0.006052359159460804</c:v>
                </c:pt>
                <c:pt idx="3">
                  <c:v>0.07884657410294113</c:v>
                </c:pt>
                <c:pt idx="4">
                  <c:v>0.1505316656124396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3600.0"/>
          <c:max val="370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2"/>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8</c:f>
              <c:strCache>
                <c:ptCount val="7"/>
                <c:pt idx="0">
                  <c:v>2.87</c:v>
                </c:pt>
                <c:pt idx="1">
                  <c:v>3.07</c:v>
                </c:pt>
                <c:pt idx="2">
                  <c:v>3.27</c:v>
                </c:pt>
                <c:pt idx="3">
                  <c:v>3.47</c:v>
                </c:pt>
                <c:pt idx="4">
                  <c:v>3.67</c:v>
                </c:pt>
                <c:pt idx="5">
                  <c:v>3.87</c:v>
                </c:pt>
                <c:pt idx="6">
                  <c:v>4.07</c:v>
                </c:pt>
              </c:strCache>
            </c:strRef>
          </c:cat>
          <c:val>
            <c:numRef>
              <c:f>Sheet1!$B$2:$B$8</c:f>
              <c:numCache>
                <c:formatCode>General</c:formatCode>
                <c:ptCount val="7"/>
                <c:pt idx="0">
                  <c:v>107.40866983281263</c:v>
                </c:pt>
                <c:pt idx="1">
                  <c:v>104.85059712708602</c:v>
                </c:pt>
                <c:pt idx="2">
                  <c:v>102.38252963997681</c:v>
                </c:pt>
                <c:pt idx="3">
                  <c:v>100.0</c:v>
                </c:pt>
                <c:pt idx="4">
                  <c:v>97.69880377112644</c:v>
                </c:pt>
                <c:pt idx="5">
                  <c:v>95.38838669189434</c:v>
                </c:pt>
                <c:pt idx="6">
                  <c:v>93.05883412386815</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8</c:f>
              <c:strCache>
                <c:ptCount val="7"/>
                <c:pt idx="0">
                  <c:v>2.87</c:v>
                </c:pt>
                <c:pt idx="1">
                  <c:v>3.07</c:v>
                </c:pt>
                <c:pt idx="2">
                  <c:v>3.27</c:v>
                </c:pt>
                <c:pt idx="3">
                  <c:v>3.47</c:v>
                </c:pt>
                <c:pt idx="4">
                  <c:v>3.67</c:v>
                </c:pt>
                <c:pt idx="5">
                  <c:v>3.87</c:v>
                </c:pt>
                <c:pt idx="6">
                  <c:v>4.07</c:v>
                </c:pt>
              </c:strCache>
            </c:strRef>
          </c:cat>
          <c:val>
            <c:numRef>
              <c:f>Sheet1!$C$2:$C$8</c:f>
              <c:numCache>
                <c:formatCode>General</c:formatCode>
                <c:ptCount val="7"/>
                <c:pt idx="0">
                  <c:v>88.99444992572825</c:v>
                </c:pt>
                <c:pt idx="1">
                  <c:v>92.87116905361871</c:v>
                </c:pt>
                <c:pt idx="2">
                  <c:v>96.53580839074819</c:v>
                </c:pt>
                <c:pt idx="3">
                  <c:v>100.0</c:v>
                </c:pt>
                <c:pt idx="4">
                  <c:v>103.27455201095155</c:v>
                </c:pt>
                <c:pt idx="5">
                  <c:v>106.27457413538836</c:v>
                </c:pt>
                <c:pt idx="6">
                  <c:v>108.9874893736428</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8</c:f>
              <c:strCache>
                <c:ptCount val="7"/>
                <c:pt idx="0">
                  <c:v>2.87</c:v>
                </c:pt>
                <c:pt idx="1">
                  <c:v>3.07</c:v>
                </c:pt>
                <c:pt idx="2">
                  <c:v>3.27</c:v>
                </c:pt>
                <c:pt idx="3">
                  <c:v>3.47</c:v>
                </c:pt>
                <c:pt idx="4">
                  <c:v>3.67</c:v>
                </c:pt>
                <c:pt idx="5">
                  <c:v>3.87</c:v>
                </c:pt>
                <c:pt idx="6">
                  <c:v>4.07</c:v>
                </c:pt>
              </c:strCache>
            </c:strRef>
          </c:cat>
          <c:val>
            <c:numRef>
              <c:f>Sheet1!$D$2:$D$8</c:f>
              <c:numCache>
                <c:formatCode>General</c:formatCode>
                <c:ptCount val="7"/>
                <c:pt idx="0">
                  <c:v>-16.294262570929142</c:v>
                </c:pt>
                <c:pt idx="1">
                  <c:v>24.287839370334275</c:v>
                </c:pt>
                <c:pt idx="2">
                  <c:v>63.02069015835947</c:v>
                </c:pt>
                <c:pt idx="3">
                  <c:v>100.0</c:v>
                </c:pt>
                <c:pt idx="4">
                  <c:v>135.31526661686803</c:v>
                </c:pt>
                <c:pt idx="5">
                  <c:v>169.07829643804027</c:v>
                </c:pt>
                <c:pt idx="6">
                  <c:v>201.27960549062124</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8</c:f>
              <c:strCache>
                <c:ptCount val="7"/>
                <c:pt idx="0">
                  <c:v>2.87</c:v>
                </c:pt>
                <c:pt idx="1">
                  <c:v>3.07</c:v>
                </c:pt>
                <c:pt idx="2">
                  <c:v>3.27</c:v>
                </c:pt>
                <c:pt idx="3">
                  <c:v>3.47</c:v>
                </c:pt>
                <c:pt idx="4">
                  <c:v>3.67</c:v>
                </c:pt>
                <c:pt idx="5">
                  <c:v>3.87</c:v>
                </c:pt>
                <c:pt idx="6">
                  <c:v>4.07</c:v>
                </c:pt>
              </c:strCache>
            </c:strRef>
          </c:cat>
          <c:val>
            <c:numRef>
              <c:f>Sheet1!$E$2:$E$8</c:f>
              <c:numCache>
                <c:formatCode>General</c:formatCode>
                <c:ptCount val="7"/>
                <c:pt idx="0">
                  <c:v>-0.4152827899036581</c:v>
                </c:pt>
                <c:pt idx="1">
                  <c:v>-0.3230819566851785</c:v>
                </c:pt>
                <c:pt idx="2">
                  <c:v>-0.24215951285122259</c:v>
                </c:pt>
                <c:pt idx="3">
                  <c:v>-0.1705653046177225</c:v>
                </c:pt>
                <c:pt idx="4">
                  <c:v>-0.1067742798429148</c:v>
                </c:pt>
                <c:pt idx="5">
                  <c:v>-0.04957664264173074</c:v>
                </c:pt>
                <c:pt idx="6">
                  <c:v>0.001999605153931743</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20.0"/>
          <c:max val="24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0"/>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9</c:f>
              <c:strCache>
                <c:ptCount val="8"/>
                <c:pt idx="0">
                  <c:v>3.57</c:v>
                </c:pt>
                <c:pt idx="1">
                  <c:v>3.77</c:v>
                </c:pt>
                <c:pt idx="2">
                  <c:v>3.97</c:v>
                </c:pt>
                <c:pt idx="3">
                  <c:v>4.17</c:v>
                </c:pt>
                <c:pt idx="4">
                  <c:v>4.37</c:v>
                </c:pt>
                <c:pt idx="5">
                  <c:v>4.57</c:v>
                </c:pt>
                <c:pt idx="6">
                  <c:v>4.77</c:v>
                </c:pt>
                <c:pt idx="7">
                  <c:v>4.97</c:v>
                </c:pt>
              </c:strCache>
            </c:strRef>
          </c:cat>
          <c:val>
            <c:numRef>
              <c:f>Sheet1!$B$2:$B$9</c:f>
              <c:numCache>
                <c:formatCode>General</c:formatCode>
                <c:ptCount val="8"/>
                <c:pt idx="0">
                  <c:v>104.43126683174297</c:v>
                </c:pt>
                <c:pt idx="1">
                  <c:v>102.33512963200175</c:v>
                </c:pt>
                <c:pt idx="2">
                  <c:v>101.15545421341909</c:v>
                </c:pt>
                <c:pt idx="3">
                  <c:v>100.0</c:v>
                </c:pt>
                <c:pt idx="4">
                  <c:v>98.86797281605774</c:v>
                </c:pt>
                <c:pt idx="5">
                  <c:v>97.75861337431813</c:v>
                </c:pt>
                <c:pt idx="6">
                  <c:v>95.08853568425354</c:v>
                </c:pt>
                <c:pt idx="7">
                  <c:v>92.50747289645066</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9</c:f>
              <c:strCache>
                <c:ptCount val="8"/>
                <c:pt idx="0">
                  <c:v>3.57</c:v>
                </c:pt>
                <c:pt idx="1">
                  <c:v>3.77</c:v>
                </c:pt>
                <c:pt idx="2">
                  <c:v>3.97</c:v>
                </c:pt>
                <c:pt idx="3">
                  <c:v>4.17</c:v>
                </c:pt>
                <c:pt idx="4">
                  <c:v>4.37</c:v>
                </c:pt>
                <c:pt idx="5">
                  <c:v>4.57</c:v>
                </c:pt>
                <c:pt idx="6">
                  <c:v>4.77</c:v>
                </c:pt>
                <c:pt idx="7">
                  <c:v>4.97</c:v>
                </c:pt>
              </c:strCache>
            </c:strRef>
          </c:cat>
          <c:val>
            <c:numRef>
              <c:f>Sheet1!$C$2:$C$9</c:f>
              <c:numCache>
                <c:formatCode>General</c:formatCode>
                <c:ptCount val="8"/>
                <c:pt idx="0">
                  <c:v>89.51500206232625</c:v>
                </c:pt>
                <c:pt idx="1">
                  <c:v>92.59126980366027</c:v>
                </c:pt>
                <c:pt idx="2">
                  <c:v>96.3411374009905</c:v>
                </c:pt>
                <c:pt idx="3">
                  <c:v>100.0</c:v>
                </c:pt>
                <c:pt idx="4">
                  <c:v>103.57068515487842</c:v>
                </c:pt>
                <c:pt idx="5">
                  <c:v>107.05589474016277</c:v>
                </c:pt>
                <c:pt idx="6">
                  <c:v>108.649154298686</c:v>
                </c:pt>
                <c:pt idx="7">
                  <c:v>110.0935292209045</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9</c:f>
              <c:strCache>
                <c:ptCount val="8"/>
                <c:pt idx="0">
                  <c:v>3.57</c:v>
                </c:pt>
                <c:pt idx="1">
                  <c:v>3.77</c:v>
                </c:pt>
                <c:pt idx="2">
                  <c:v>3.97</c:v>
                </c:pt>
                <c:pt idx="3">
                  <c:v>4.17</c:v>
                </c:pt>
                <c:pt idx="4">
                  <c:v>4.37</c:v>
                </c:pt>
                <c:pt idx="5">
                  <c:v>4.57</c:v>
                </c:pt>
                <c:pt idx="6">
                  <c:v>4.77</c:v>
                </c:pt>
                <c:pt idx="7">
                  <c:v>4.97</c:v>
                </c:pt>
              </c:strCache>
            </c:strRef>
          </c:cat>
          <c:val>
            <c:numRef>
              <c:f>Sheet1!$D$2:$D$9</c:f>
              <c:numCache>
                <c:formatCode>General</c:formatCode>
                <c:ptCount val="8"/>
                <c:pt idx="0">
                  <c:v>74.09245517700693</c:v>
                </c:pt>
                <c:pt idx="1">
                  <c:v>82.5152275550337</c:v>
                </c:pt>
                <c:pt idx="2">
                  <c:v>91.35974083390411</c:v>
                </c:pt>
                <c:pt idx="3">
                  <c:v>100.0</c:v>
                </c:pt>
                <c:pt idx="4">
                  <c:v>108.44217058572477</c:v>
                </c:pt>
                <c:pt idx="5">
                  <c:v>116.6921521427418</c:v>
                </c:pt>
                <c:pt idx="6">
                  <c:v>122.71314718396124</c:v>
                </c:pt>
                <c:pt idx="7">
                  <c:v>128.34050620160536</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9</c:f>
              <c:strCache>
                <c:ptCount val="8"/>
                <c:pt idx="0">
                  <c:v>3.57</c:v>
                </c:pt>
                <c:pt idx="1">
                  <c:v>3.77</c:v>
                </c:pt>
                <c:pt idx="2">
                  <c:v>3.97</c:v>
                </c:pt>
                <c:pt idx="3">
                  <c:v>4.17</c:v>
                </c:pt>
                <c:pt idx="4">
                  <c:v>4.37</c:v>
                </c:pt>
                <c:pt idx="5">
                  <c:v>4.57</c:v>
                </c:pt>
                <c:pt idx="6">
                  <c:v>4.77</c:v>
                </c:pt>
                <c:pt idx="7">
                  <c:v>4.97</c:v>
                </c:pt>
              </c:strCache>
            </c:strRef>
          </c:cat>
          <c:val>
            <c:numRef>
              <c:f>Sheet1!$E$2:$E$9</c:f>
              <c:numCache>
                <c:formatCode>General</c:formatCode>
                <c:ptCount val="8"/>
                <c:pt idx="0">
                  <c:v>0.41044829365237606</c:v>
                </c:pt>
                <c:pt idx="1">
                  <c:v>0.44172424624376205</c:v>
                </c:pt>
                <c:pt idx="2">
                  <c:v>0.4698489693549075</c:v>
                </c:pt>
                <c:pt idx="3">
                  <c:v>0.4952758772995163</c:v>
                </c:pt>
                <c:pt idx="4">
                  <c:v>0.5183753794826048</c:v>
                </c:pt>
                <c:pt idx="5">
                  <c:v>0.5394530434002152</c:v>
                </c:pt>
                <c:pt idx="6">
                  <c:v>0.5587631883310236</c:v>
                </c:pt>
                <c:pt idx="7">
                  <c:v>0.5765191968488899</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5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5</c:f>
              <c:strCache>
                <c:ptCount val="14"/>
                <c:pt idx="0">
                  <c:v>5.47</c:v>
                </c:pt>
                <c:pt idx="1">
                  <c:v>5.67</c:v>
                </c:pt>
                <c:pt idx="2">
                  <c:v>5.87</c:v>
                </c:pt>
                <c:pt idx="3">
                  <c:v>6.07</c:v>
                </c:pt>
                <c:pt idx="4">
                  <c:v>6.27</c:v>
                </c:pt>
                <c:pt idx="5">
                  <c:v>6.47</c:v>
                </c:pt>
                <c:pt idx="6">
                  <c:v>6.67</c:v>
                </c:pt>
                <c:pt idx="7">
                  <c:v>6.87</c:v>
                </c:pt>
                <c:pt idx="8">
                  <c:v>7.07</c:v>
                </c:pt>
                <c:pt idx="9">
                  <c:v>7.27</c:v>
                </c:pt>
                <c:pt idx="10">
                  <c:v>7.47</c:v>
                </c:pt>
                <c:pt idx="11">
                  <c:v>7.67</c:v>
                </c:pt>
                <c:pt idx="12">
                  <c:v>7.87</c:v>
                </c:pt>
                <c:pt idx="13">
                  <c:v>8.07</c:v>
                </c:pt>
              </c:strCache>
            </c:strRef>
          </c:cat>
          <c:val>
            <c:numRef>
              <c:f>Sheet1!$B$2:$B$15</c:f>
              <c:numCache>
                <c:formatCode>General</c:formatCode>
                <c:ptCount val="14"/>
                <c:pt idx="0">
                  <c:v>123.29509599530839</c:v>
                </c:pt>
                <c:pt idx="1">
                  <c:v>117.73524507682274</c:v>
                </c:pt>
                <c:pt idx="2">
                  <c:v>112.68327573444164</c:v>
                </c:pt>
                <c:pt idx="3">
                  <c:v>108.07779636054107</c:v>
                </c:pt>
                <c:pt idx="4">
                  <c:v>103.86546967104957</c:v>
                </c:pt>
                <c:pt idx="5">
                  <c:v>100.0</c:v>
                </c:pt>
                <c:pt idx="6">
                  <c:v>88.17631882606126</c:v>
                </c:pt>
                <c:pt idx="7">
                  <c:v>78.88887206041859</c:v>
                </c:pt>
                <c:pt idx="8">
                  <c:v>71.45277346342408</c:v>
                </c:pt>
                <c:pt idx="9">
                  <c:v>67.86104026022105</c:v>
                </c:pt>
                <c:pt idx="10">
                  <c:v>64.57789384850247</c:v>
                </c:pt>
                <c:pt idx="11">
                  <c:v>61.5693558039826</c:v>
                </c:pt>
                <c:pt idx="12">
                  <c:v>58.805656345526046</c:v>
                </c:pt>
                <c:pt idx="13">
                  <c:v>56.260686935468705</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5</c:f>
              <c:strCache>
                <c:ptCount val="14"/>
                <c:pt idx="0">
                  <c:v>5.47</c:v>
                </c:pt>
                <c:pt idx="1">
                  <c:v>5.67</c:v>
                </c:pt>
                <c:pt idx="2">
                  <c:v>5.87</c:v>
                </c:pt>
                <c:pt idx="3">
                  <c:v>6.07</c:v>
                </c:pt>
                <c:pt idx="4">
                  <c:v>6.27</c:v>
                </c:pt>
                <c:pt idx="5">
                  <c:v>6.47</c:v>
                </c:pt>
                <c:pt idx="6">
                  <c:v>6.67</c:v>
                </c:pt>
                <c:pt idx="7">
                  <c:v>6.87</c:v>
                </c:pt>
                <c:pt idx="8">
                  <c:v>7.07</c:v>
                </c:pt>
                <c:pt idx="9">
                  <c:v>7.27</c:v>
                </c:pt>
                <c:pt idx="10">
                  <c:v>7.47</c:v>
                </c:pt>
                <c:pt idx="11">
                  <c:v>7.67</c:v>
                </c:pt>
                <c:pt idx="12">
                  <c:v>7.87</c:v>
                </c:pt>
                <c:pt idx="13">
                  <c:v>8.07</c:v>
                </c:pt>
              </c:strCache>
            </c:strRef>
          </c:cat>
          <c:val>
            <c:numRef>
              <c:f>Sheet1!$C$2:$C$15</c:f>
              <c:numCache>
                <c:formatCode>General</c:formatCode>
                <c:ptCount val="14"/>
                <c:pt idx="0">
                  <c:v>104.28957859641568</c:v>
                </c:pt>
                <c:pt idx="1">
                  <c:v>103.21645650514799</c:v>
                </c:pt>
                <c:pt idx="2">
                  <c:v>102.26145082979976</c:v>
                </c:pt>
                <c:pt idx="3">
                  <c:v>101.41390420731587</c:v>
                </c:pt>
                <c:pt idx="4">
                  <c:v>100.66340213346206</c:v>
                </c:pt>
                <c:pt idx="5">
                  <c:v>100.0</c:v>
                </c:pt>
                <c:pt idx="6">
                  <c:v>90.89968024273593</c:v>
                </c:pt>
                <c:pt idx="7">
                  <c:v>83.76173082645515</c:v>
                </c:pt>
                <c:pt idx="8">
                  <c:v>78.0728721797245</c:v>
                </c:pt>
                <c:pt idx="9">
                  <c:v>76.24198945956778</c:v>
                </c:pt>
                <c:pt idx="10">
                  <c:v>74.54581499323491</c:v>
                </c:pt>
                <c:pt idx="11">
                  <c:v>72.97260950253992</c:v>
                </c:pt>
                <c:pt idx="12">
                  <c:v>71.51156520845518</c:v>
                </c:pt>
                <c:pt idx="13">
                  <c:v>70.15277098496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5</c:f>
              <c:strCache>
                <c:ptCount val="14"/>
                <c:pt idx="0">
                  <c:v>5.47</c:v>
                </c:pt>
                <c:pt idx="1">
                  <c:v>5.67</c:v>
                </c:pt>
                <c:pt idx="2">
                  <c:v>5.87</c:v>
                </c:pt>
                <c:pt idx="3">
                  <c:v>6.07</c:v>
                </c:pt>
                <c:pt idx="4">
                  <c:v>6.27</c:v>
                </c:pt>
                <c:pt idx="5">
                  <c:v>6.47</c:v>
                </c:pt>
                <c:pt idx="6">
                  <c:v>6.67</c:v>
                </c:pt>
                <c:pt idx="7">
                  <c:v>6.87</c:v>
                </c:pt>
                <c:pt idx="8">
                  <c:v>7.07</c:v>
                </c:pt>
                <c:pt idx="9">
                  <c:v>7.27</c:v>
                </c:pt>
                <c:pt idx="10">
                  <c:v>7.47</c:v>
                </c:pt>
                <c:pt idx="11">
                  <c:v>7.67</c:v>
                </c:pt>
                <c:pt idx="12">
                  <c:v>7.87</c:v>
                </c:pt>
                <c:pt idx="13">
                  <c:v>8.07</c:v>
                </c:pt>
              </c:strCache>
            </c:strRef>
          </c:cat>
          <c:val>
            <c:numRef>
              <c:f>Sheet1!$D$2:$D$15</c:f>
              <c:numCache>
                <c:formatCode>General</c:formatCode>
                <c:ptCount val="14"/>
                <c:pt idx="0">
                  <c:v>68.26340250667107</c:v>
                </c:pt>
                <c:pt idx="1">
                  <c:v>75.69516315743252</c:v>
                </c:pt>
                <c:pt idx="2">
                  <c:v>82.50615583463944</c:v>
                </c:pt>
                <c:pt idx="3">
                  <c:v>88.78196268856118</c:v>
                </c:pt>
                <c:pt idx="4">
                  <c:v>94.59357990958156</c:v>
                </c:pt>
                <c:pt idx="5">
                  <c:v>100.0</c:v>
                </c:pt>
                <c:pt idx="6">
                  <c:v>96.04766538923168</c:v>
                </c:pt>
                <c:pt idx="7">
                  <c:v>92.97341675977462</c:v>
                </c:pt>
                <c:pt idx="8">
                  <c:v>90.58816776151593</c:v>
                </c:pt>
                <c:pt idx="9">
                  <c:v>92.09238822924428</c:v>
                </c:pt>
                <c:pt idx="10">
                  <c:v>93.40167497072788</c:v>
                </c:pt>
                <c:pt idx="11">
                  <c:v>94.5464914106725</c:v>
                </c:pt>
                <c:pt idx="12">
                  <c:v>95.55200672542736</c:v>
                </c:pt>
                <c:pt idx="13">
                  <c:v>96.43903601122697</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5</c:f>
              <c:strCache>
                <c:ptCount val="14"/>
                <c:pt idx="0">
                  <c:v>5.47</c:v>
                </c:pt>
                <c:pt idx="1">
                  <c:v>5.67</c:v>
                </c:pt>
                <c:pt idx="2">
                  <c:v>5.87</c:v>
                </c:pt>
                <c:pt idx="3">
                  <c:v>6.07</c:v>
                </c:pt>
                <c:pt idx="4">
                  <c:v>6.27</c:v>
                </c:pt>
                <c:pt idx="5">
                  <c:v>6.47</c:v>
                </c:pt>
                <c:pt idx="6">
                  <c:v>6.67</c:v>
                </c:pt>
                <c:pt idx="7">
                  <c:v>6.87</c:v>
                </c:pt>
                <c:pt idx="8">
                  <c:v>7.07</c:v>
                </c:pt>
                <c:pt idx="9">
                  <c:v>7.27</c:v>
                </c:pt>
                <c:pt idx="10">
                  <c:v>7.47</c:v>
                </c:pt>
                <c:pt idx="11">
                  <c:v>7.67</c:v>
                </c:pt>
                <c:pt idx="12">
                  <c:v>7.87</c:v>
                </c:pt>
                <c:pt idx="13">
                  <c:v>8.07</c:v>
                </c:pt>
              </c:strCache>
            </c:strRef>
          </c:cat>
          <c:val>
            <c:numRef>
              <c:f>Sheet1!$E$2:$E$15</c:f>
              <c:numCache>
                <c:formatCode>General</c:formatCode>
                <c:ptCount val="14"/>
                <c:pt idx="0">
                  <c:v>0.22677111085179383</c:v>
                </c:pt>
                <c:pt idx="1">
                  <c:v>0.2540454984760692</c:v>
                </c:pt>
                <c:pt idx="2">
                  <c:v>0.27946132476308544</c:v>
                </c:pt>
                <c:pt idx="3">
                  <c:v>0.30320230253036445</c:v>
                </c:pt>
                <c:pt idx="4">
                  <c:v>0.3254287043635266</c:v>
                </c:pt>
                <c:pt idx="5">
                  <c:v>0.34628098552694175</c:v>
                </c:pt>
                <c:pt idx="6">
                  <c:v>0.3658827550763587</c:v>
                </c:pt>
                <c:pt idx="7">
                  <c:v>0.3843432279999</c:v>
                </c:pt>
                <c:pt idx="8">
                  <c:v>0.40175926115407523</c:v>
                </c:pt>
                <c:pt idx="9">
                  <c:v>0.4182170531443346</c:v>
                </c:pt>
                <c:pt idx="10">
                  <c:v>0.4337935711324382</c:v>
                </c:pt>
                <c:pt idx="11">
                  <c:v>0.4485577544145126</c:v>
                </c:pt>
                <c:pt idx="12">
                  <c:v>0.4625715344802177</c:v>
                </c:pt>
                <c:pt idx="13">
                  <c:v>0.47589070339024947</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15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2</c:f>
              <c:strCache>
                <c:ptCount val="11"/>
                <c:pt idx="0">
                  <c:v>4.67</c:v>
                </c:pt>
                <c:pt idx="1">
                  <c:v>4.87</c:v>
                </c:pt>
                <c:pt idx="2">
                  <c:v>5.07</c:v>
                </c:pt>
                <c:pt idx="3">
                  <c:v>5.27</c:v>
                </c:pt>
                <c:pt idx="4">
                  <c:v>5.47</c:v>
                </c:pt>
                <c:pt idx="5">
                  <c:v>5.67</c:v>
                </c:pt>
                <c:pt idx="6">
                  <c:v>5.87</c:v>
                </c:pt>
                <c:pt idx="7">
                  <c:v>6.07</c:v>
                </c:pt>
                <c:pt idx="8">
                  <c:v>6.27</c:v>
                </c:pt>
                <c:pt idx="9">
                  <c:v>6.47</c:v>
                </c:pt>
                <c:pt idx="10">
                  <c:v>6.67</c:v>
                </c:pt>
              </c:strCache>
            </c:strRef>
          </c:cat>
          <c:val>
            <c:numRef>
              <c:f>Sheet1!$B$2:$B$12</c:f>
              <c:numCache>
                <c:formatCode>General</c:formatCode>
                <c:ptCount val="11"/>
                <c:pt idx="0">
                  <c:v>111.51760915153864</c:v>
                </c:pt>
                <c:pt idx="1">
                  <c:v>108.47939538350889</c:v>
                </c:pt>
                <c:pt idx="2">
                  <c:v>105.54999886329963</c:v>
                </c:pt>
                <c:pt idx="3">
                  <c:v>102.7249604875911</c:v>
                </c:pt>
                <c:pt idx="4">
                  <c:v>100.0</c:v>
                </c:pt>
                <c:pt idx="5">
                  <c:v>95.00117574145456</c:v>
                </c:pt>
                <c:pt idx="6">
                  <c:v>90.39977780952563</c:v>
                </c:pt>
                <c:pt idx="7">
                  <c:v>86.16664150939576</c:v>
                </c:pt>
                <c:pt idx="8">
                  <c:v>82.27200365638262</c:v>
                </c:pt>
                <c:pt idx="9">
                  <c:v>78.68652278149591</c:v>
                </c:pt>
                <c:pt idx="10">
                  <c:v>70.12771850230517</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2</c:f>
              <c:strCache>
                <c:ptCount val="11"/>
                <c:pt idx="0">
                  <c:v>4.67</c:v>
                </c:pt>
                <c:pt idx="1">
                  <c:v>4.87</c:v>
                </c:pt>
                <c:pt idx="2">
                  <c:v>5.07</c:v>
                </c:pt>
                <c:pt idx="3">
                  <c:v>5.27</c:v>
                </c:pt>
                <c:pt idx="4">
                  <c:v>5.47</c:v>
                </c:pt>
                <c:pt idx="5">
                  <c:v>5.67</c:v>
                </c:pt>
                <c:pt idx="6">
                  <c:v>5.87</c:v>
                </c:pt>
                <c:pt idx="7">
                  <c:v>6.07</c:v>
                </c:pt>
                <c:pt idx="8">
                  <c:v>6.27</c:v>
                </c:pt>
                <c:pt idx="9">
                  <c:v>6.47</c:v>
                </c:pt>
                <c:pt idx="10">
                  <c:v>6.67</c:v>
                </c:pt>
              </c:strCache>
            </c:strRef>
          </c:cat>
          <c:val>
            <c:numRef>
              <c:f>Sheet1!$C$2:$C$12</c:f>
              <c:numCache>
                <c:formatCode>General</c:formatCode>
                <c:ptCount val="11"/>
                <c:pt idx="0">
                  <c:v>95.45780744576045</c:v>
                </c:pt>
                <c:pt idx="1">
                  <c:v>96.76536136632838</c:v>
                </c:pt>
                <c:pt idx="2">
                  <c:v>97.95311240548745</c:v>
                </c:pt>
                <c:pt idx="3">
                  <c:v>99.02888779548714</c:v>
                </c:pt>
                <c:pt idx="4">
                  <c:v>100.0</c:v>
                </c:pt>
                <c:pt idx="5">
                  <c:v>98.43293638616811</c:v>
                </c:pt>
                <c:pt idx="6">
                  <c:v>96.93144328918272</c:v>
                </c:pt>
                <c:pt idx="7">
                  <c:v>95.50608205630489</c:v>
                </c:pt>
                <c:pt idx="8">
                  <c:v>94.16255032894124</c:v>
                </c:pt>
                <c:pt idx="9">
                  <c:v>92.90277615782185</c:v>
                </c:pt>
                <c:pt idx="10">
                  <c:v>85.35137541632972</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2</c:f>
              <c:strCache>
                <c:ptCount val="11"/>
                <c:pt idx="0">
                  <c:v>4.67</c:v>
                </c:pt>
                <c:pt idx="1">
                  <c:v>4.87</c:v>
                </c:pt>
                <c:pt idx="2">
                  <c:v>5.07</c:v>
                </c:pt>
                <c:pt idx="3">
                  <c:v>5.27</c:v>
                </c:pt>
                <c:pt idx="4">
                  <c:v>5.47</c:v>
                </c:pt>
                <c:pt idx="5">
                  <c:v>5.67</c:v>
                </c:pt>
                <c:pt idx="6">
                  <c:v>5.87</c:v>
                </c:pt>
                <c:pt idx="7">
                  <c:v>6.07</c:v>
                </c:pt>
                <c:pt idx="8">
                  <c:v>6.27</c:v>
                </c:pt>
                <c:pt idx="9">
                  <c:v>6.47</c:v>
                </c:pt>
                <c:pt idx="10">
                  <c:v>6.67</c:v>
                </c:pt>
              </c:strCache>
            </c:strRef>
          </c:cat>
          <c:val>
            <c:numRef>
              <c:f>Sheet1!$D$2:$D$12</c:f>
              <c:numCache>
                <c:formatCode>General</c:formatCode>
                <c:ptCount val="11"/>
                <c:pt idx="0">
                  <c:v>78.19250392262332</c:v>
                </c:pt>
                <c:pt idx="1">
                  <c:v>84.16650461789833</c:v>
                </c:pt>
                <c:pt idx="2">
                  <c:v>89.77910471575939</c:v>
                </c:pt>
                <c:pt idx="3">
                  <c:v>95.05056685610346</c:v>
                </c:pt>
                <c:pt idx="4">
                  <c:v>100.0</c:v>
                </c:pt>
                <c:pt idx="5">
                  <c:v>102.098539562608</c:v>
                </c:pt>
                <c:pt idx="6">
                  <c:v>103.90698143007337</c:v>
                </c:pt>
                <c:pt idx="7">
                  <c:v>105.47869736342321</c:v>
                </c:pt>
                <c:pt idx="8">
                  <c:v>106.85756642178399</c:v>
                </c:pt>
                <c:pt idx="9">
                  <c:v>108.07915269597311</c:v>
                </c:pt>
                <c:pt idx="10">
                  <c:v>101.56239885907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2</c:f>
              <c:strCache>
                <c:ptCount val="11"/>
                <c:pt idx="0">
                  <c:v>4.67</c:v>
                </c:pt>
                <c:pt idx="1">
                  <c:v>4.87</c:v>
                </c:pt>
                <c:pt idx="2">
                  <c:v>5.07</c:v>
                </c:pt>
                <c:pt idx="3">
                  <c:v>5.27</c:v>
                </c:pt>
                <c:pt idx="4">
                  <c:v>5.47</c:v>
                </c:pt>
                <c:pt idx="5">
                  <c:v>5.67</c:v>
                </c:pt>
                <c:pt idx="6">
                  <c:v>5.87</c:v>
                </c:pt>
                <c:pt idx="7">
                  <c:v>6.07</c:v>
                </c:pt>
                <c:pt idx="8">
                  <c:v>6.27</c:v>
                </c:pt>
                <c:pt idx="9">
                  <c:v>6.47</c:v>
                </c:pt>
                <c:pt idx="10">
                  <c:v>6.67</c:v>
                </c:pt>
              </c:strCache>
            </c:strRef>
          </c:cat>
          <c:val>
            <c:numRef>
              <c:f>Sheet1!$E$2:$E$12</c:f>
              <c:numCache>
                <c:formatCode>General</c:formatCode>
                <c:ptCount val="11"/>
                <c:pt idx="0">
                  <c:v>0.4019450619484276</c:v>
                </c:pt>
                <c:pt idx="1">
                  <c:v>0.42650583969181866</c:v>
                </c:pt>
                <c:pt idx="2">
                  <c:v>0.44912888349095786</c:v>
                </c:pt>
                <c:pt idx="3">
                  <c:v>0.4700348082161587</c:v>
                </c:pt>
                <c:pt idx="4">
                  <c:v>0.4894119633088038</c:v>
                </c:pt>
                <c:pt idx="5">
                  <c:v>0.5074221233331846</c:v>
                </c:pt>
                <c:pt idx="6">
                  <c:v>0.5242050152128035</c:v>
                </c:pt>
                <c:pt idx="7">
                  <c:v>0.5398819504611461</c:v>
                </c:pt>
                <c:pt idx="8">
                  <c:v>0.5545587622486693</c:v>
                </c:pt>
                <c:pt idx="9">
                  <c:v>0.5683281977278449</c:v>
                </c:pt>
                <c:pt idx="10">
                  <c:v>0.5812718799548959</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3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8</c:f>
              <c:strCache>
                <c:ptCount val="17"/>
                <c:pt idx="0">
                  <c:v>7.17</c:v>
                </c:pt>
                <c:pt idx="1">
                  <c:v>7.37</c:v>
                </c:pt>
                <c:pt idx="2">
                  <c:v>7.57</c:v>
                </c:pt>
                <c:pt idx="3">
                  <c:v>7.77</c:v>
                </c:pt>
                <c:pt idx="4">
                  <c:v>7.97</c:v>
                </c:pt>
                <c:pt idx="5">
                  <c:v>8.17</c:v>
                </c:pt>
                <c:pt idx="6">
                  <c:v>8.37</c:v>
                </c:pt>
                <c:pt idx="7">
                  <c:v>8.57</c:v>
                </c:pt>
                <c:pt idx="8">
                  <c:v>8.77</c:v>
                </c:pt>
                <c:pt idx="9">
                  <c:v>8.97</c:v>
                </c:pt>
                <c:pt idx="10">
                  <c:v>9.17</c:v>
                </c:pt>
                <c:pt idx="11">
                  <c:v>9.37</c:v>
                </c:pt>
                <c:pt idx="12">
                  <c:v>9.57</c:v>
                </c:pt>
                <c:pt idx="13">
                  <c:v>9.77</c:v>
                </c:pt>
                <c:pt idx="14">
                  <c:v>9.97</c:v>
                </c:pt>
                <c:pt idx="15">
                  <c:v>10.17</c:v>
                </c:pt>
                <c:pt idx="16">
                  <c:v>10.37</c:v>
                </c:pt>
              </c:strCache>
            </c:strRef>
          </c:cat>
          <c:val>
            <c:numRef>
              <c:f>Sheet1!$B$2:$B$18</c:f>
              <c:numCache>
                <c:formatCode>General</c:formatCode>
                <c:ptCount val="17"/>
                <c:pt idx="0">
                  <c:v>120.49891342294426</c:v>
                </c:pt>
                <c:pt idx="1">
                  <c:v>116.79506325322532</c:v>
                </c:pt>
                <c:pt idx="2">
                  <c:v>113.36598384279361</c:v>
                </c:pt>
                <c:pt idx="3">
                  <c:v>110.18202939895852</c:v>
                </c:pt>
                <c:pt idx="4">
                  <c:v>107.21733071232971</c:v>
                </c:pt>
                <c:pt idx="5">
                  <c:v>103.76389102914419</c:v>
                </c:pt>
                <c:pt idx="6">
                  <c:v>100.0</c:v>
                </c:pt>
                <c:pt idx="7">
                  <c:v>96.61570434056237</c:v>
                </c:pt>
                <c:pt idx="8">
                  <c:v>93.5526845109947</c:v>
                </c:pt>
                <c:pt idx="9">
                  <c:v>90.76339477756657</c:v>
                </c:pt>
                <c:pt idx="10">
                  <c:v>89.45382009431532</c:v>
                </c:pt>
                <c:pt idx="11">
                  <c:v>88.18741919773167</c:v>
                </c:pt>
                <c:pt idx="12">
                  <c:v>86.9619300690617</c:v>
                </c:pt>
                <c:pt idx="13">
                  <c:v>85.77524052900944</c:v>
                </c:pt>
                <c:pt idx="14">
                  <c:v>84.62537704758905</c:v>
                </c:pt>
                <c:pt idx="15">
                  <c:v>81.52705504091743</c:v>
                </c:pt>
                <c:pt idx="16">
                  <c:v>78.77837210010682</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8</c:f>
              <c:strCache>
                <c:ptCount val="17"/>
                <c:pt idx="0">
                  <c:v>7.17</c:v>
                </c:pt>
                <c:pt idx="1">
                  <c:v>7.37</c:v>
                </c:pt>
                <c:pt idx="2">
                  <c:v>7.57</c:v>
                </c:pt>
                <c:pt idx="3">
                  <c:v>7.77</c:v>
                </c:pt>
                <c:pt idx="4">
                  <c:v>7.97</c:v>
                </c:pt>
                <c:pt idx="5">
                  <c:v>8.17</c:v>
                </c:pt>
                <c:pt idx="6">
                  <c:v>8.37</c:v>
                </c:pt>
                <c:pt idx="7">
                  <c:v>8.57</c:v>
                </c:pt>
                <c:pt idx="8">
                  <c:v>8.77</c:v>
                </c:pt>
                <c:pt idx="9">
                  <c:v>8.97</c:v>
                </c:pt>
                <c:pt idx="10">
                  <c:v>9.17</c:v>
                </c:pt>
                <c:pt idx="11">
                  <c:v>9.37</c:v>
                </c:pt>
                <c:pt idx="12">
                  <c:v>9.57</c:v>
                </c:pt>
                <c:pt idx="13">
                  <c:v>9.77</c:v>
                </c:pt>
                <c:pt idx="14">
                  <c:v>9.97</c:v>
                </c:pt>
                <c:pt idx="15">
                  <c:v>10.17</c:v>
                </c:pt>
                <c:pt idx="16">
                  <c:v>10.37</c:v>
                </c:pt>
              </c:strCache>
            </c:strRef>
          </c:cat>
          <c:val>
            <c:numRef>
              <c:f>Sheet1!$C$2:$C$18</c:f>
              <c:numCache>
                <c:formatCode>General</c:formatCode>
                <c:ptCount val="17"/>
                <c:pt idx="0">
                  <c:v>103.28875417255345</c:v>
                </c:pt>
                <c:pt idx="1">
                  <c:v>102.89385136654181</c:v>
                </c:pt>
                <c:pt idx="2">
                  <c:v>102.57110874454507</c:v>
                </c:pt>
                <c:pt idx="3">
                  <c:v>102.31262206442106</c:v>
                </c:pt>
                <c:pt idx="4">
                  <c:v>102.11126233181334</c:v>
                </c:pt>
                <c:pt idx="5">
                  <c:v>101.29264354741237</c:v>
                </c:pt>
                <c:pt idx="6">
                  <c:v>100.0</c:v>
                </c:pt>
                <c:pt idx="7">
                  <c:v>98.91652212110596</c:v>
                </c:pt>
                <c:pt idx="8">
                  <c:v>98.0082582805555</c:v>
                </c:pt>
                <c:pt idx="9">
                  <c:v>97.24724150974046</c:v>
                </c:pt>
                <c:pt idx="10">
                  <c:v>97.9717584416346</c:v>
                </c:pt>
                <c:pt idx="11">
                  <c:v>98.68212342000918</c:v>
                </c:pt>
                <c:pt idx="12">
                  <c:v>99.37884340916149</c:v>
                </c:pt>
                <c:pt idx="13">
                  <c:v>100.06238413502034</c:v>
                </c:pt>
                <c:pt idx="14">
                  <c:v>100.73317466212642</c:v>
                </c:pt>
                <c:pt idx="15">
                  <c:v>98.98767998082545</c:v>
                </c:pt>
                <c:pt idx="16">
                  <c:v>97.5271166340454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8</c:f>
              <c:strCache>
                <c:ptCount val="17"/>
                <c:pt idx="0">
                  <c:v>7.17</c:v>
                </c:pt>
                <c:pt idx="1">
                  <c:v>7.37</c:v>
                </c:pt>
                <c:pt idx="2">
                  <c:v>7.57</c:v>
                </c:pt>
                <c:pt idx="3">
                  <c:v>7.77</c:v>
                </c:pt>
                <c:pt idx="4">
                  <c:v>7.97</c:v>
                </c:pt>
                <c:pt idx="5">
                  <c:v>8.17</c:v>
                </c:pt>
                <c:pt idx="6">
                  <c:v>8.37</c:v>
                </c:pt>
                <c:pt idx="7">
                  <c:v>8.57</c:v>
                </c:pt>
                <c:pt idx="8">
                  <c:v>8.77</c:v>
                </c:pt>
                <c:pt idx="9">
                  <c:v>8.97</c:v>
                </c:pt>
                <c:pt idx="10">
                  <c:v>9.17</c:v>
                </c:pt>
                <c:pt idx="11">
                  <c:v>9.37</c:v>
                </c:pt>
                <c:pt idx="12">
                  <c:v>9.57</c:v>
                </c:pt>
                <c:pt idx="13">
                  <c:v>9.77</c:v>
                </c:pt>
                <c:pt idx="14">
                  <c:v>9.97</c:v>
                </c:pt>
                <c:pt idx="15">
                  <c:v>10.17</c:v>
                </c:pt>
                <c:pt idx="16">
                  <c:v>10.37</c:v>
                </c:pt>
              </c:strCache>
            </c:strRef>
          </c:cat>
          <c:val>
            <c:numRef>
              <c:f>Sheet1!$D$2:$D$18</c:f>
              <c:numCache>
                <c:formatCode>General</c:formatCode>
                <c:ptCount val="17"/>
                <c:pt idx="0">
                  <c:v>74.24954919755669</c:v>
                </c:pt>
                <c:pt idx="1">
                  <c:v>79.43858933240556</c:v>
                </c:pt>
                <c:pt idx="2">
                  <c:v>84.35822751494602</c:v>
                </c:pt>
                <c:pt idx="3">
                  <c:v>89.0372378651185</c:v>
                </c:pt>
                <c:pt idx="4">
                  <c:v>93.50010223690634</c:v>
                </c:pt>
                <c:pt idx="5">
                  <c:v>97.12619080246802</c:v>
                </c:pt>
                <c:pt idx="6">
                  <c:v>100.0</c:v>
                </c:pt>
                <c:pt idx="7">
                  <c:v>102.79614029223387</c:v>
                </c:pt>
                <c:pt idx="8">
                  <c:v>105.5216781373111</c:v>
                </c:pt>
                <c:pt idx="9">
                  <c:v>108.18159874371554</c:v>
                </c:pt>
                <c:pt idx="10">
                  <c:v>112.34300190999431</c:v>
                </c:pt>
                <c:pt idx="11">
                  <c:v>116.39384277114841</c:v>
                </c:pt>
                <c:pt idx="12">
                  <c:v>120.33927649699154</c:v>
                </c:pt>
                <c:pt idx="13">
                  <c:v>124.1840963938972</c:v>
                </c:pt>
                <c:pt idx="14">
                  <c:v>127.93276491364945</c:v>
                </c:pt>
                <c:pt idx="15">
                  <c:v>128.46408985354003</c:v>
                </c:pt>
                <c:pt idx="16">
                  <c:v>129.17232062688265</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8</c:f>
              <c:strCache>
                <c:ptCount val="17"/>
                <c:pt idx="0">
                  <c:v>7.17</c:v>
                </c:pt>
                <c:pt idx="1">
                  <c:v>7.37</c:v>
                </c:pt>
                <c:pt idx="2">
                  <c:v>7.57</c:v>
                </c:pt>
                <c:pt idx="3">
                  <c:v>7.77</c:v>
                </c:pt>
                <c:pt idx="4">
                  <c:v>7.97</c:v>
                </c:pt>
                <c:pt idx="5">
                  <c:v>8.17</c:v>
                </c:pt>
                <c:pt idx="6">
                  <c:v>8.37</c:v>
                </c:pt>
                <c:pt idx="7">
                  <c:v>8.57</c:v>
                </c:pt>
                <c:pt idx="8">
                  <c:v>8.77</c:v>
                </c:pt>
                <c:pt idx="9">
                  <c:v>8.97</c:v>
                </c:pt>
                <c:pt idx="10">
                  <c:v>9.17</c:v>
                </c:pt>
                <c:pt idx="11">
                  <c:v>9.37</c:v>
                </c:pt>
                <c:pt idx="12">
                  <c:v>9.57</c:v>
                </c:pt>
                <c:pt idx="13">
                  <c:v>9.77</c:v>
                </c:pt>
                <c:pt idx="14">
                  <c:v>9.97</c:v>
                </c:pt>
                <c:pt idx="15">
                  <c:v>10.17</c:v>
                </c:pt>
                <c:pt idx="16">
                  <c:v>10.37</c:v>
                </c:pt>
              </c:strCache>
            </c:strRef>
          </c:cat>
          <c:val>
            <c:numRef>
              <c:f>Sheet1!$E$2:$E$18</c:f>
              <c:numCache>
                <c:formatCode>General</c:formatCode>
                <c:ptCount val="17"/>
                <c:pt idx="0">
                  <c:v>0.26868915935818993</c:v>
                </c:pt>
                <c:pt idx="1">
                  <c:v>0.2885347724013869</c:v>
                </c:pt>
                <c:pt idx="2">
                  <c:v>0.3073317401054455</c:v>
                </c:pt>
                <c:pt idx="3">
                  <c:v>0.32516103894443005</c:v>
                </c:pt>
                <c:pt idx="4">
                  <c:v>0.3420955172645197</c:v>
                </c:pt>
                <c:pt idx="5">
                  <c:v>0.3582008901589012</c:v>
                </c:pt>
                <c:pt idx="6">
                  <c:v>0.37353659170827014</c:v>
                </c:pt>
                <c:pt idx="7">
                  <c:v>0.38815650788777384</c:v>
                </c:pt>
                <c:pt idx="8">
                  <c:v>0.40210960919021926</c:v>
                </c:pt>
                <c:pt idx="9">
                  <c:v>0.415440498617416</c:v>
                </c:pt>
                <c:pt idx="10">
                  <c:v>0.42818988796054763</c:v>
                </c:pt>
                <c:pt idx="11">
                  <c:v>0.4403950130841219</c:v>
                </c:pt>
                <c:pt idx="12">
                  <c:v>0.45208999713670023</c:v>
                </c:pt>
                <c:pt idx="13">
                  <c:v>0.4633061691502785</c:v>
                </c:pt>
                <c:pt idx="14">
                  <c:v>0.47407234429270023</c:v>
                </c:pt>
                <c:pt idx="15">
                  <c:v>0.4844150710519392</c:v>
                </c:pt>
                <c:pt idx="16">
                  <c:v>0.4943588498166076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6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0</c:f>
              <c:strCache>
                <c:ptCount val="9"/>
                <c:pt idx="0">
                  <c:v>3.37</c:v>
                </c:pt>
                <c:pt idx="1">
                  <c:v>3.57</c:v>
                </c:pt>
                <c:pt idx="2">
                  <c:v>3.77</c:v>
                </c:pt>
                <c:pt idx="3">
                  <c:v>3.97</c:v>
                </c:pt>
                <c:pt idx="4">
                  <c:v>4.17</c:v>
                </c:pt>
                <c:pt idx="5">
                  <c:v>4.37</c:v>
                </c:pt>
                <c:pt idx="6">
                  <c:v>4.57</c:v>
                </c:pt>
                <c:pt idx="7">
                  <c:v>4.77</c:v>
                </c:pt>
                <c:pt idx="8">
                  <c:v>4.97</c:v>
                </c:pt>
              </c:strCache>
            </c:strRef>
          </c:cat>
          <c:val>
            <c:numRef>
              <c:f>Sheet1!$B$2:$B$10</c:f>
              <c:numCache>
                <c:formatCode>General</c:formatCode>
                <c:ptCount val="9"/>
                <c:pt idx="0">
                  <c:v>106.26056309135427</c:v>
                </c:pt>
                <c:pt idx="1">
                  <c:v>103.78345874917969</c:v>
                </c:pt>
                <c:pt idx="2">
                  <c:v>101.39320818822645</c:v>
                </c:pt>
                <c:pt idx="3">
                  <c:v>100.0</c:v>
                </c:pt>
                <c:pt idx="4">
                  <c:v>98.64027858132243</c:v>
                </c:pt>
                <c:pt idx="5">
                  <c:v>97.3128033780638</c:v>
                </c:pt>
                <c:pt idx="6">
                  <c:v>96.01639166782567</c:v>
                </c:pt>
                <c:pt idx="7">
                  <c:v>93.35335714855553</c:v>
                </c:pt>
                <c:pt idx="8">
                  <c:v>90.78472896257698</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0</c:f>
              <c:strCache>
                <c:ptCount val="9"/>
                <c:pt idx="0">
                  <c:v>3.37</c:v>
                </c:pt>
                <c:pt idx="1">
                  <c:v>3.57</c:v>
                </c:pt>
                <c:pt idx="2">
                  <c:v>3.77</c:v>
                </c:pt>
                <c:pt idx="3">
                  <c:v>3.97</c:v>
                </c:pt>
                <c:pt idx="4">
                  <c:v>4.17</c:v>
                </c:pt>
                <c:pt idx="5">
                  <c:v>4.37</c:v>
                </c:pt>
                <c:pt idx="6">
                  <c:v>4.57</c:v>
                </c:pt>
                <c:pt idx="7">
                  <c:v>4.77</c:v>
                </c:pt>
                <c:pt idx="8">
                  <c:v>4.97</c:v>
                </c:pt>
              </c:strCache>
            </c:strRef>
          </c:cat>
          <c:val>
            <c:numRef>
              <c:f>Sheet1!$C$2:$C$10</c:f>
              <c:numCache>
                <c:formatCode>General</c:formatCode>
                <c:ptCount val="9"/>
                <c:pt idx="0">
                  <c:v>90.40436487348722</c:v>
                </c:pt>
                <c:pt idx="1">
                  <c:v>93.46129815485872</c:v>
                </c:pt>
                <c:pt idx="2">
                  <c:v>96.34952459857811</c:v>
                </c:pt>
                <c:pt idx="3">
                  <c:v>100.0</c:v>
                </c:pt>
                <c:pt idx="4">
                  <c:v>103.54231739832309</c:v>
                </c:pt>
                <c:pt idx="5">
                  <c:v>106.98049910012716</c:v>
                </c:pt>
                <c:pt idx="6">
                  <c:v>110.31835794366474</c:v>
                </c:pt>
                <c:pt idx="7">
                  <c:v>111.8823681902018</c:v>
                </c:pt>
                <c:pt idx="8">
                  <c:v>113.29840269736049</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0</c:f>
              <c:strCache>
                <c:ptCount val="9"/>
                <c:pt idx="0">
                  <c:v>3.37</c:v>
                </c:pt>
                <c:pt idx="1">
                  <c:v>3.57</c:v>
                </c:pt>
                <c:pt idx="2">
                  <c:v>3.77</c:v>
                </c:pt>
                <c:pt idx="3">
                  <c:v>3.97</c:v>
                </c:pt>
                <c:pt idx="4">
                  <c:v>4.17</c:v>
                </c:pt>
                <c:pt idx="5">
                  <c:v>4.37</c:v>
                </c:pt>
                <c:pt idx="6">
                  <c:v>4.57</c:v>
                </c:pt>
                <c:pt idx="7">
                  <c:v>4.77</c:v>
                </c:pt>
                <c:pt idx="8">
                  <c:v>4.97</c:v>
                </c:pt>
              </c:strCache>
            </c:strRef>
          </c:cat>
          <c:val>
            <c:numRef>
              <c:f>Sheet1!$D$2:$D$10</c:f>
              <c:numCache>
                <c:formatCode>General</c:formatCode>
                <c:ptCount val="9"/>
                <c:pt idx="0">
                  <c:v>72.76947424291053</c:v>
                </c:pt>
                <c:pt idx="1">
                  <c:v>81.97655355407393</c:v>
                </c:pt>
                <c:pt idx="2">
                  <c:v>90.74087444912877</c:v>
                </c:pt>
                <c:pt idx="3">
                  <c:v>100.0</c:v>
                </c:pt>
                <c:pt idx="4">
                  <c:v>109.00339053271864</c:v>
                </c:pt>
                <c:pt idx="5">
                  <c:v>117.76009915247027</c:v>
                </c:pt>
                <c:pt idx="6">
                  <c:v>126.27873369484392</c:v>
                </c:pt>
                <c:pt idx="7">
                  <c:v>132.58403674853528</c:v>
                </c:pt>
                <c:pt idx="8">
                  <c:v>138.4737827267909</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0</c:f>
              <c:strCache>
                <c:ptCount val="9"/>
                <c:pt idx="0">
                  <c:v>3.37</c:v>
                </c:pt>
                <c:pt idx="1">
                  <c:v>3.57</c:v>
                </c:pt>
                <c:pt idx="2">
                  <c:v>3.77</c:v>
                </c:pt>
                <c:pt idx="3">
                  <c:v>3.97</c:v>
                </c:pt>
                <c:pt idx="4">
                  <c:v>4.17</c:v>
                </c:pt>
                <c:pt idx="5">
                  <c:v>4.37</c:v>
                </c:pt>
                <c:pt idx="6">
                  <c:v>4.57</c:v>
                </c:pt>
                <c:pt idx="7">
                  <c:v>4.77</c:v>
                </c:pt>
                <c:pt idx="8">
                  <c:v>4.97</c:v>
                </c:pt>
              </c:strCache>
            </c:strRef>
          </c:cat>
          <c:val>
            <c:numRef>
              <c:f>Sheet1!$E$2:$E$10</c:f>
              <c:numCache>
                <c:formatCode>General</c:formatCode>
                <c:ptCount val="9"/>
                <c:pt idx="0">
                  <c:v>0.38684885815684716</c:v>
                </c:pt>
                <c:pt idx="1">
                  <c:v>0.4211990621816737</c:v>
                </c:pt>
                <c:pt idx="2">
                  <c:v>0.45190468222508623</c:v>
                </c:pt>
                <c:pt idx="3">
                  <c:v>0.4795165370248301</c:v>
                </c:pt>
                <c:pt idx="4">
                  <c:v>0.5044797726591307</c:v>
                </c:pt>
                <c:pt idx="5">
                  <c:v>0.5271580439333122</c:v>
                </c:pt>
                <c:pt idx="6">
                  <c:v>0.5478513461681784</c:v>
                </c:pt>
                <c:pt idx="7">
                  <c:v>0.5668093610038942</c:v>
                </c:pt>
                <c:pt idx="8">
                  <c:v>0.584241579876977</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7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Gillette Razor (13.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Gillette Dispo (17.5%)</c:v>
                </c:pt>
                <c:pt idx="1">
                  <c:v>Bic Dispo (16.9%)</c:v>
                </c:pt>
                <c:pt idx="2">
                  <c:v>Schick Dispo (8.1%)</c:v>
                </c:pt>
                <c:pt idx="3">
                  <c:v>Harrys Razor (6.2%)</c:v>
                </c:pt>
                <c:pt idx="4">
                  <c:v>Equate Dispo (19.1%)</c:v>
                </c:pt>
                <c:pt idx="5">
                  <c:v>Dollar Shave Club Razor (2.0%)</c:v>
                </c:pt>
                <c:pt idx="6">
                  <c:v>Schick Razor (2.1%)</c:v>
                </c:pt>
                <c:pt idx="7">
                  <c:v>Harrys Blade (5.0%)</c:v>
                </c:pt>
                <c:pt idx="8">
                  <c:v>Equate Razor (1.1%)</c:v>
                </c:pt>
                <c:pt idx="9">
                  <c:v>Dollar Shave Club Blade (0.9%)</c:v>
                </c:pt>
              </c:strCache>
            </c:strRef>
          </c:cat>
          <c:val>
            <c:numRef>
              <c:f>Sheet1!$B$2:$B$11</c:f>
              <c:numCache>
                <c:formatCode>General</c:formatCode>
                <c:ptCount val="10"/>
                <c:pt idx="0">
                  <c:v>0.25431179043765006</c:v>
                </c:pt>
                <c:pt idx="1">
                  <c:v>0.1355641593735007</c:v>
                </c:pt>
                <c:pt idx="2">
                  <c:v>0.0866161296319435</c:v>
                </c:pt>
                <c:pt idx="3">
                  <c:v>0.08339529491791497</c:v>
                </c:pt>
                <c:pt idx="4">
                  <c:v>0.07288506592942715</c:v>
                </c:pt>
                <c:pt idx="5">
                  <c:v>0.05824273640836973</c:v>
                </c:pt>
                <c:pt idx="6">
                  <c:v>0.05719076067254604</c:v>
                </c:pt>
                <c:pt idx="7">
                  <c:v>0.05003992119708203</c:v>
                </c:pt>
                <c:pt idx="8">
                  <c:v>0.040667551686829326</c:v>
                </c:pt>
                <c:pt idx="9">
                  <c:v>0.026160414510399358</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4</c:f>
              <c:strCache>
                <c:ptCount val="13"/>
                <c:pt idx="0">
                  <c:v>4.97</c:v>
                </c:pt>
                <c:pt idx="1">
                  <c:v>5.17</c:v>
                </c:pt>
                <c:pt idx="2">
                  <c:v>5.37</c:v>
                </c:pt>
                <c:pt idx="3">
                  <c:v>5.57</c:v>
                </c:pt>
                <c:pt idx="4">
                  <c:v>5.77</c:v>
                </c:pt>
                <c:pt idx="5">
                  <c:v>5.97</c:v>
                </c:pt>
                <c:pt idx="6">
                  <c:v>6.17</c:v>
                </c:pt>
                <c:pt idx="7">
                  <c:v>6.37</c:v>
                </c:pt>
                <c:pt idx="8">
                  <c:v>6.57</c:v>
                </c:pt>
                <c:pt idx="9">
                  <c:v>6.77</c:v>
                </c:pt>
                <c:pt idx="10">
                  <c:v>6.97</c:v>
                </c:pt>
                <c:pt idx="11">
                  <c:v>7.17</c:v>
                </c:pt>
                <c:pt idx="12">
                  <c:v>7.37</c:v>
                </c:pt>
              </c:strCache>
            </c:strRef>
          </c:cat>
          <c:val>
            <c:numRef>
              <c:f>Sheet1!$B$2:$B$14</c:f>
              <c:numCache>
                <c:formatCode>General</c:formatCode>
                <c:ptCount val="13"/>
                <c:pt idx="0">
                  <c:v>113.156707068393</c:v>
                </c:pt>
                <c:pt idx="1">
                  <c:v>111.06524444806918</c:v>
                </c:pt>
                <c:pt idx="2">
                  <c:v>109.04410030034595</c:v>
                </c:pt>
                <c:pt idx="3">
                  <c:v>106.32514214748177</c:v>
                </c:pt>
                <c:pt idx="4">
                  <c:v>103.0466459105561</c:v>
                </c:pt>
                <c:pt idx="5">
                  <c:v>100.0</c:v>
                </c:pt>
                <c:pt idx="6">
                  <c:v>97.16310689158043</c:v>
                </c:pt>
                <c:pt idx="7">
                  <c:v>94.51609035228505</c:v>
                </c:pt>
                <c:pt idx="8">
                  <c:v>88.70948525112367</c:v>
                </c:pt>
                <c:pt idx="9">
                  <c:v>80.65545120833355</c:v>
                </c:pt>
                <c:pt idx="10">
                  <c:v>73.72383793169689</c:v>
                </c:pt>
                <c:pt idx="11">
                  <c:v>69.16958533820498</c:v>
                </c:pt>
                <c:pt idx="12">
                  <c:v>66.44141135243734</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4</c:f>
              <c:strCache>
                <c:ptCount val="13"/>
                <c:pt idx="0">
                  <c:v>4.97</c:v>
                </c:pt>
                <c:pt idx="1">
                  <c:v>5.17</c:v>
                </c:pt>
                <c:pt idx="2">
                  <c:v>5.37</c:v>
                </c:pt>
                <c:pt idx="3">
                  <c:v>5.57</c:v>
                </c:pt>
                <c:pt idx="4">
                  <c:v>5.77</c:v>
                </c:pt>
                <c:pt idx="5">
                  <c:v>5.97</c:v>
                </c:pt>
                <c:pt idx="6">
                  <c:v>6.17</c:v>
                </c:pt>
                <c:pt idx="7">
                  <c:v>6.37</c:v>
                </c:pt>
                <c:pt idx="8">
                  <c:v>6.57</c:v>
                </c:pt>
                <c:pt idx="9">
                  <c:v>6.77</c:v>
                </c:pt>
                <c:pt idx="10">
                  <c:v>6.97</c:v>
                </c:pt>
                <c:pt idx="11">
                  <c:v>7.17</c:v>
                </c:pt>
                <c:pt idx="12">
                  <c:v>7.37</c:v>
                </c:pt>
              </c:strCache>
            </c:strRef>
          </c:cat>
          <c:val>
            <c:numRef>
              <c:f>Sheet1!$C$2:$C$14</c:f>
              <c:numCache>
                <c:formatCode>General</c:formatCode>
                <c:ptCount val="13"/>
                <c:pt idx="0">
                  <c:v>94.42672954057109</c:v>
                </c:pt>
                <c:pt idx="1">
                  <c:v>96.35703550854453</c:v>
                </c:pt>
                <c:pt idx="2">
                  <c:v>98.21018070291522</c:v>
                </c:pt>
                <c:pt idx="3">
                  <c:v>99.28061151458671</c:v>
                </c:pt>
                <c:pt idx="4">
                  <c:v>99.63336484572523</c:v>
                </c:pt>
                <c:pt idx="5">
                  <c:v>100.0</c:v>
                </c:pt>
                <c:pt idx="6">
                  <c:v>100.38079159314499</c:v>
                </c:pt>
                <c:pt idx="7">
                  <c:v>100.77544732807458</c:v>
                </c:pt>
                <c:pt idx="8">
                  <c:v>97.53212586501036</c:v>
                </c:pt>
                <c:pt idx="9">
                  <c:v>91.36806949141882</c:v>
                </c:pt>
                <c:pt idx="10">
                  <c:v>85.97627632749048</c:v>
                </c:pt>
                <c:pt idx="11">
                  <c:v>82.96789138980566</c:v>
                </c:pt>
                <c:pt idx="12">
                  <c:v>81.90172488819249</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4</c:f>
              <c:strCache>
                <c:ptCount val="13"/>
                <c:pt idx="0">
                  <c:v>4.97</c:v>
                </c:pt>
                <c:pt idx="1">
                  <c:v>5.17</c:v>
                </c:pt>
                <c:pt idx="2">
                  <c:v>5.37</c:v>
                </c:pt>
                <c:pt idx="3">
                  <c:v>5.57</c:v>
                </c:pt>
                <c:pt idx="4">
                  <c:v>5.77</c:v>
                </c:pt>
                <c:pt idx="5">
                  <c:v>5.97</c:v>
                </c:pt>
                <c:pt idx="6">
                  <c:v>6.17</c:v>
                </c:pt>
                <c:pt idx="7">
                  <c:v>6.37</c:v>
                </c:pt>
                <c:pt idx="8">
                  <c:v>6.57</c:v>
                </c:pt>
                <c:pt idx="9">
                  <c:v>6.77</c:v>
                </c:pt>
                <c:pt idx="10">
                  <c:v>6.97</c:v>
                </c:pt>
                <c:pt idx="11">
                  <c:v>7.17</c:v>
                </c:pt>
                <c:pt idx="12">
                  <c:v>7.37</c:v>
                </c:pt>
              </c:strCache>
            </c:strRef>
          </c:cat>
          <c:val>
            <c:numRef>
              <c:f>Sheet1!$D$2:$D$14</c:f>
              <c:numCache>
                <c:formatCode>General</c:formatCode>
                <c:ptCount val="13"/>
                <c:pt idx="0">
                  <c:v>76.40579196192294</c:v>
                </c:pt>
                <c:pt idx="1">
                  <c:v>82.207922769217</c:v>
                </c:pt>
                <c:pt idx="2">
                  <c:v>87.79496407065375</c:v>
                </c:pt>
                <c:pt idx="3">
                  <c:v>92.51227546381719</c:v>
                </c:pt>
                <c:pt idx="4">
                  <c:v>96.35316987368907</c:v>
                </c:pt>
                <c:pt idx="5">
                  <c:v>100.0</c:v>
                </c:pt>
                <c:pt idx="6">
                  <c:v>103.4744130180393</c:v>
                </c:pt>
                <c:pt idx="7">
                  <c:v>106.79482451740292</c:v>
                </c:pt>
                <c:pt idx="8">
                  <c:v>105.99606867723321</c:v>
                </c:pt>
                <c:pt idx="9">
                  <c:v>101.61160461382237</c:v>
                </c:pt>
                <c:pt idx="10">
                  <c:v>97.6677876925657</c:v>
                </c:pt>
                <c:pt idx="11">
                  <c:v>96.12737466847601</c:v>
                </c:pt>
                <c:pt idx="12">
                  <c:v>96.6516907428432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4</c:f>
              <c:strCache>
                <c:ptCount val="13"/>
                <c:pt idx="0">
                  <c:v>4.97</c:v>
                </c:pt>
                <c:pt idx="1">
                  <c:v>5.17</c:v>
                </c:pt>
                <c:pt idx="2">
                  <c:v>5.37</c:v>
                </c:pt>
                <c:pt idx="3">
                  <c:v>5.57</c:v>
                </c:pt>
                <c:pt idx="4">
                  <c:v>5.77</c:v>
                </c:pt>
                <c:pt idx="5">
                  <c:v>5.97</c:v>
                </c:pt>
                <c:pt idx="6">
                  <c:v>6.17</c:v>
                </c:pt>
                <c:pt idx="7">
                  <c:v>6.37</c:v>
                </c:pt>
                <c:pt idx="8">
                  <c:v>6.57</c:v>
                </c:pt>
                <c:pt idx="9">
                  <c:v>6.77</c:v>
                </c:pt>
                <c:pt idx="10">
                  <c:v>6.97</c:v>
                </c:pt>
                <c:pt idx="11">
                  <c:v>7.17</c:v>
                </c:pt>
                <c:pt idx="12">
                  <c:v>7.37</c:v>
                </c:pt>
              </c:strCache>
            </c:strRef>
          </c:cat>
          <c:val>
            <c:numRef>
              <c:f>Sheet1!$E$2:$E$14</c:f>
              <c:numCache>
                <c:formatCode>General</c:formatCode>
                <c:ptCount val="13"/>
                <c:pt idx="0">
                  <c:v>0.41831336010429415</c:v>
                </c:pt>
                <c:pt idx="1">
                  <c:v>0.4408157446263719</c:v>
                </c:pt>
                <c:pt idx="2">
                  <c:v>0.4616419738767862</c:v>
                </c:pt>
                <c:pt idx="3">
                  <c:v>0.4809726031810307</c:v>
                </c:pt>
                <c:pt idx="4">
                  <c:v>0.49896315419728626</c:v>
                </c:pt>
                <c:pt idx="5">
                  <c:v>0.5157483081605263</c:v>
                </c:pt>
                <c:pt idx="6">
                  <c:v>0.5314452835848203</c:v>
                </c:pt>
                <c:pt idx="7">
                  <c:v>0.5461565776637899</c:v>
                </c:pt>
                <c:pt idx="8">
                  <c:v>0.5599722069586517</c:v>
                </c:pt>
                <c:pt idx="9">
                  <c:v>0.5729715509185144</c:v>
                </c:pt>
                <c:pt idx="10">
                  <c:v>0.5852248780083704</c:v>
                </c:pt>
                <c:pt idx="11">
                  <c:v>0.5967946164181788</c:v>
                </c:pt>
                <c:pt idx="12">
                  <c:v>0.60773641787223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14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8</c:f>
              <c:strCache>
                <c:ptCount val="17"/>
                <c:pt idx="0">
                  <c:v>6.77</c:v>
                </c:pt>
                <c:pt idx="1">
                  <c:v>6.97</c:v>
                </c:pt>
                <c:pt idx="2">
                  <c:v>7.17</c:v>
                </c:pt>
                <c:pt idx="3">
                  <c:v>7.37</c:v>
                </c:pt>
                <c:pt idx="4">
                  <c:v>7.57</c:v>
                </c:pt>
                <c:pt idx="5">
                  <c:v>7.77</c:v>
                </c:pt>
                <c:pt idx="6">
                  <c:v>7.97</c:v>
                </c:pt>
                <c:pt idx="7">
                  <c:v>8.17</c:v>
                </c:pt>
                <c:pt idx="8">
                  <c:v>8.37</c:v>
                </c:pt>
                <c:pt idx="9">
                  <c:v>8.57</c:v>
                </c:pt>
                <c:pt idx="10">
                  <c:v>8.77</c:v>
                </c:pt>
                <c:pt idx="11">
                  <c:v>8.97</c:v>
                </c:pt>
                <c:pt idx="12">
                  <c:v>9.17</c:v>
                </c:pt>
                <c:pt idx="13">
                  <c:v>9.37</c:v>
                </c:pt>
                <c:pt idx="14">
                  <c:v>9.57</c:v>
                </c:pt>
                <c:pt idx="15">
                  <c:v>9.77</c:v>
                </c:pt>
                <c:pt idx="16">
                  <c:v>9.97</c:v>
                </c:pt>
              </c:strCache>
            </c:strRef>
          </c:cat>
          <c:val>
            <c:numRef>
              <c:f>Sheet1!$B$2:$B$18</c:f>
              <c:numCache>
                <c:formatCode>General</c:formatCode>
                <c:ptCount val="17"/>
                <c:pt idx="0">
                  <c:v>132.48040846109984</c:v>
                </c:pt>
                <c:pt idx="1">
                  <c:v>124.83048277993456</c:v>
                </c:pt>
                <c:pt idx="2">
                  <c:v>118.66800094224831</c:v>
                </c:pt>
                <c:pt idx="3">
                  <c:v>113.44659530650661</c:v>
                </c:pt>
                <c:pt idx="4">
                  <c:v>108.61938431247069</c:v>
                </c:pt>
                <c:pt idx="5">
                  <c:v>104.1484548899208</c:v>
                </c:pt>
                <c:pt idx="6">
                  <c:v>100.0</c:v>
                </c:pt>
                <c:pt idx="7">
                  <c:v>96.2247872599118</c:v>
                </c:pt>
                <c:pt idx="8">
                  <c:v>92.86127796305826</c:v>
                </c:pt>
                <c:pt idx="9">
                  <c:v>89.80509608584408</c:v>
                </c:pt>
                <c:pt idx="10">
                  <c:v>87.0141072360784</c:v>
                </c:pt>
                <c:pt idx="11">
                  <c:v>84.45304986491576</c:v>
                </c:pt>
                <c:pt idx="12">
                  <c:v>83.33030922582874</c:v>
                </c:pt>
                <c:pt idx="13">
                  <c:v>82.24055505632496</c:v>
                </c:pt>
                <c:pt idx="14">
                  <c:v>81.18228974695195</c:v>
                </c:pt>
                <c:pt idx="15">
                  <c:v>80.1540984811163</c:v>
                </c:pt>
                <c:pt idx="16">
                  <c:v>79.15464428213424</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8</c:f>
              <c:strCache>
                <c:ptCount val="17"/>
                <c:pt idx="0">
                  <c:v>6.77</c:v>
                </c:pt>
                <c:pt idx="1">
                  <c:v>6.97</c:v>
                </c:pt>
                <c:pt idx="2">
                  <c:v>7.17</c:v>
                </c:pt>
                <c:pt idx="3">
                  <c:v>7.37</c:v>
                </c:pt>
                <c:pt idx="4">
                  <c:v>7.57</c:v>
                </c:pt>
                <c:pt idx="5">
                  <c:v>7.77</c:v>
                </c:pt>
                <c:pt idx="6">
                  <c:v>7.97</c:v>
                </c:pt>
                <c:pt idx="7">
                  <c:v>8.17</c:v>
                </c:pt>
                <c:pt idx="8">
                  <c:v>8.37</c:v>
                </c:pt>
                <c:pt idx="9">
                  <c:v>8.57</c:v>
                </c:pt>
                <c:pt idx="10">
                  <c:v>8.77</c:v>
                </c:pt>
                <c:pt idx="11">
                  <c:v>8.97</c:v>
                </c:pt>
                <c:pt idx="12">
                  <c:v>9.17</c:v>
                </c:pt>
                <c:pt idx="13">
                  <c:v>9.37</c:v>
                </c:pt>
                <c:pt idx="14">
                  <c:v>9.57</c:v>
                </c:pt>
                <c:pt idx="15">
                  <c:v>9.77</c:v>
                </c:pt>
                <c:pt idx="16">
                  <c:v>9.97</c:v>
                </c:pt>
              </c:strCache>
            </c:strRef>
          </c:cat>
          <c:val>
            <c:numRef>
              <c:f>Sheet1!$C$2:$C$18</c:f>
              <c:numCache>
                <c:formatCode>General</c:formatCode>
                <c:ptCount val="17"/>
                <c:pt idx="0">
                  <c:v>112.59352133799487</c:v>
                </c:pt>
                <c:pt idx="1">
                  <c:v>109.21727871808051</c:v>
                </c:pt>
                <c:pt idx="2">
                  <c:v>106.79492716765395</c:v>
                </c:pt>
                <c:pt idx="3">
                  <c:v>104.93341445417495</c:v>
                </c:pt>
                <c:pt idx="4">
                  <c:v>103.18531399221169</c:v>
                </c:pt>
                <c:pt idx="5">
                  <c:v>101.54320852445619</c:v>
                </c:pt>
                <c:pt idx="6">
                  <c:v>100.0</c:v>
                </c:pt>
                <c:pt idx="7">
                  <c:v>98.63238803236845</c:v>
                </c:pt>
                <c:pt idx="8">
                  <c:v>97.50854200646538</c:v>
                </c:pt>
                <c:pt idx="9">
                  <c:v>96.54661294007407</c:v>
                </c:pt>
                <c:pt idx="10">
                  <c:v>95.72333614252142</c:v>
                </c:pt>
                <c:pt idx="11">
                  <c:v>95.01896087406078</c:v>
                </c:pt>
                <c:pt idx="12">
                  <c:v>95.83867437485539</c:v>
                </c:pt>
                <c:pt idx="13">
                  <c:v>96.6408749649855</c:v>
                </c:pt>
                <c:pt idx="14">
                  <c:v>97.42624851614616</c:v>
                </c:pt>
                <c:pt idx="15">
                  <c:v>98.1954319154016</c:v>
                </c:pt>
                <c:pt idx="16">
                  <c:v>98.94901728166377</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8</c:f>
              <c:strCache>
                <c:ptCount val="17"/>
                <c:pt idx="0">
                  <c:v>6.77</c:v>
                </c:pt>
                <c:pt idx="1">
                  <c:v>6.97</c:v>
                </c:pt>
                <c:pt idx="2">
                  <c:v>7.17</c:v>
                </c:pt>
                <c:pt idx="3">
                  <c:v>7.37</c:v>
                </c:pt>
                <c:pt idx="4">
                  <c:v>7.57</c:v>
                </c:pt>
                <c:pt idx="5">
                  <c:v>7.77</c:v>
                </c:pt>
                <c:pt idx="6">
                  <c:v>7.97</c:v>
                </c:pt>
                <c:pt idx="7">
                  <c:v>8.17</c:v>
                </c:pt>
                <c:pt idx="8">
                  <c:v>8.37</c:v>
                </c:pt>
                <c:pt idx="9">
                  <c:v>8.57</c:v>
                </c:pt>
                <c:pt idx="10">
                  <c:v>8.77</c:v>
                </c:pt>
                <c:pt idx="11">
                  <c:v>8.97</c:v>
                </c:pt>
                <c:pt idx="12">
                  <c:v>9.17</c:v>
                </c:pt>
                <c:pt idx="13">
                  <c:v>9.37</c:v>
                </c:pt>
                <c:pt idx="14">
                  <c:v>9.57</c:v>
                </c:pt>
                <c:pt idx="15">
                  <c:v>9.77</c:v>
                </c:pt>
                <c:pt idx="16">
                  <c:v>9.97</c:v>
                </c:pt>
              </c:strCache>
            </c:strRef>
          </c:cat>
          <c:val>
            <c:numRef>
              <c:f>Sheet1!$D$2:$D$18</c:f>
              <c:numCache>
                <c:formatCode>General</c:formatCode>
                <c:ptCount val="17"/>
                <c:pt idx="0">
                  <c:v>78.75861492548462</c:v>
                </c:pt>
                <c:pt idx="1">
                  <c:v>82.6474064245105</c:v>
                </c:pt>
                <c:pt idx="2">
                  <c:v>86.58749475039347</c:v>
                </c:pt>
                <c:pt idx="3">
                  <c:v>90.44487512323813</c:v>
                </c:pt>
                <c:pt idx="4">
                  <c:v>93.93739420846823</c:v>
                </c:pt>
                <c:pt idx="5">
                  <c:v>97.10962570800376</c:v>
                </c:pt>
                <c:pt idx="6">
                  <c:v>100.0</c:v>
                </c:pt>
                <c:pt idx="7">
                  <c:v>102.72809872338675</c:v>
                </c:pt>
                <c:pt idx="8">
                  <c:v>105.41325818950207</c:v>
                </c:pt>
                <c:pt idx="9">
                  <c:v>108.01341415495096</c:v>
                </c:pt>
                <c:pt idx="10">
                  <c:v>110.53735346758975</c:v>
                </c:pt>
                <c:pt idx="11">
                  <c:v>112.99166776949063</c:v>
                </c:pt>
                <c:pt idx="12">
                  <c:v>117.12137100990687</c:v>
                </c:pt>
                <c:pt idx="13">
                  <c:v>121.14790645539739</c:v>
                </c:pt>
                <c:pt idx="14">
                  <c:v>125.07565490380664</c:v>
                </c:pt>
                <c:pt idx="15">
                  <c:v>128.90872544432045</c:v>
                </c:pt>
                <c:pt idx="16">
                  <c:v>132.65097513468805</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8</c:f>
              <c:strCache>
                <c:ptCount val="17"/>
                <c:pt idx="0">
                  <c:v>6.77</c:v>
                </c:pt>
                <c:pt idx="1">
                  <c:v>6.97</c:v>
                </c:pt>
                <c:pt idx="2">
                  <c:v>7.17</c:v>
                </c:pt>
                <c:pt idx="3">
                  <c:v>7.37</c:v>
                </c:pt>
                <c:pt idx="4">
                  <c:v>7.57</c:v>
                </c:pt>
                <c:pt idx="5">
                  <c:v>7.77</c:v>
                </c:pt>
                <c:pt idx="6">
                  <c:v>7.97</c:v>
                </c:pt>
                <c:pt idx="7">
                  <c:v>8.17</c:v>
                </c:pt>
                <c:pt idx="8">
                  <c:v>8.37</c:v>
                </c:pt>
                <c:pt idx="9">
                  <c:v>8.57</c:v>
                </c:pt>
                <c:pt idx="10">
                  <c:v>8.77</c:v>
                </c:pt>
                <c:pt idx="11">
                  <c:v>8.97</c:v>
                </c:pt>
                <c:pt idx="12">
                  <c:v>9.17</c:v>
                </c:pt>
                <c:pt idx="13">
                  <c:v>9.37</c:v>
                </c:pt>
                <c:pt idx="14">
                  <c:v>9.57</c:v>
                </c:pt>
                <c:pt idx="15">
                  <c:v>9.77</c:v>
                </c:pt>
                <c:pt idx="16">
                  <c:v>9.97</c:v>
                </c:pt>
              </c:strCache>
            </c:strRef>
          </c:cat>
          <c:val>
            <c:numRef>
              <c:f>Sheet1!$E$2:$E$18</c:f>
              <c:numCache>
                <c:formatCode>General</c:formatCode>
                <c:ptCount val="17"/>
                <c:pt idx="0">
                  <c:v>0.2598604246537618</c:v>
                </c:pt>
                <c:pt idx="1">
                  <c:v>0.2810982890826353</c:v>
                </c:pt>
                <c:pt idx="2">
                  <c:v>0.3011513354122688</c:v>
                </c:pt>
                <c:pt idx="3">
                  <c:v>0.32011602101844866</c:v>
                </c:pt>
                <c:pt idx="4">
                  <c:v>0.33807860963090713</c:v>
                </c:pt>
                <c:pt idx="5">
                  <c:v>0.3551164832568812</c:v>
                </c:pt>
                <c:pt idx="6">
                  <c:v>0.3712992565754037</c:v>
                </c:pt>
                <c:pt idx="7">
                  <c:v>0.3866897276506692</c:v>
                </c:pt>
                <c:pt idx="8">
                  <c:v>0.4013446923424095</c:v>
                </c:pt>
                <c:pt idx="9">
                  <c:v>0.4153156446798095</c:v>
                </c:pt>
                <c:pt idx="10">
                  <c:v>0.4286493814031889</c:v>
                </c:pt>
                <c:pt idx="11">
                  <c:v>0.44138852563054254</c:v>
                </c:pt>
                <c:pt idx="12">
                  <c:v>0.45357198199628873</c:v>
                </c:pt>
                <c:pt idx="13">
                  <c:v>0.4652353335011705</c:v>
                </c:pt>
                <c:pt idx="14">
                  <c:v>0.47641118860041454</c:v>
                </c:pt>
                <c:pt idx="15">
                  <c:v>0.487129485660795</c:v>
                </c:pt>
                <c:pt idx="16">
                  <c:v>0.49741776077291544</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6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8</c:f>
              <c:strCache>
                <c:ptCount val="17"/>
                <c:pt idx="0">
                  <c:v>6.77</c:v>
                </c:pt>
                <c:pt idx="1">
                  <c:v>6.97</c:v>
                </c:pt>
                <c:pt idx="2">
                  <c:v>7.17</c:v>
                </c:pt>
                <c:pt idx="3">
                  <c:v>7.37</c:v>
                </c:pt>
                <c:pt idx="4">
                  <c:v>7.57</c:v>
                </c:pt>
                <c:pt idx="5">
                  <c:v>7.77</c:v>
                </c:pt>
                <c:pt idx="6">
                  <c:v>7.97</c:v>
                </c:pt>
                <c:pt idx="7">
                  <c:v>8.17</c:v>
                </c:pt>
                <c:pt idx="8">
                  <c:v>8.37</c:v>
                </c:pt>
                <c:pt idx="9">
                  <c:v>8.57</c:v>
                </c:pt>
                <c:pt idx="10">
                  <c:v>8.77</c:v>
                </c:pt>
                <c:pt idx="11">
                  <c:v>8.97</c:v>
                </c:pt>
                <c:pt idx="12">
                  <c:v>9.17</c:v>
                </c:pt>
                <c:pt idx="13">
                  <c:v>9.37</c:v>
                </c:pt>
                <c:pt idx="14">
                  <c:v>9.57</c:v>
                </c:pt>
                <c:pt idx="15">
                  <c:v>9.77</c:v>
                </c:pt>
                <c:pt idx="16">
                  <c:v>9.97</c:v>
                </c:pt>
              </c:strCache>
            </c:strRef>
          </c:cat>
          <c:val>
            <c:numRef>
              <c:f>Sheet1!$B$2:$B$18</c:f>
              <c:numCache>
                <c:formatCode>General</c:formatCode>
                <c:ptCount val="17"/>
                <c:pt idx="0">
                  <c:v>119.3748009453262</c:v>
                </c:pt>
                <c:pt idx="1">
                  <c:v>114.82349383763932</c:v>
                </c:pt>
                <c:pt idx="2">
                  <c:v>111.15708900290264</c:v>
                </c:pt>
                <c:pt idx="3">
                  <c:v>108.10856901998163</c:v>
                </c:pt>
                <c:pt idx="4">
                  <c:v>105.24320977313705</c:v>
                </c:pt>
                <c:pt idx="5">
                  <c:v>102.54512391390102</c:v>
                </c:pt>
                <c:pt idx="6">
                  <c:v>100.0</c:v>
                </c:pt>
                <c:pt idx="7">
                  <c:v>97.45113557517347</c:v>
                </c:pt>
                <c:pt idx="8">
                  <c:v>94.94253525428543</c:v>
                </c:pt>
                <c:pt idx="9">
                  <c:v>92.61522872457344</c:v>
                </c:pt>
                <c:pt idx="10">
                  <c:v>90.44822631827337</c:v>
                </c:pt>
                <c:pt idx="11">
                  <c:v>88.4233119534801</c:v>
                </c:pt>
                <c:pt idx="12">
                  <c:v>87.56490557340072</c:v>
                </c:pt>
                <c:pt idx="13">
                  <c:v>86.72533465197793</c:v>
                </c:pt>
                <c:pt idx="14">
                  <c:v>85.90392798943049</c:v>
                </c:pt>
                <c:pt idx="15">
                  <c:v>85.1000472965988</c:v>
                </c:pt>
                <c:pt idx="16">
                  <c:v>84.313085177383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8</c:f>
              <c:strCache>
                <c:ptCount val="17"/>
                <c:pt idx="0">
                  <c:v>6.77</c:v>
                </c:pt>
                <c:pt idx="1">
                  <c:v>6.97</c:v>
                </c:pt>
                <c:pt idx="2">
                  <c:v>7.17</c:v>
                </c:pt>
                <c:pt idx="3">
                  <c:v>7.37</c:v>
                </c:pt>
                <c:pt idx="4">
                  <c:v>7.57</c:v>
                </c:pt>
                <c:pt idx="5">
                  <c:v>7.77</c:v>
                </c:pt>
                <c:pt idx="6">
                  <c:v>7.97</c:v>
                </c:pt>
                <c:pt idx="7">
                  <c:v>8.17</c:v>
                </c:pt>
                <c:pt idx="8">
                  <c:v>8.37</c:v>
                </c:pt>
                <c:pt idx="9">
                  <c:v>8.57</c:v>
                </c:pt>
                <c:pt idx="10">
                  <c:v>8.77</c:v>
                </c:pt>
                <c:pt idx="11">
                  <c:v>8.97</c:v>
                </c:pt>
                <c:pt idx="12">
                  <c:v>9.17</c:v>
                </c:pt>
                <c:pt idx="13">
                  <c:v>9.37</c:v>
                </c:pt>
                <c:pt idx="14">
                  <c:v>9.57</c:v>
                </c:pt>
                <c:pt idx="15">
                  <c:v>9.77</c:v>
                </c:pt>
                <c:pt idx="16">
                  <c:v>9.97</c:v>
                </c:pt>
              </c:strCache>
            </c:strRef>
          </c:cat>
          <c:val>
            <c:numRef>
              <c:f>Sheet1!$C$2:$C$18</c:f>
              <c:numCache>
                <c:formatCode>General</c:formatCode>
                <c:ptCount val="17"/>
                <c:pt idx="0">
                  <c:v>101.55773967193812</c:v>
                </c:pt>
                <c:pt idx="1">
                  <c:v>100.5470184864504</c:v>
                </c:pt>
                <c:pt idx="2">
                  <c:v>100.10329318453192</c:v>
                </c:pt>
                <c:pt idx="3">
                  <c:v>100.04618892745142</c:v>
                </c:pt>
                <c:pt idx="4">
                  <c:v>100.01113695953143</c:v>
                </c:pt>
                <c:pt idx="5">
                  <c:v>99.99634150231003</c:v>
                </c:pt>
                <c:pt idx="6">
                  <c:v>100.0</c:v>
                </c:pt>
                <c:pt idx="7">
                  <c:v>99.8743595161253</c:v>
                </c:pt>
                <c:pt idx="8">
                  <c:v>99.66512521881988</c:v>
                </c:pt>
                <c:pt idx="9">
                  <c:v>99.52540850117929</c:v>
                </c:pt>
                <c:pt idx="10">
                  <c:v>99.44570285616246</c:v>
                </c:pt>
                <c:pt idx="11">
                  <c:v>99.41753040784025</c:v>
                </c:pt>
                <c:pt idx="12">
                  <c:v>100.62463375599557</c:v>
                </c:pt>
                <c:pt idx="13">
                  <c:v>101.81066928231375</c:v>
                </c:pt>
                <c:pt idx="14">
                  <c:v>102.97626391166688</c:v>
                </c:pt>
                <c:pt idx="15">
                  <c:v>104.12201659615421</c:v>
                </c:pt>
                <c:pt idx="16">
                  <c:v>105.24849998787933</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8</c:f>
              <c:strCache>
                <c:ptCount val="17"/>
                <c:pt idx="0">
                  <c:v>6.77</c:v>
                </c:pt>
                <c:pt idx="1">
                  <c:v>6.97</c:v>
                </c:pt>
                <c:pt idx="2">
                  <c:v>7.17</c:v>
                </c:pt>
                <c:pt idx="3">
                  <c:v>7.37</c:v>
                </c:pt>
                <c:pt idx="4">
                  <c:v>7.57</c:v>
                </c:pt>
                <c:pt idx="5">
                  <c:v>7.77</c:v>
                </c:pt>
                <c:pt idx="6">
                  <c:v>7.97</c:v>
                </c:pt>
                <c:pt idx="7">
                  <c:v>8.17</c:v>
                </c:pt>
                <c:pt idx="8">
                  <c:v>8.37</c:v>
                </c:pt>
                <c:pt idx="9">
                  <c:v>8.57</c:v>
                </c:pt>
                <c:pt idx="10">
                  <c:v>8.77</c:v>
                </c:pt>
                <c:pt idx="11">
                  <c:v>8.97</c:v>
                </c:pt>
                <c:pt idx="12">
                  <c:v>9.17</c:v>
                </c:pt>
                <c:pt idx="13">
                  <c:v>9.37</c:v>
                </c:pt>
                <c:pt idx="14">
                  <c:v>9.57</c:v>
                </c:pt>
                <c:pt idx="15">
                  <c:v>9.77</c:v>
                </c:pt>
                <c:pt idx="16">
                  <c:v>9.97</c:v>
                </c:pt>
              </c:strCache>
            </c:strRef>
          </c:cat>
          <c:val>
            <c:numRef>
              <c:f>Sheet1!$D$2:$D$18</c:f>
              <c:numCache>
                <c:formatCode>General</c:formatCode>
                <c:ptCount val="17"/>
                <c:pt idx="0">
                  <c:v>72.7573250113312</c:v>
                </c:pt>
                <c:pt idx="1">
                  <c:v>77.45671976245185</c:v>
                </c:pt>
                <c:pt idx="2">
                  <c:v>82.2181902266634</c:v>
                </c:pt>
                <c:pt idx="3">
                  <c:v>86.99963910077759</c:v>
                </c:pt>
                <c:pt idx="4">
                  <c:v>91.54357701992683</c:v>
                </c:pt>
                <c:pt idx="5">
                  <c:v>95.87091404667461</c:v>
                </c:pt>
                <c:pt idx="6">
                  <c:v>100.0</c:v>
                </c:pt>
                <c:pt idx="7">
                  <c:v>103.79380020712917</c:v>
                </c:pt>
                <c:pt idx="8">
                  <c:v>107.3013170554691</c:v>
                </c:pt>
                <c:pt idx="9">
                  <c:v>110.69897907221436</c:v>
                </c:pt>
                <c:pt idx="10">
                  <c:v>113.99573092993629</c:v>
                </c:pt>
                <c:pt idx="11">
                  <c:v>117.19872898980104</c:v>
                </c:pt>
                <c:pt idx="12">
                  <c:v>121.76018670396469</c:v>
                </c:pt>
                <c:pt idx="13">
                  <c:v>126.23732152432352</c:v>
                </c:pt>
                <c:pt idx="14">
                  <c:v>130.632790518433</c:v>
                </c:pt>
                <c:pt idx="15">
                  <c:v>134.94912820080037</c:v>
                </c:pt>
                <c:pt idx="16">
                  <c:v>139.1887539122178</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8</c:f>
              <c:strCache>
                <c:ptCount val="17"/>
                <c:pt idx="0">
                  <c:v>6.77</c:v>
                </c:pt>
                <c:pt idx="1">
                  <c:v>6.97</c:v>
                </c:pt>
                <c:pt idx="2">
                  <c:v>7.17</c:v>
                </c:pt>
                <c:pt idx="3">
                  <c:v>7.37</c:v>
                </c:pt>
                <c:pt idx="4">
                  <c:v>7.57</c:v>
                </c:pt>
                <c:pt idx="5">
                  <c:v>7.77</c:v>
                </c:pt>
                <c:pt idx="6">
                  <c:v>7.97</c:v>
                </c:pt>
                <c:pt idx="7">
                  <c:v>8.17</c:v>
                </c:pt>
                <c:pt idx="8">
                  <c:v>8.37</c:v>
                </c:pt>
                <c:pt idx="9">
                  <c:v>8.57</c:v>
                </c:pt>
                <c:pt idx="10">
                  <c:v>8.77</c:v>
                </c:pt>
                <c:pt idx="11">
                  <c:v>8.97</c:v>
                </c:pt>
                <c:pt idx="12">
                  <c:v>9.17</c:v>
                </c:pt>
                <c:pt idx="13">
                  <c:v>9.37</c:v>
                </c:pt>
                <c:pt idx="14">
                  <c:v>9.57</c:v>
                </c:pt>
                <c:pt idx="15">
                  <c:v>9.77</c:v>
                </c:pt>
                <c:pt idx="16">
                  <c:v>9.97</c:v>
                </c:pt>
              </c:strCache>
            </c:strRef>
          </c:cat>
          <c:val>
            <c:numRef>
              <c:f>Sheet1!$E$2:$E$18</c:f>
              <c:numCache>
                <c:formatCode>General</c:formatCode>
                <c:ptCount val="17"/>
                <c:pt idx="0">
                  <c:v>0.2766435477838254</c:v>
                </c:pt>
                <c:pt idx="1">
                  <c:v>0.2973998304873024</c:v>
                </c:pt>
                <c:pt idx="2">
                  <c:v>0.3169981615755227</c:v>
                </c:pt>
                <c:pt idx="3">
                  <c:v>0.33553281119355455</c:v>
                </c:pt>
                <c:pt idx="4">
                  <c:v>0.35308808698764826</c:v>
                </c:pt>
                <c:pt idx="5">
                  <c:v>0.36973961628011537</c:v>
                </c:pt>
                <c:pt idx="6">
                  <c:v>0.38555543519403995</c:v>
                </c:pt>
                <c:pt idx="7">
                  <c:v>0.4005969178086287</c:v>
                </c:pt>
                <c:pt idx="8">
                  <c:v>0.41491957210232927</c:v>
                </c:pt>
                <c:pt idx="9">
                  <c:v>0.42857372444533226</c:v>
                </c:pt>
                <c:pt idx="10">
                  <c:v>0.441605110432896</c:v>
                </c:pt>
                <c:pt idx="11">
                  <c:v>0.45405538667742446</c:v>
                </c:pt>
                <c:pt idx="12">
                  <c:v>0.4659625756266627</c:v>
                </c:pt>
                <c:pt idx="13">
                  <c:v>0.47736145341478087</c:v>
                </c:pt>
                <c:pt idx="14">
                  <c:v>0.48828388908009385</c:v>
                </c:pt>
                <c:pt idx="15">
                  <c:v>0.49875914211837225</c:v>
                </c:pt>
                <c:pt idx="16">
                  <c:v>0.508814124222316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7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6</c:f>
              <c:strCache>
                <c:ptCount val="25"/>
                <c:pt idx="0">
                  <c:v>10.17</c:v>
                </c:pt>
                <c:pt idx="1">
                  <c:v>10.37</c:v>
                </c:pt>
                <c:pt idx="2">
                  <c:v>10.57</c:v>
                </c:pt>
                <c:pt idx="3">
                  <c:v>10.77</c:v>
                </c:pt>
                <c:pt idx="4">
                  <c:v>10.97</c:v>
                </c:pt>
                <c:pt idx="5">
                  <c:v>11.17</c:v>
                </c:pt>
                <c:pt idx="6">
                  <c:v>11.37</c:v>
                </c:pt>
                <c:pt idx="7">
                  <c:v>11.57</c:v>
                </c:pt>
                <c:pt idx="8">
                  <c:v>11.77</c:v>
                </c:pt>
                <c:pt idx="9">
                  <c:v>11.97</c:v>
                </c:pt>
                <c:pt idx="10">
                  <c:v>12.17</c:v>
                </c:pt>
                <c:pt idx="11">
                  <c:v>12.37</c:v>
                </c:pt>
                <c:pt idx="12">
                  <c:v>12.57</c:v>
                </c:pt>
                <c:pt idx="13">
                  <c:v>12.77</c:v>
                </c:pt>
                <c:pt idx="14">
                  <c:v>12.97</c:v>
                </c:pt>
                <c:pt idx="15">
                  <c:v>13.17</c:v>
                </c:pt>
                <c:pt idx="16">
                  <c:v>13.37</c:v>
                </c:pt>
                <c:pt idx="17">
                  <c:v>13.57</c:v>
                </c:pt>
                <c:pt idx="18">
                  <c:v>13.77</c:v>
                </c:pt>
                <c:pt idx="19">
                  <c:v>13.97</c:v>
                </c:pt>
                <c:pt idx="20">
                  <c:v>14.17</c:v>
                </c:pt>
                <c:pt idx="21">
                  <c:v>14.37</c:v>
                </c:pt>
                <c:pt idx="22">
                  <c:v>14.57</c:v>
                </c:pt>
                <c:pt idx="23">
                  <c:v>14.77</c:v>
                </c:pt>
                <c:pt idx="24">
                  <c:v>14.97</c:v>
                </c:pt>
              </c:strCache>
            </c:strRef>
          </c:cat>
          <c:val>
            <c:numRef>
              <c:f>Sheet1!$B$2:$B$26</c:f>
              <c:numCache>
                <c:formatCode>General</c:formatCode>
                <c:ptCount val="25"/>
                <c:pt idx="0">
                  <c:v>116.46554799410663</c:v>
                </c:pt>
                <c:pt idx="1">
                  <c:v>113.42408630385161</c:v>
                </c:pt>
                <c:pt idx="2">
                  <c:v>110.7063462533706</c:v>
                </c:pt>
                <c:pt idx="3">
                  <c:v>108.25727624913083</c:v>
                </c:pt>
                <c:pt idx="4">
                  <c:v>106.03315688291141</c:v>
                </c:pt>
                <c:pt idx="5">
                  <c:v>104.72898021326603</c:v>
                </c:pt>
                <c:pt idx="6">
                  <c:v>103.47703847461125</c:v>
                </c:pt>
                <c:pt idx="7">
                  <c:v>102.2737083418292</c:v>
                </c:pt>
                <c:pt idx="8">
                  <c:v>101.1156956725952</c:v>
                </c:pt>
                <c:pt idx="9">
                  <c:v>100.0</c:v>
                </c:pt>
                <c:pt idx="10">
                  <c:v>98.92388337928983</c:v>
                </c:pt>
                <c:pt idx="11">
                  <c:v>97.8848429951705</c:v>
                </c:pt>
                <c:pt idx="12">
                  <c:v>96.88058702430095</c:v>
                </c:pt>
                <c:pt idx="13">
                  <c:v>94.73505370029451</c:v>
                </c:pt>
                <c:pt idx="14">
                  <c:v>92.71819039386743</c:v>
                </c:pt>
                <c:pt idx="15">
                  <c:v>90.81723939129621</c:v>
                </c:pt>
                <c:pt idx="16">
                  <c:v>89.02104563644016</c:v>
                </c:pt>
                <c:pt idx="17">
                  <c:v>87.8051343528353</c:v>
                </c:pt>
                <c:pt idx="18">
                  <c:v>87.10961393271901</c:v>
                </c:pt>
                <c:pt idx="19">
                  <c:v>86.43011934191729</c:v>
                </c:pt>
                <c:pt idx="20">
                  <c:v>85.76597461080102</c:v>
                </c:pt>
                <c:pt idx="21">
                  <c:v>85.11654376662565</c:v>
                </c:pt>
                <c:pt idx="22">
                  <c:v>84.48122788351937</c:v>
                </c:pt>
                <c:pt idx="23">
                  <c:v>83.85946238700225</c:v>
                </c:pt>
                <c:pt idx="24">
                  <c:v>83.25071458830382</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6</c:f>
              <c:strCache>
                <c:ptCount val="25"/>
                <c:pt idx="0">
                  <c:v>10.17</c:v>
                </c:pt>
                <c:pt idx="1">
                  <c:v>10.37</c:v>
                </c:pt>
                <c:pt idx="2">
                  <c:v>10.57</c:v>
                </c:pt>
                <c:pt idx="3">
                  <c:v>10.77</c:v>
                </c:pt>
                <c:pt idx="4">
                  <c:v>10.97</c:v>
                </c:pt>
                <c:pt idx="5">
                  <c:v>11.17</c:v>
                </c:pt>
                <c:pt idx="6">
                  <c:v>11.37</c:v>
                </c:pt>
                <c:pt idx="7">
                  <c:v>11.57</c:v>
                </c:pt>
                <c:pt idx="8">
                  <c:v>11.77</c:v>
                </c:pt>
                <c:pt idx="9">
                  <c:v>11.97</c:v>
                </c:pt>
                <c:pt idx="10">
                  <c:v>12.17</c:v>
                </c:pt>
                <c:pt idx="11">
                  <c:v>12.37</c:v>
                </c:pt>
                <c:pt idx="12">
                  <c:v>12.57</c:v>
                </c:pt>
                <c:pt idx="13">
                  <c:v>12.77</c:v>
                </c:pt>
                <c:pt idx="14">
                  <c:v>12.97</c:v>
                </c:pt>
                <c:pt idx="15">
                  <c:v>13.17</c:v>
                </c:pt>
                <c:pt idx="16">
                  <c:v>13.37</c:v>
                </c:pt>
                <c:pt idx="17">
                  <c:v>13.57</c:v>
                </c:pt>
                <c:pt idx="18">
                  <c:v>13.77</c:v>
                </c:pt>
                <c:pt idx="19">
                  <c:v>13.97</c:v>
                </c:pt>
                <c:pt idx="20">
                  <c:v>14.17</c:v>
                </c:pt>
                <c:pt idx="21">
                  <c:v>14.37</c:v>
                </c:pt>
                <c:pt idx="22">
                  <c:v>14.57</c:v>
                </c:pt>
                <c:pt idx="23">
                  <c:v>14.77</c:v>
                </c:pt>
                <c:pt idx="24">
                  <c:v>14.97</c:v>
                </c:pt>
              </c:strCache>
            </c:strRef>
          </c:cat>
          <c:val>
            <c:numRef>
              <c:f>Sheet1!$C$2:$C$26</c:f>
              <c:numCache>
                <c:formatCode>General</c:formatCode>
                <c:ptCount val="25"/>
                <c:pt idx="0">
                  <c:v>99.0232419196302</c:v>
                </c:pt>
                <c:pt idx="1">
                  <c:v>98.32702232569352</c:v>
                </c:pt>
                <c:pt idx="2">
                  <c:v>97.81507941180035</c:v>
                </c:pt>
                <c:pt idx="3">
                  <c:v>97.45409807063152</c:v>
                </c:pt>
                <c:pt idx="4">
                  <c:v>97.21747198988713</c:v>
                </c:pt>
                <c:pt idx="5">
                  <c:v>97.76350535606278</c:v>
                </c:pt>
                <c:pt idx="6">
                  <c:v>98.31562408379338</c:v>
                </c:pt>
                <c:pt idx="7">
                  <c:v>98.87293860067882</c:v>
                </c:pt>
                <c:pt idx="8">
                  <c:v>99.43464161291023</c:v>
                </c:pt>
                <c:pt idx="9">
                  <c:v>100.0</c:v>
                </c:pt>
                <c:pt idx="10">
                  <c:v>100.56834759051263</c:v>
                </c:pt>
                <c:pt idx="11">
                  <c:v>101.13907871256687</c:v>
                </c:pt>
                <c:pt idx="12">
                  <c:v>101.71164242648587</c:v>
                </c:pt>
                <c:pt idx="13">
                  <c:v>101.03597449023702</c:v>
                </c:pt>
                <c:pt idx="14">
                  <c:v>100.42815996777519</c:v>
                </c:pt>
                <c:pt idx="15">
                  <c:v>99.88060471054612</c:v>
                </c:pt>
                <c:pt idx="16">
                  <c:v>99.38665276056076</c:v>
                </c:pt>
                <c:pt idx="17">
                  <c:v>99.48933435401915</c:v>
                </c:pt>
                <c:pt idx="18">
                  <c:v>100.14874838277186</c:v>
                </c:pt>
                <c:pt idx="19">
                  <c:v>100.80361687655932</c:v>
                </c:pt>
                <c:pt idx="20">
                  <c:v>101.45394345316576</c:v>
                </c:pt>
                <c:pt idx="21">
                  <c:v>102.09973458427461</c:v>
                </c:pt>
                <c:pt idx="22">
                  <c:v>102.74099934300165</c:v>
                </c:pt>
                <c:pt idx="23">
                  <c:v>103.3777491701198</c:v>
                </c:pt>
                <c:pt idx="24">
                  <c:v>104.00999765777303</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6</c:f>
              <c:strCache>
                <c:ptCount val="25"/>
                <c:pt idx="0">
                  <c:v>10.17</c:v>
                </c:pt>
                <c:pt idx="1">
                  <c:v>10.37</c:v>
                </c:pt>
                <c:pt idx="2">
                  <c:v>10.57</c:v>
                </c:pt>
                <c:pt idx="3">
                  <c:v>10.77</c:v>
                </c:pt>
                <c:pt idx="4">
                  <c:v>10.97</c:v>
                </c:pt>
                <c:pt idx="5">
                  <c:v>11.17</c:v>
                </c:pt>
                <c:pt idx="6">
                  <c:v>11.37</c:v>
                </c:pt>
                <c:pt idx="7">
                  <c:v>11.57</c:v>
                </c:pt>
                <c:pt idx="8">
                  <c:v>11.77</c:v>
                </c:pt>
                <c:pt idx="9">
                  <c:v>11.97</c:v>
                </c:pt>
                <c:pt idx="10">
                  <c:v>12.17</c:v>
                </c:pt>
                <c:pt idx="11">
                  <c:v>12.37</c:v>
                </c:pt>
                <c:pt idx="12">
                  <c:v>12.57</c:v>
                </c:pt>
                <c:pt idx="13">
                  <c:v>12.77</c:v>
                </c:pt>
                <c:pt idx="14">
                  <c:v>12.97</c:v>
                </c:pt>
                <c:pt idx="15">
                  <c:v>13.17</c:v>
                </c:pt>
                <c:pt idx="16">
                  <c:v>13.37</c:v>
                </c:pt>
                <c:pt idx="17">
                  <c:v>13.57</c:v>
                </c:pt>
                <c:pt idx="18">
                  <c:v>13.77</c:v>
                </c:pt>
                <c:pt idx="19">
                  <c:v>13.97</c:v>
                </c:pt>
                <c:pt idx="20">
                  <c:v>14.17</c:v>
                </c:pt>
                <c:pt idx="21">
                  <c:v>14.37</c:v>
                </c:pt>
                <c:pt idx="22">
                  <c:v>14.57</c:v>
                </c:pt>
                <c:pt idx="23">
                  <c:v>14.77</c:v>
                </c:pt>
                <c:pt idx="24">
                  <c:v>14.97</c:v>
                </c:pt>
              </c:strCache>
            </c:strRef>
          </c:cat>
          <c:val>
            <c:numRef>
              <c:f>Sheet1!$D$2:$D$26</c:f>
              <c:numCache>
                <c:formatCode>General</c:formatCode>
                <c:ptCount val="25"/>
                <c:pt idx="0">
                  <c:v>73.74272980902914</c:v>
                </c:pt>
                <c:pt idx="1">
                  <c:v>76.43997516691546</c:v>
                </c:pt>
                <c:pt idx="2">
                  <c:v>79.12064912792425</c:v>
                </c:pt>
                <c:pt idx="3">
                  <c:v>81.78274645578018</c:v>
                </c:pt>
                <c:pt idx="4">
                  <c:v>84.42430935904652</c:v>
                </c:pt>
                <c:pt idx="5">
                  <c:v>87.65452817364712</c:v>
                </c:pt>
                <c:pt idx="6">
                  <c:v>90.8242818519552</c:v>
                </c:pt>
                <c:pt idx="7">
                  <c:v>93.93662951016054</c:v>
                </c:pt>
                <c:pt idx="8">
                  <c:v>96.99435530267405</c:v>
                </c:pt>
                <c:pt idx="9">
                  <c:v>100.0</c:v>
                </c:pt>
                <c:pt idx="10">
                  <c:v>102.95588841479425</c:v>
                </c:pt>
                <c:pt idx="11">
                  <c:v>105.86415327644711</c:v>
                </c:pt>
                <c:pt idx="12">
                  <c:v>108.72675605994921</c:v>
                </c:pt>
                <c:pt idx="13">
                  <c:v>110.18014948545807</c:v>
                </c:pt>
                <c:pt idx="14">
                  <c:v>111.61353688555182</c:v>
                </c:pt>
                <c:pt idx="15">
                  <c:v>113.02677387544158</c:v>
                </c:pt>
                <c:pt idx="16">
                  <c:v>114.41969603384253</c:v>
                </c:pt>
                <c:pt idx="17">
                  <c:v>116.43569205113072</c:v>
                </c:pt>
                <c:pt idx="18">
                  <c:v>119.06385501359351</c:v>
                </c:pt>
                <c:pt idx="19">
                  <c:v>121.65787875666932</c:v>
                </c:pt>
                <c:pt idx="20">
                  <c:v>124.21874381697853</c:v>
                </c:pt>
                <c:pt idx="21">
                  <c:v>126.74738008419189</c:v>
                </c:pt>
                <c:pt idx="22">
                  <c:v>129.24467043901439</c:v>
                </c:pt>
                <c:pt idx="23">
                  <c:v>131.71145406951098</c:v>
                </c:pt>
                <c:pt idx="24">
                  <c:v>134.1485294985388</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6</c:f>
              <c:strCache>
                <c:ptCount val="25"/>
                <c:pt idx="0">
                  <c:v>10.17</c:v>
                </c:pt>
                <c:pt idx="1">
                  <c:v>10.37</c:v>
                </c:pt>
                <c:pt idx="2">
                  <c:v>10.57</c:v>
                </c:pt>
                <c:pt idx="3">
                  <c:v>10.77</c:v>
                </c:pt>
                <c:pt idx="4">
                  <c:v>10.97</c:v>
                </c:pt>
                <c:pt idx="5">
                  <c:v>11.17</c:v>
                </c:pt>
                <c:pt idx="6">
                  <c:v>11.37</c:v>
                </c:pt>
                <c:pt idx="7">
                  <c:v>11.57</c:v>
                </c:pt>
                <c:pt idx="8">
                  <c:v>11.77</c:v>
                </c:pt>
                <c:pt idx="9">
                  <c:v>11.97</c:v>
                </c:pt>
                <c:pt idx="10">
                  <c:v>12.17</c:v>
                </c:pt>
                <c:pt idx="11">
                  <c:v>12.37</c:v>
                </c:pt>
                <c:pt idx="12">
                  <c:v>12.57</c:v>
                </c:pt>
                <c:pt idx="13">
                  <c:v>12.77</c:v>
                </c:pt>
                <c:pt idx="14">
                  <c:v>12.97</c:v>
                </c:pt>
                <c:pt idx="15">
                  <c:v>13.17</c:v>
                </c:pt>
                <c:pt idx="16">
                  <c:v>13.37</c:v>
                </c:pt>
                <c:pt idx="17">
                  <c:v>13.57</c:v>
                </c:pt>
                <c:pt idx="18">
                  <c:v>13.77</c:v>
                </c:pt>
                <c:pt idx="19">
                  <c:v>13.97</c:v>
                </c:pt>
                <c:pt idx="20">
                  <c:v>14.17</c:v>
                </c:pt>
                <c:pt idx="21">
                  <c:v>14.37</c:v>
                </c:pt>
                <c:pt idx="22">
                  <c:v>14.57</c:v>
                </c:pt>
                <c:pt idx="23">
                  <c:v>14.77</c:v>
                </c:pt>
                <c:pt idx="24">
                  <c:v>14.97</c:v>
                </c:pt>
              </c:strCache>
            </c:strRef>
          </c:cat>
          <c:val>
            <c:numRef>
              <c:f>Sheet1!$E$2:$E$26</c:f>
              <c:numCache>
                <c:formatCode>General</c:formatCode>
                <c:ptCount val="25"/>
                <c:pt idx="0">
                  <c:v>0.3054997572755563</c:v>
                </c:pt>
                <c:pt idx="1">
                  <c:v>0.31889416889994293</c:v>
                </c:pt>
                <c:pt idx="2">
                  <c:v>0.33178169645150507</c:v>
                </c:pt>
                <c:pt idx="3">
                  <c:v>0.34419057859725233</c:v>
                </c:pt>
                <c:pt idx="4">
                  <c:v>0.3561469946665823</c:v>
                </c:pt>
                <c:pt idx="5">
                  <c:v>0.36767524901453974</c:v>
                </c:pt>
                <c:pt idx="6">
                  <c:v>0.3787979359272127</c:v>
                </c:pt>
                <c:pt idx="7">
                  <c:v>0.38953608742371726</c:v>
                </c:pt>
                <c:pt idx="8">
                  <c:v>0.39990930598915964</c:v>
                </c:pt>
                <c:pt idx="9">
                  <c:v>0.40993588400103664</c:v>
                </c:pt>
                <c:pt idx="10">
                  <c:v>0.4196329113798199</c:v>
                </c:pt>
                <c:pt idx="11">
                  <c:v>0.42901637279647603</c:v>
                </c:pt>
                <c:pt idx="12">
                  <c:v>0.43810123560003245</c:v>
                </c:pt>
                <c:pt idx="13">
                  <c:v>0.4469015294825692</c:v>
                </c:pt>
                <c:pt idx="14">
                  <c:v>0.45543041877350876</c:v>
                </c:pt>
                <c:pt idx="15">
                  <c:v>0.46370026814672805</c:v>
                </c:pt>
                <c:pt idx="16">
                  <c:v>0.4717227024302475</c:v>
                </c:pt>
                <c:pt idx="17">
                  <c:v>0.4795086611269276</c:v>
                </c:pt>
                <c:pt idx="18">
                  <c:v>0.4870684481839077</c:v>
                </c:pt>
                <c:pt idx="19">
                  <c:v>0.4944117774869297</c:v>
                </c:pt>
                <c:pt idx="20">
                  <c:v>0.5015478145019342</c:v>
                </c:pt>
                <c:pt idx="21">
                  <c:v>0.5084852144392769</c:v>
                </c:pt>
                <c:pt idx="22">
                  <c:v>0.5152321572747021</c:v>
                </c:pt>
                <c:pt idx="23">
                  <c:v>0.5217963799250107</c:v>
                </c:pt>
                <c:pt idx="24">
                  <c:v>0.5281852058445162</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6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1</c:f>
              <c:strCache>
                <c:ptCount val="20"/>
                <c:pt idx="0">
                  <c:v>8.57</c:v>
                </c:pt>
                <c:pt idx="1">
                  <c:v>8.77</c:v>
                </c:pt>
                <c:pt idx="2">
                  <c:v>8.97</c:v>
                </c:pt>
                <c:pt idx="3">
                  <c:v>9.17</c:v>
                </c:pt>
                <c:pt idx="4">
                  <c:v>9.37</c:v>
                </c:pt>
                <c:pt idx="5">
                  <c:v>9.57</c:v>
                </c:pt>
                <c:pt idx="6">
                  <c:v>9.77</c:v>
                </c:pt>
                <c:pt idx="7">
                  <c:v>9.97</c:v>
                </c:pt>
                <c:pt idx="8">
                  <c:v>10.17</c:v>
                </c:pt>
                <c:pt idx="9">
                  <c:v>10.37</c:v>
                </c:pt>
                <c:pt idx="10">
                  <c:v>10.57</c:v>
                </c:pt>
                <c:pt idx="11">
                  <c:v>10.77</c:v>
                </c:pt>
                <c:pt idx="12">
                  <c:v>10.97</c:v>
                </c:pt>
                <c:pt idx="13">
                  <c:v>11.17</c:v>
                </c:pt>
                <c:pt idx="14">
                  <c:v>11.37</c:v>
                </c:pt>
                <c:pt idx="15">
                  <c:v>11.57</c:v>
                </c:pt>
                <c:pt idx="16">
                  <c:v>11.77</c:v>
                </c:pt>
                <c:pt idx="17">
                  <c:v>11.97</c:v>
                </c:pt>
                <c:pt idx="18">
                  <c:v>12.17</c:v>
                </c:pt>
                <c:pt idx="19">
                  <c:v>12.37</c:v>
                </c:pt>
              </c:strCache>
            </c:strRef>
          </c:cat>
          <c:val>
            <c:numRef>
              <c:f>Sheet1!$B$2:$B$21</c:f>
              <c:numCache>
                <c:formatCode>General</c:formatCode>
                <c:ptCount val="20"/>
                <c:pt idx="0">
                  <c:v>105.80809559646632</c:v>
                </c:pt>
                <c:pt idx="1">
                  <c:v>104.67340537418299</c:v>
                </c:pt>
                <c:pt idx="2">
                  <c:v>103.5567583879337</c:v>
                </c:pt>
                <c:pt idx="3">
                  <c:v>102.8334328149195</c:v>
                </c:pt>
                <c:pt idx="4">
                  <c:v>102.11615618827852</c:v>
                </c:pt>
                <c:pt idx="5">
                  <c:v>101.4048661171075</c:v>
                </c:pt>
                <c:pt idx="6">
                  <c:v>100.69950099743276</c:v>
                </c:pt>
                <c:pt idx="7">
                  <c:v>100.0</c:v>
                </c:pt>
                <c:pt idx="8">
                  <c:v>98.4012313357382</c:v>
                </c:pt>
                <c:pt idx="9">
                  <c:v>96.83557298813888</c:v>
                </c:pt>
                <c:pt idx="10">
                  <c:v>95.30208898573146</c:v>
                </c:pt>
                <c:pt idx="11">
                  <c:v>93.79988142072719</c:v>
                </c:pt>
                <c:pt idx="12">
                  <c:v>92.3280882574352</c:v>
                </c:pt>
                <c:pt idx="13">
                  <c:v>88.57533339246459</c:v>
                </c:pt>
                <c:pt idx="14">
                  <c:v>85.03492397922162</c:v>
                </c:pt>
                <c:pt idx="15">
                  <c:v>81.69354569508785</c:v>
                </c:pt>
                <c:pt idx="16">
                  <c:v>78.53837031412321</c:v>
                </c:pt>
                <c:pt idx="17">
                  <c:v>75.55713140466894</c:v>
                </c:pt>
                <c:pt idx="18">
                  <c:v>72.73818222917366</c:v>
                </c:pt>
                <c:pt idx="19">
                  <c:v>70.07053464621058</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1</c:f>
              <c:strCache>
                <c:ptCount val="20"/>
                <c:pt idx="0">
                  <c:v>8.57</c:v>
                </c:pt>
                <c:pt idx="1">
                  <c:v>8.77</c:v>
                </c:pt>
                <c:pt idx="2">
                  <c:v>8.97</c:v>
                </c:pt>
                <c:pt idx="3">
                  <c:v>9.17</c:v>
                </c:pt>
                <c:pt idx="4">
                  <c:v>9.37</c:v>
                </c:pt>
                <c:pt idx="5">
                  <c:v>9.57</c:v>
                </c:pt>
                <c:pt idx="6">
                  <c:v>9.77</c:v>
                </c:pt>
                <c:pt idx="7">
                  <c:v>9.97</c:v>
                </c:pt>
                <c:pt idx="8">
                  <c:v>10.17</c:v>
                </c:pt>
                <c:pt idx="9">
                  <c:v>10.37</c:v>
                </c:pt>
                <c:pt idx="10">
                  <c:v>10.57</c:v>
                </c:pt>
                <c:pt idx="11">
                  <c:v>10.77</c:v>
                </c:pt>
                <c:pt idx="12">
                  <c:v>10.97</c:v>
                </c:pt>
                <c:pt idx="13">
                  <c:v>11.17</c:v>
                </c:pt>
                <c:pt idx="14">
                  <c:v>11.37</c:v>
                </c:pt>
                <c:pt idx="15">
                  <c:v>11.57</c:v>
                </c:pt>
                <c:pt idx="16">
                  <c:v>11.77</c:v>
                </c:pt>
                <c:pt idx="17">
                  <c:v>11.97</c:v>
                </c:pt>
                <c:pt idx="18">
                  <c:v>12.17</c:v>
                </c:pt>
                <c:pt idx="19">
                  <c:v>12.37</c:v>
                </c:pt>
              </c:strCache>
            </c:strRef>
          </c:cat>
          <c:val>
            <c:numRef>
              <c:f>Sheet1!$C$2:$C$21</c:f>
              <c:numCache>
                <c:formatCode>General</c:formatCode>
                <c:ptCount val="20"/>
                <c:pt idx="0">
                  <c:v>90.9812914612801</c:v>
                </c:pt>
                <c:pt idx="1">
                  <c:v>92.10095468984932</c:v>
                </c:pt>
                <c:pt idx="2">
                  <c:v>93.19129726098615</c:v>
                </c:pt>
                <c:pt idx="3">
                  <c:v>94.59925245188529</c:v>
                </c:pt>
                <c:pt idx="4">
                  <c:v>95.98379333732251</c:v>
                </c:pt>
                <c:pt idx="5">
                  <c:v>97.3452290954166</c:v>
                </c:pt>
                <c:pt idx="6">
                  <c:v>98.68386450155161</c:v>
                </c:pt>
                <c:pt idx="7">
                  <c:v>100.0</c:v>
                </c:pt>
                <c:pt idx="8">
                  <c:v>100.36931073940316</c:v>
                </c:pt>
                <c:pt idx="9">
                  <c:v>100.7090380035737</c:v>
                </c:pt>
                <c:pt idx="10">
                  <c:v>101.02018371901802</c:v>
                </c:pt>
                <c:pt idx="11">
                  <c:v>101.30371546974388</c:v>
                </c:pt>
                <c:pt idx="12">
                  <c:v>101.56056793356676</c:v>
                </c:pt>
                <c:pt idx="13">
                  <c:v>99.20072055562903</c:v>
                </c:pt>
                <c:pt idx="14">
                  <c:v>96.93334845753502</c:v>
                </c:pt>
                <c:pt idx="15">
                  <c:v>94.75568546887968</c:v>
                </c:pt>
                <c:pt idx="16">
                  <c:v>92.66448049944123</c:v>
                </c:pt>
                <c:pt idx="17">
                  <c:v>90.65613653005265</c:v>
                </c:pt>
                <c:pt idx="18">
                  <c:v>88.72683693740723</c:v>
                </c:pt>
                <c:pt idx="19">
                  <c:v>86.87265519272579</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1</c:f>
              <c:strCache>
                <c:ptCount val="20"/>
                <c:pt idx="0">
                  <c:v>8.57</c:v>
                </c:pt>
                <c:pt idx="1">
                  <c:v>8.77</c:v>
                </c:pt>
                <c:pt idx="2">
                  <c:v>8.97</c:v>
                </c:pt>
                <c:pt idx="3">
                  <c:v>9.17</c:v>
                </c:pt>
                <c:pt idx="4">
                  <c:v>9.37</c:v>
                </c:pt>
                <c:pt idx="5">
                  <c:v>9.57</c:v>
                </c:pt>
                <c:pt idx="6">
                  <c:v>9.77</c:v>
                </c:pt>
                <c:pt idx="7">
                  <c:v>9.97</c:v>
                </c:pt>
                <c:pt idx="8">
                  <c:v>10.17</c:v>
                </c:pt>
                <c:pt idx="9">
                  <c:v>10.37</c:v>
                </c:pt>
                <c:pt idx="10">
                  <c:v>10.57</c:v>
                </c:pt>
                <c:pt idx="11">
                  <c:v>10.77</c:v>
                </c:pt>
                <c:pt idx="12">
                  <c:v>10.97</c:v>
                </c:pt>
                <c:pt idx="13">
                  <c:v>11.17</c:v>
                </c:pt>
                <c:pt idx="14">
                  <c:v>11.37</c:v>
                </c:pt>
                <c:pt idx="15">
                  <c:v>11.57</c:v>
                </c:pt>
                <c:pt idx="16">
                  <c:v>11.77</c:v>
                </c:pt>
                <c:pt idx="17">
                  <c:v>11.97</c:v>
                </c:pt>
                <c:pt idx="18">
                  <c:v>12.17</c:v>
                </c:pt>
                <c:pt idx="19">
                  <c:v>12.37</c:v>
                </c:pt>
              </c:strCache>
            </c:strRef>
          </c:cat>
          <c:val>
            <c:numRef>
              <c:f>Sheet1!$D$2:$D$21</c:f>
              <c:numCache>
                <c:formatCode>General</c:formatCode>
                <c:ptCount val="20"/>
                <c:pt idx="0">
                  <c:v>85.57679191084391</c:v>
                </c:pt>
                <c:pt idx="1">
                  <c:v>87.5180021805152</c:v>
                </c:pt>
                <c:pt idx="2">
                  <c:v>89.4127062715001</c:v>
                </c:pt>
                <c:pt idx="3">
                  <c:v>91.59737227755674</c:v>
                </c:pt>
                <c:pt idx="4">
                  <c:v>93.74799839443388</c:v>
                </c:pt>
                <c:pt idx="5">
                  <c:v>95.86502393224156</c:v>
                </c:pt>
                <c:pt idx="6">
                  <c:v>97.94888207945107</c:v>
                </c:pt>
                <c:pt idx="7">
                  <c:v>100.0</c:v>
                </c:pt>
                <c:pt idx="8">
                  <c:v>101.08676105996229</c:v>
                </c:pt>
                <c:pt idx="9">
                  <c:v>102.12106794011295</c:v>
                </c:pt>
                <c:pt idx="10">
                  <c:v>103.10462794055259</c:v>
                </c:pt>
                <c:pt idx="11">
                  <c:v>104.03908778404815</c:v>
                </c:pt>
                <c:pt idx="12">
                  <c:v>104.92603636263071</c:v>
                </c:pt>
                <c:pt idx="13">
                  <c:v>103.07289826564956</c:v>
                </c:pt>
                <c:pt idx="14">
                  <c:v>101.26843351523924</c:v>
                </c:pt>
                <c:pt idx="15">
                  <c:v>99.51374945533578</c:v>
                </c:pt>
                <c:pt idx="16">
                  <c:v>97.80910957352272</c:v>
                </c:pt>
                <c:pt idx="17">
                  <c:v>96.15409631310902</c:v>
                </c:pt>
                <c:pt idx="18">
                  <c:v>94.54776300458292</c:v>
                </c:pt>
                <c:pt idx="19">
                  <c:v>92.9887699525991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1</c:f>
              <c:strCache>
                <c:ptCount val="20"/>
                <c:pt idx="0">
                  <c:v>8.57</c:v>
                </c:pt>
                <c:pt idx="1">
                  <c:v>8.77</c:v>
                </c:pt>
                <c:pt idx="2">
                  <c:v>8.97</c:v>
                </c:pt>
                <c:pt idx="3">
                  <c:v>9.17</c:v>
                </c:pt>
                <c:pt idx="4">
                  <c:v>9.37</c:v>
                </c:pt>
                <c:pt idx="5">
                  <c:v>9.57</c:v>
                </c:pt>
                <c:pt idx="6">
                  <c:v>9.77</c:v>
                </c:pt>
                <c:pt idx="7">
                  <c:v>9.97</c:v>
                </c:pt>
                <c:pt idx="8">
                  <c:v>10.17</c:v>
                </c:pt>
                <c:pt idx="9">
                  <c:v>10.37</c:v>
                </c:pt>
                <c:pt idx="10">
                  <c:v>10.57</c:v>
                </c:pt>
                <c:pt idx="11">
                  <c:v>10.77</c:v>
                </c:pt>
                <c:pt idx="12">
                  <c:v>10.97</c:v>
                </c:pt>
                <c:pt idx="13">
                  <c:v>11.17</c:v>
                </c:pt>
                <c:pt idx="14">
                  <c:v>11.37</c:v>
                </c:pt>
                <c:pt idx="15">
                  <c:v>11.57</c:v>
                </c:pt>
                <c:pt idx="16">
                  <c:v>11.77</c:v>
                </c:pt>
                <c:pt idx="17">
                  <c:v>11.97</c:v>
                </c:pt>
                <c:pt idx="18">
                  <c:v>12.17</c:v>
                </c:pt>
                <c:pt idx="19">
                  <c:v>12.37</c:v>
                </c:pt>
              </c:strCache>
            </c:strRef>
          </c:cat>
          <c:val>
            <c:numRef>
              <c:f>Sheet1!$E$2:$E$21</c:f>
              <c:numCache>
                <c:formatCode>General</c:formatCode>
                <c:ptCount val="20"/>
                <c:pt idx="0">
                  <c:v>0.6905533702026991</c:v>
                </c:pt>
                <c:pt idx="1">
                  <c:v>0.6976103058879285</c:v>
                </c:pt>
                <c:pt idx="2">
                  <c:v>0.7043525510186326</c:v>
                </c:pt>
                <c:pt idx="3">
                  <c:v>0.7108006960345837</c:v>
                </c:pt>
                <c:pt idx="4">
                  <c:v>0.7169735733871007</c:v>
                </c:pt>
                <c:pt idx="5">
                  <c:v>0.7228884412368999</c:v>
                </c:pt>
                <c:pt idx="6">
                  <c:v>0.7285611445892664</c:v>
                </c:pt>
                <c:pt idx="7">
                  <c:v>0.7340062570348177</c:v>
                </c:pt>
                <c:pt idx="8">
                  <c:v>0.7392372057656965</c:v>
                </c:pt>
                <c:pt idx="9">
                  <c:v>0.7442663821250851</c:v>
                </c:pt>
                <c:pt idx="10">
                  <c:v>0.749105239606162</c:v>
                </c:pt>
                <c:pt idx="11">
                  <c:v>0.753764380931953</c:v>
                </c:pt>
                <c:pt idx="12">
                  <c:v>0.7582536356095837</c:v>
                </c:pt>
                <c:pt idx="13">
                  <c:v>0.762582129152832</c:v>
                </c:pt>
                <c:pt idx="14">
                  <c:v>0.7667583449988684</c:v>
                </c:pt>
                <c:pt idx="15">
                  <c:v>0.7707901800032094</c:v>
                </c:pt>
                <c:pt idx="16">
                  <c:v>0.7746849942767318</c:v>
                </c:pt>
                <c:pt idx="17">
                  <c:v>0.778449656026494</c:v>
                </c:pt>
                <c:pt idx="18">
                  <c:v>0.7820905819751136</c:v>
                </c:pt>
                <c:pt idx="19">
                  <c:v>0.7856137738591054</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3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6"/>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1</c:f>
              <c:strCache>
                <c:ptCount val="20"/>
                <c:pt idx="0">
                  <c:v>8.57</c:v>
                </c:pt>
                <c:pt idx="1">
                  <c:v>8.77</c:v>
                </c:pt>
                <c:pt idx="2">
                  <c:v>8.97</c:v>
                </c:pt>
                <c:pt idx="3">
                  <c:v>9.17</c:v>
                </c:pt>
                <c:pt idx="4">
                  <c:v>9.37</c:v>
                </c:pt>
                <c:pt idx="5">
                  <c:v>9.57</c:v>
                </c:pt>
                <c:pt idx="6">
                  <c:v>9.77</c:v>
                </c:pt>
                <c:pt idx="7">
                  <c:v>9.97</c:v>
                </c:pt>
                <c:pt idx="8">
                  <c:v>10.17</c:v>
                </c:pt>
                <c:pt idx="9">
                  <c:v>10.37</c:v>
                </c:pt>
                <c:pt idx="10">
                  <c:v>10.57</c:v>
                </c:pt>
                <c:pt idx="11">
                  <c:v>10.77</c:v>
                </c:pt>
                <c:pt idx="12">
                  <c:v>10.97</c:v>
                </c:pt>
                <c:pt idx="13">
                  <c:v>11.17</c:v>
                </c:pt>
                <c:pt idx="14">
                  <c:v>11.37</c:v>
                </c:pt>
                <c:pt idx="15">
                  <c:v>11.57</c:v>
                </c:pt>
                <c:pt idx="16">
                  <c:v>11.77</c:v>
                </c:pt>
                <c:pt idx="17">
                  <c:v>11.97</c:v>
                </c:pt>
                <c:pt idx="18">
                  <c:v>12.17</c:v>
                </c:pt>
                <c:pt idx="19">
                  <c:v>12.37</c:v>
                </c:pt>
              </c:strCache>
            </c:strRef>
          </c:cat>
          <c:val>
            <c:numRef>
              <c:f>Sheet1!$B$2:$B$21</c:f>
              <c:numCache>
                <c:formatCode>General</c:formatCode>
                <c:ptCount val="20"/>
                <c:pt idx="0">
                  <c:v>104.43208132444941</c:v>
                </c:pt>
                <c:pt idx="1">
                  <c:v>103.4791679569724</c:v>
                </c:pt>
                <c:pt idx="2">
                  <c:v>102.54236044890716</c:v>
                </c:pt>
                <c:pt idx="3">
                  <c:v>102.02766926137498</c:v>
                </c:pt>
                <c:pt idx="4">
                  <c:v>101.51612134863177</c:v>
                </c:pt>
                <c:pt idx="5">
                  <c:v>101.00768274085948</c:v>
                </c:pt>
                <c:pt idx="6">
                  <c:v>100.50231995693382</c:v>
                </c:pt>
                <c:pt idx="7">
                  <c:v>100.0</c:v>
                </c:pt>
                <c:pt idx="8">
                  <c:v>98.88687695736519</c:v>
                </c:pt>
                <c:pt idx="9">
                  <c:v>97.79217900900079</c:v>
                </c:pt>
                <c:pt idx="10">
                  <c:v>96.7154455625843</c:v>
                </c:pt>
                <c:pt idx="11">
                  <c:v>95.65623215137562</c:v>
                </c:pt>
                <c:pt idx="12">
                  <c:v>94.61410951515316</c:v>
                </c:pt>
                <c:pt idx="13">
                  <c:v>91.82388806692171</c:v>
                </c:pt>
                <c:pt idx="14">
                  <c:v>89.11532283713042</c:v>
                </c:pt>
                <c:pt idx="15">
                  <c:v>86.4857117908757</c:v>
                </c:pt>
                <c:pt idx="16">
                  <c:v>83.93267255066958</c:v>
                </c:pt>
                <c:pt idx="17">
                  <c:v>81.45417340437207</c:v>
                </c:pt>
                <c:pt idx="18">
                  <c:v>79.0485398796727</c:v>
                </c:pt>
                <c:pt idx="19">
                  <c:v>76.7144347844915</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1</c:f>
              <c:strCache>
                <c:ptCount val="20"/>
                <c:pt idx="0">
                  <c:v>8.57</c:v>
                </c:pt>
                <c:pt idx="1">
                  <c:v>8.77</c:v>
                </c:pt>
                <c:pt idx="2">
                  <c:v>8.97</c:v>
                </c:pt>
                <c:pt idx="3">
                  <c:v>9.17</c:v>
                </c:pt>
                <c:pt idx="4">
                  <c:v>9.37</c:v>
                </c:pt>
                <c:pt idx="5">
                  <c:v>9.57</c:v>
                </c:pt>
                <c:pt idx="6">
                  <c:v>9.77</c:v>
                </c:pt>
                <c:pt idx="7">
                  <c:v>9.97</c:v>
                </c:pt>
                <c:pt idx="8">
                  <c:v>10.17</c:v>
                </c:pt>
                <c:pt idx="9">
                  <c:v>10.37</c:v>
                </c:pt>
                <c:pt idx="10">
                  <c:v>10.57</c:v>
                </c:pt>
                <c:pt idx="11">
                  <c:v>10.77</c:v>
                </c:pt>
                <c:pt idx="12">
                  <c:v>10.97</c:v>
                </c:pt>
                <c:pt idx="13">
                  <c:v>11.17</c:v>
                </c:pt>
                <c:pt idx="14">
                  <c:v>11.37</c:v>
                </c:pt>
                <c:pt idx="15">
                  <c:v>11.57</c:v>
                </c:pt>
                <c:pt idx="16">
                  <c:v>11.77</c:v>
                </c:pt>
                <c:pt idx="17">
                  <c:v>11.97</c:v>
                </c:pt>
                <c:pt idx="18">
                  <c:v>12.17</c:v>
                </c:pt>
                <c:pt idx="19">
                  <c:v>12.37</c:v>
                </c:pt>
              </c:strCache>
            </c:strRef>
          </c:cat>
          <c:val>
            <c:numRef>
              <c:f>Sheet1!$C$2:$C$21</c:f>
              <c:numCache>
                <c:formatCode>General</c:formatCode>
                <c:ptCount val="20"/>
                <c:pt idx="0">
                  <c:v>89.8914589279889</c:v>
                </c:pt>
                <c:pt idx="1">
                  <c:v>91.12948857570112</c:v>
                </c:pt>
                <c:pt idx="2">
                  <c:v>92.34357965621516</c:v>
                </c:pt>
                <c:pt idx="3">
                  <c:v>93.91077745381395</c:v>
                </c:pt>
                <c:pt idx="4">
                  <c:v>95.45984603186045</c:v>
                </c:pt>
                <c:pt idx="5">
                  <c:v>96.99095906643394</c:v>
                </c:pt>
                <c:pt idx="6">
                  <c:v>98.50428758079606</c:v>
                </c:pt>
                <c:pt idx="7">
                  <c:v>100.0</c:v>
                </c:pt>
                <c:pt idx="8">
                  <c:v>100.84903163954822</c:v>
                </c:pt>
                <c:pt idx="9">
                  <c:v>101.6726788764678</c:v>
                </c:pt>
                <c:pt idx="10">
                  <c:v>102.47157731175669</c:v>
                </c:pt>
                <c:pt idx="11">
                  <c:v>103.24634186454564</c:v>
                </c:pt>
                <c:pt idx="12">
                  <c:v>103.99756744948935</c:v>
                </c:pt>
                <c:pt idx="13">
                  <c:v>102.74340943844471</c:v>
                </c:pt>
                <c:pt idx="14">
                  <c:v>101.47243311509797</c:v>
                </c:pt>
                <c:pt idx="15">
                  <c:v>100.18632401864413</c:v>
                </c:pt>
                <c:pt idx="16">
                  <c:v>98.88693042697028</c:v>
                </c:pt>
                <c:pt idx="17">
                  <c:v>97.57633230221613</c:v>
                </c:pt>
                <c:pt idx="18">
                  <c:v>96.25688404349957</c:v>
                </c:pt>
                <c:pt idx="19">
                  <c:v>94.93122510552313</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1</c:f>
              <c:strCache>
                <c:ptCount val="20"/>
                <c:pt idx="0">
                  <c:v>8.57</c:v>
                </c:pt>
                <c:pt idx="1">
                  <c:v>8.77</c:v>
                </c:pt>
                <c:pt idx="2">
                  <c:v>8.97</c:v>
                </c:pt>
                <c:pt idx="3">
                  <c:v>9.17</c:v>
                </c:pt>
                <c:pt idx="4">
                  <c:v>9.37</c:v>
                </c:pt>
                <c:pt idx="5">
                  <c:v>9.57</c:v>
                </c:pt>
                <c:pt idx="6">
                  <c:v>9.77</c:v>
                </c:pt>
                <c:pt idx="7">
                  <c:v>9.97</c:v>
                </c:pt>
                <c:pt idx="8">
                  <c:v>10.17</c:v>
                </c:pt>
                <c:pt idx="9">
                  <c:v>10.37</c:v>
                </c:pt>
                <c:pt idx="10">
                  <c:v>10.57</c:v>
                </c:pt>
                <c:pt idx="11">
                  <c:v>10.77</c:v>
                </c:pt>
                <c:pt idx="12">
                  <c:v>10.97</c:v>
                </c:pt>
                <c:pt idx="13">
                  <c:v>11.17</c:v>
                </c:pt>
                <c:pt idx="14">
                  <c:v>11.37</c:v>
                </c:pt>
                <c:pt idx="15">
                  <c:v>11.57</c:v>
                </c:pt>
                <c:pt idx="16">
                  <c:v>11.77</c:v>
                </c:pt>
                <c:pt idx="17">
                  <c:v>11.97</c:v>
                </c:pt>
                <c:pt idx="18">
                  <c:v>12.17</c:v>
                </c:pt>
                <c:pt idx="19">
                  <c:v>12.37</c:v>
                </c:pt>
              </c:strCache>
            </c:strRef>
          </c:cat>
          <c:val>
            <c:numRef>
              <c:f>Sheet1!$D$2:$D$21</c:f>
              <c:numCache>
                <c:formatCode>General</c:formatCode>
                <c:ptCount val="20"/>
                <c:pt idx="0">
                  <c:v>85.2511510290497</c:v>
                </c:pt>
                <c:pt idx="1">
                  <c:v>87.18718049092027</c:v>
                </c:pt>
                <c:pt idx="2">
                  <c:v>89.08692579313285</c:v>
                </c:pt>
                <c:pt idx="3">
                  <c:v>91.31773987523431</c:v>
                </c:pt>
                <c:pt idx="4">
                  <c:v>93.52423559023116</c:v>
                </c:pt>
                <c:pt idx="5">
                  <c:v>95.70663327694339</c:v>
                </c:pt>
                <c:pt idx="6">
                  <c:v>97.86515007758098</c:v>
                </c:pt>
                <c:pt idx="7">
                  <c:v>100.0</c:v>
                </c:pt>
                <c:pt idx="8">
                  <c:v>101.47527650644292</c:v>
                </c:pt>
                <c:pt idx="9">
                  <c:v>102.91136476485036</c:v>
                </c:pt>
                <c:pt idx="10">
                  <c:v>104.309235056268</c:v>
                </c:pt>
                <c:pt idx="11">
                  <c:v>105.66982612757445</c:v>
                </c:pt>
                <c:pt idx="12">
                  <c:v>106.99404632534643</c:v>
                </c:pt>
                <c:pt idx="13">
                  <c:v>106.2233196568665</c:v>
                </c:pt>
                <c:pt idx="14">
                  <c:v>105.40424387124719</c:v>
                </c:pt>
                <c:pt idx="15">
                  <c:v>104.5399449988705</c:v>
                </c:pt>
                <c:pt idx="16">
                  <c:v>103.63365775711655</c:v>
                </c:pt>
                <c:pt idx="17">
                  <c:v>102.68880728867167</c:v>
                </c:pt>
                <c:pt idx="18">
                  <c:v>101.70906399579044</c:v>
                </c:pt>
                <c:pt idx="19">
                  <c:v>100.69836427923167</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1</c:f>
              <c:strCache>
                <c:ptCount val="20"/>
                <c:pt idx="0">
                  <c:v>8.57</c:v>
                </c:pt>
                <c:pt idx="1">
                  <c:v>8.77</c:v>
                </c:pt>
                <c:pt idx="2">
                  <c:v>8.97</c:v>
                </c:pt>
                <c:pt idx="3">
                  <c:v>9.17</c:v>
                </c:pt>
                <c:pt idx="4">
                  <c:v>9.37</c:v>
                </c:pt>
                <c:pt idx="5">
                  <c:v>9.57</c:v>
                </c:pt>
                <c:pt idx="6">
                  <c:v>9.77</c:v>
                </c:pt>
                <c:pt idx="7">
                  <c:v>9.97</c:v>
                </c:pt>
                <c:pt idx="8">
                  <c:v>10.17</c:v>
                </c:pt>
                <c:pt idx="9">
                  <c:v>10.37</c:v>
                </c:pt>
                <c:pt idx="10">
                  <c:v>10.57</c:v>
                </c:pt>
                <c:pt idx="11">
                  <c:v>10.77</c:v>
                </c:pt>
                <c:pt idx="12">
                  <c:v>10.97</c:v>
                </c:pt>
                <c:pt idx="13">
                  <c:v>11.17</c:v>
                </c:pt>
                <c:pt idx="14">
                  <c:v>11.37</c:v>
                </c:pt>
                <c:pt idx="15">
                  <c:v>11.57</c:v>
                </c:pt>
                <c:pt idx="16">
                  <c:v>11.77</c:v>
                </c:pt>
                <c:pt idx="17">
                  <c:v>11.97</c:v>
                </c:pt>
                <c:pt idx="18">
                  <c:v>12.17</c:v>
                </c:pt>
                <c:pt idx="19">
                  <c:v>12.37</c:v>
                </c:pt>
              </c:strCache>
            </c:strRef>
          </c:cat>
          <c:val>
            <c:numRef>
              <c:f>Sheet1!$E$2:$E$21</c:f>
              <c:numCache>
                <c:formatCode>General</c:formatCode>
                <c:ptCount val="20"/>
                <c:pt idx="0">
                  <c:v>0.7246775251335579</c:v>
                </c:pt>
                <c:pt idx="1">
                  <c:v>0.7309562588819374</c:v>
                </c:pt>
                <c:pt idx="2">
                  <c:v>0.7369550045032989</c:v>
                </c:pt>
                <c:pt idx="3">
                  <c:v>0.7426920818314712</c:v>
                </c:pt>
                <c:pt idx="4">
                  <c:v>0.7481842465735957</c:v>
                </c:pt>
                <c:pt idx="5">
                  <c:v>0.753446853750741</c:v>
                </c:pt>
                <c:pt idx="6">
                  <c:v>0.7584940010639296</c:v>
                </c:pt>
                <c:pt idx="7">
                  <c:v>0.7633386550044725</c:v>
                </c:pt>
                <c:pt idx="8">
                  <c:v>0.7679927620840306</c:v>
                </c:pt>
                <c:pt idx="9">
                  <c:v>0.7724673471933068</c:v>
                </c:pt>
                <c:pt idx="10">
                  <c:v>0.7767726007941903</c:v>
                </c:pt>
                <c:pt idx="11">
                  <c:v>0.780917956396898</c:v>
                </c:pt>
                <c:pt idx="12">
                  <c:v>0.78491215956195</c:v>
                </c:pt>
                <c:pt idx="13">
                  <c:v>0.7887633294892205</c:v>
                </c:pt>
                <c:pt idx="14">
                  <c:v>0.7924790141068243</c:v>
                </c:pt>
                <c:pt idx="15">
                  <c:v>0.7960662394463778</c:v>
                </c:pt>
                <c:pt idx="16">
                  <c:v>0.7995315539842474</c:v>
                </c:pt>
                <c:pt idx="17">
                  <c:v>0.8028810685375598</c:v>
                </c:pt>
                <c:pt idx="18">
                  <c:v>0.8061204922263429</c:v>
                </c:pt>
                <c:pt idx="19">
                  <c:v>0.8092551649470163</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3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1.0"/>
          <c:min val="0.6"/>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2</c:f>
              <c:strCache>
                <c:ptCount val="31"/>
                <c:pt idx="0">
                  <c:v>12.57</c:v>
                </c:pt>
                <c:pt idx="1">
                  <c:v>12.77</c:v>
                </c:pt>
                <c:pt idx="2">
                  <c:v>12.97</c:v>
                </c:pt>
                <c:pt idx="3">
                  <c:v>13.17</c:v>
                </c:pt>
                <c:pt idx="4">
                  <c:v>13.37</c:v>
                </c:pt>
                <c:pt idx="5">
                  <c:v>13.57</c:v>
                </c:pt>
                <c:pt idx="6">
                  <c:v>13.77</c:v>
                </c:pt>
                <c:pt idx="7">
                  <c:v>13.97</c:v>
                </c:pt>
                <c:pt idx="8">
                  <c:v>14.17</c:v>
                </c:pt>
                <c:pt idx="9">
                  <c:v>14.37</c:v>
                </c:pt>
                <c:pt idx="10">
                  <c:v>14.57</c:v>
                </c:pt>
                <c:pt idx="11">
                  <c:v>14.77</c:v>
                </c:pt>
                <c:pt idx="12">
                  <c:v>14.97</c:v>
                </c:pt>
                <c:pt idx="13">
                  <c:v>15.17</c:v>
                </c:pt>
                <c:pt idx="14">
                  <c:v>15.37</c:v>
                </c:pt>
                <c:pt idx="15">
                  <c:v>15.57</c:v>
                </c:pt>
                <c:pt idx="16">
                  <c:v>15.77</c:v>
                </c:pt>
                <c:pt idx="17">
                  <c:v>15.97</c:v>
                </c:pt>
                <c:pt idx="18">
                  <c:v>16.17</c:v>
                </c:pt>
                <c:pt idx="19">
                  <c:v>16.37</c:v>
                </c:pt>
                <c:pt idx="20">
                  <c:v>16.57</c:v>
                </c:pt>
                <c:pt idx="21">
                  <c:v>16.77</c:v>
                </c:pt>
                <c:pt idx="22">
                  <c:v>16.97</c:v>
                </c:pt>
                <c:pt idx="23">
                  <c:v>17.17</c:v>
                </c:pt>
                <c:pt idx="24">
                  <c:v>17.37</c:v>
                </c:pt>
                <c:pt idx="25">
                  <c:v>17.57</c:v>
                </c:pt>
                <c:pt idx="26">
                  <c:v>17.77</c:v>
                </c:pt>
                <c:pt idx="27">
                  <c:v>17.97</c:v>
                </c:pt>
                <c:pt idx="28">
                  <c:v>18.17</c:v>
                </c:pt>
                <c:pt idx="29">
                  <c:v>18.37</c:v>
                </c:pt>
                <c:pt idx="30">
                  <c:v>18.57</c:v>
                </c:pt>
              </c:strCache>
            </c:strRef>
          </c:cat>
          <c:val>
            <c:numRef>
              <c:f>Sheet1!$B$2:$B$32</c:f>
              <c:numCache>
                <c:formatCode>General</c:formatCode>
                <c:ptCount val="31"/>
                <c:pt idx="0">
                  <c:v>115.19647295376654</c:v>
                </c:pt>
                <c:pt idx="1">
                  <c:v>113.8571267410309</c:v>
                </c:pt>
                <c:pt idx="2">
                  <c:v>112.53651192611525</c:v>
                </c:pt>
                <c:pt idx="3">
                  <c:v>111.23438107164938</c:v>
                </c:pt>
                <c:pt idx="4">
                  <c:v>109.95049009361375</c:v>
                </c:pt>
                <c:pt idx="5">
                  <c:v>108.65976940208246</c:v>
                </c:pt>
                <c:pt idx="6">
                  <c:v>107.36406151543446</c:v>
                </c:pt>
                <c:pt idx="7">
                  <c:v>106.08852083844809</c:v>
                </c:pt>
                <c:pt idx="8">
                  <c:v>104.83275939059091</c:v>
                </c:pt>
                <c:pt idx="9">
                  <c:v>103.59639626785093</c:v>
                </c:pt>
                <c:pt idx="10">
                  <c:v>102.37905796429241</c:v>
                </c:pt>
                <c:pt idx="11">
                  <c:v>101.180378589805</c:v>
                </c:pt>
                <c:pt idx="12">
                  <c:v>100.0</c:v>
                </c:pt>
                <c:pt idx="13">
                  <c:v>98.67972920142603</c:v>
                </c:pt>
                <c:pt idx="14">
                  <c:v>97.37879804617162</c:v>
                </c:pt>
                <c:pt idx="15">
                  <c:v>96.09715278303216</c:v>
                </c:pt>
                <c:pt idx="16">
                  <c:v>94.83472153977783</c:v>
                </c:pt>
                <c:pt idx="17">
                  <c:v>93.59141463728005</c:v>
                </c:pt>
                <c:pt idx="18">
                  <c:v>91.75228953919145</c:v>
                </c:pt>
                <c:pt idx="19">
                  <c:v>89.95710305531094</c:v>
                </c:pt>
                <c:pt idx="20">
                  <c:v>88.2057332591983</c:v>
                </c:pt>
                <c:pt idx="21">
                  <c:v>86.4979540733977</c:v>
                </c:pt>
                <c:pt idx="22">
                  <c:v>84.83344096130546</c:v>
                </c:pt>
                <c:pt idx="23">
                  <c:v>83.21177748196708</c:v>
                </c:pt>
                <c:pt idx="24">
                  <c:v>81.63246246318364</c:v>
                </c:pt>
                <c:pt idx="25">
                  <c:v>80.09491757437223</c:v>
                </c:pt>
                <c:pt idx="26">
                  <c:v>78.5984951094137</c:v>
                </c:pt>
                <c:pt idx="27">
                  <c:v>77.14248581890453</c:v>
                </c:pt>
                <c:pt idx="28">
                  <c:v>75.72612665918629</c:v>
                </c:pt>
                <c:pt idx="29">
                  <c:v>74.34860835116409</c:v>
                </c:pt>
                <c:pt idx="30">
                  <c:v>73.00908266472082</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2</c:f>
              <c:strCache>
                <c:ptCount val="31"/>
                <c:pt idx="0">
                  <c:v>12.57</c:v>
                </c:pt>
                <c:pt idx="1">
                  <c:v>12.77</c:v>
                </c:pt>
                <c:pt idx="2">
                  <c:v>12.97</c:v>
                </c:pt>
                <c:pt idx="3">
                  <c:v>13.17</c:v>
                </c:pt>
                <c:pt idx="4">
                  <c:v>13.37</c:v>
                </c:pt>
                <c:pt idx="5">
                  <c:v>13.57</c:v>
                </c:pt>
                <c:pt idx="6">
                  <c:v>13.77</c:v>
                </c:pt>
                <c:pt idx="7">
                  <c:v>13.97</c:v>
                </c:pt>
                <c:pt idx="8">
                  <c:v>14.17</c:v>
                </c:pt>
                <c:pt idx="9">
                  <c:v>14.37</c:v>
                </c:pt>
                <c:pt idx="10">
                  <c:v>14.57</c:v>
                </c:pt>
                <c:pt idx="11">
                  <c:v>14.77</c:v>
                </c:pt>
                <c:pt idx="12">
                  <c:v>14.97</c:v>
                </c:pt>
                <c:pt idx="13">
                  <c:v>15.17</c:v>
                </c:pt>
                <c:pt idx="14">
                  <c:v>15.37</c:v>
                </c:pt>
                <c:pt idx="15">
                  <c:v>15.57</c:v>
                </c:pt>
                <c:pt idx="16">
                  <c:v>15.77</c:v>
                </c:pt>
                <c:pt idx="17">
                  <c:v>15.97</c:v>
                </c:pt>
                <c:pt idx="18">
                  <c:v>16.17</c:v>
                </c:pt>
                <c:pt idx="19">
                  <c:v>16.37</c:v>
                </c:pt>
                <c:pt idx="20">
                  <c:v>16.57</c:v>
                </c:pt>
                <c:pt idx="21">
                  <c:v>16.77</c:v>
                </c:pt>
                <c:pt idx="22">
                  <c:v>16.97</c:v>
                </c:pt>
                <c:pt idx="23">
                  <c:v>17.17</c:v>
                </c:pt>
                <c:pt idx="24">
                  <c:v>17.37</c:v>
                </c:pt>
                <c:pt idx="25">
                  <c:v>17.57</c:v>
                </c:pt>
                <c:pt idx="26">
                  <c:v>17.77</c:v>
                </c:pt>
                <c:pt idx="27">
                  <c:v>17.97</c:v>
                </c:pt>
                <c:pt idx="28">
                  <c:v>18.17</c:v>
                </c:pt>
                <c:pt idx="29">
                  <c:v>18.37</c:v>
                </c:pt>
                <c:pt idx="30">
                  <c:v>18.57</c:v>
                </c:pt>
              </c:strCache>
            </c:strRef>
          </c:cat>
          <c:val>
            <c:numRef>
              <c:f>Sheet1!$C$2:$C$32</c:f>
              <c:numCache>
                <c:formatCode>General</c:formatCode>
                <c:ptCount val="31"/>
                <c:pt idx="0">
                  <c:v>96.90752283634875</c:v>
                </c:pt>
                <c:pt idx="1">
                  <c:v>97.28782245715773</c:v>
                </c:pt>
                <c:pt idx="2">
                  <c:v>97.64877209265832</c:v>
                </c:pt>
                <c:pt idx="3">
                  <c:v>97.99091181737593</c:v>
                </c:pt>
                <c:pt idx="4">
                  <c:v>98.31477071020855</c:v>
                </c:pt>
                <c:pt idx="5">
                  <c:v>98.59833156096211</c:v>
                </c:pt>
                <c:pt idx="6">
                  <c:v>98.84304153422677</c:v>
                </c:pt>
                <c:pt idx="7">
                  <c:v>99.07221306395728</c:v>
                </c:pt>
                <c:pt idx="8">
                  <c:v>99.28628880565856</c:v>
                </c:pt>
                <c:pt idx="9">
                  <c:v>99.48569702326259</c:v>
                </c:pt>
                <c:pt idx="10">
                  <c:v>99.67085241072748</c:v>
                </c:pt>
                <c:pt idx="11">
                  <c:v>99.84215683401419</c:v>
                </c:pt>
                <c:pt idx="12">
                  <c:v>100.0</c:v>
                </c:pt>
                <c:pt idx="13">
                  <c:v>99.98495097695294</c:v>
                </c:pt>
                <c:pt idx="14">
                  <c:v>99.95482322891571</c:v>
                </c:pt>
                <c:pt idx="15">
                  <c:v>99.91033369146646</c:v>
                </c:pt>
                <c:pt idx="16">
                  <c:v>99.85217676717126</c:v>
                </c:pt>
                <c:pt idx="17">
                  <c:v>99.78102350839605</c:v>
                </c:pt>
                <c:pt idx="18">
                  <c:v>99.03419258380494</c:v>
                </c:pt>
                <c:pt idx="19">
                  <c:v>98.28686198504073</c:v>
                </c:pt>
                <c:pt idx="20">
                  <c:v>97.54063052669663</c:v>
                </c:pt>
                <c:pt idx="21">
                  <c:v>96.79697403094121</c:v>
                </c:pt>
                <c:pt idx="22">
                  <c:v>96.05724498451546</c:v>
                </c:pt>
                <c:pt idx="23">
                  <c:v>95.32267362086422</c:v>
                </c:pt>
                <c:pt idx="24">
                  <c:v>94.59437022457637</c:v>
                </c:pt>
                <c:pt idx="25">
                  <c:v>93.87332846018816</c:v>
                </c:pt>
                <c:pt idx="26">
                  <c:v>93.16042953854617</c:v>
                </c:pt>
                <c:pt idx="27">
                  <c:v>92.45644704890441</c:v>
                </c:pt>
                <c:pt idx="28">
                  <c:v>91.76205230184243</c:v>
                </c:pt>
                <c:pt idx="29">
                  <c:v>91.07782004545241</c:v>
                </c:pt>
                <c:pt idx="30">
                  <c:v>90.40423443410602</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2</c:f>
              <c:strCache>
                <c:ptCount val="31"/>
                <c:pt idx="0">
                  <c:v>12.57</c:v>
                </c:pt>
                <c:pt idx="1">
                  <c:v>12.77</c:v>
                </c:pt>
                <c:pt idx="2">
                  <c:v>12.97</c:v>
                </c:pt>
                <c:pt idx="3">
                  <c:v>13.17</c:v>
                </c:pt>
                <c:pt idx="4">
                  <c:v>13.37</c:v>
                </c:pt>
                <c:pt idx="5">
                  <c:v>13.57</c:v>
                </c:pt>
                <c:pt idx="6">
                  <c:v>13.77</c:v>
                </c:pt>
                <c:pt idx="7">
                  <c:v>13.97</c:v>
                </c:pt>
                <c:pt idx="8">
                  <c:v>14.17</c:v>
                </c:pt>
                <c:pt idx="9">
                  <c:v>14.37</c:v>
                </c:pt>
                <c:pt idx="10">
                  <c:v>14.57</c:v>
                </c:pt>
                <c:pt idx="11">
                  <c:v>14.77</c:v>
                </c:pt>
                <c:pt idx="12">
                  <c:v>14.97</c:v>
                </c:pt>
                <c:pt idx="13">
                  <c:v>15.17</c:v>
                </c:pt>
                <c:pt idx="14">
                  <c:v>15.37</c:v>
                </c:pt>
                <c:pt idx="15">
                  <c:v>15.57</c:v>
                </c:pt>
                <c:pt idx="16">
                  <c:v>15.77</c:v>
                </c:pt>
                <c:pt idx="17">
                  <c:v>15.97</c:v>
                </c:pt>
                <c:pt idx="18">
                  <c:v>16.17</c:v>
                </c:pt>
                <c:pt idx="19">
                  <c:v>16.37</c:v>
                </c:pt>
                <c:pt idx="20">
                  <c:v>16.57</c:v>
                </c:pt>
                <c:pt idx="21">
                  <c:v>16.77</c:v>
                </c:pt>
                <c:pt idx="22">
                  <c:v>16.97</c:v>
                </c:pt>
                <c:pt idx="23">
                  <c:v>17.17</c:v>
                </c:pt>
                <c:pt idx="24">
                  <c:v>17.37</c:v>
                </c:pt>
                <c:pt idx="25">
                  <c:v>17.57</c:v>
                </c:pt>
                <c:pt idx="26">
                  <c:v>17.77</c:v>
                </c:pt>
                <c:pt idx="27">
                  <c:v>17.97</c:v>
                </c:pt>
                <c:pt idx="28">
                  <c:v>18.17</c:v>
                </c:pt>
                <c:pt idx="29">
                  <c:v>18.37</c:v>
                </c:pt>
                <c:pt idx="30">
                  <c:v>18.57</c:v>
                </c:pt>
              </c:strCache>
            </c:strRef>
          </c:cat>
          <c:val>
            <c:numRef>
              <c:f>Sheet1!$D$2:$D$32</c:f>
              <c:numCache>
                <c:formatCode>General</c:formatCode>
                <c:ptCount val="31"/>
                <c:pt idx="0">
                  <c:v>89.20482347166428</c:v>
                </c:pt>
                <c:pt idx="1">
                  <c:v>90.30970378914053</c:v>
                </c:pt>
                <c:pt idx="2">
                  <c:v>91.37915697826246</c:v>
                </c:pt>
                <c:pt idx="3">
                  <c:v>92.41404970549772</c:v>
                </c:pt>
                <c:pt idx="4">
                  <c:v>93.41523212683663</c:v>
                </c:pt>
                <c:pt idx="5">
                  <c:v>94.36194620750396</c:v>
                </c:pt>
                <c:pt idx="6">
                  <c:v>95.25546427849888</c:v>
                </c:pt>
                <c:pt idx="7">
                  <c:v>96.11834149498897</c:v>
                </c:pt>
                <c:pt idx="8">
                  <c:v>96.95136857798121</c:v>
                </c:pt>
                <c:pt idx="9">
                  <c:v>97.75531308215514</c:v>
                </c:pt>
                <c:pt idx="10">
                  <c:v>98.53092041016713</c:v>
                </c:pt>
                <c:pt idx="11">
                  <c:v>99.27891475888929</c:v>
                </c:pt>
                <c:pt idx="12">
                  <c:v>100.0</c:v>
                </c:pt>
                <c:pt idx="13">
                  <c:v>100.5337017570268</c:v>
                </c:pt>
                <c:pt idx="14">
                  <c:v>101.03769821408666</c:v>
                </c:pt>
                <c:pt idx="15">
                  <c:v>101.51303366917492</c:v>
                </c:pt>
                <c:pt idx="16">
                  <c:v>101.9607283387474</c:v>
                </c:pt>
                <c:pt idx="17">
                  <c:v>102.38177701852209</c:v>
                </c:pt>
                <c:pt idx="18">
                  <c:v>102.09119534740803</c:v>
                </c:pt>
                <c:pt idx="19">
                  <c:v>101.7812154449501</c:v>
                </c:pt>
                <c:pt idx="20">
                  <c:v>101.45418431963631</c:v>
                </c:pt>
                <c:pt idx="21">
                  <c:v>101.1123168658144</c:v>
                </c:pt>
                <c:pt idx="22">
                  <c:v>100.7576929035058</c:v>
                </c:pt>
                <c:pt idx="23">
                  <c:v>100.39225590406792</c:v>
                </c:pt>
                <c:pt idx="24">
                  <c:v>100.01781321449283</c:v>
                </c:pt>
                <c:pt idx="25">
                  <c:v>99.63603758885242</c:v>
                </c:pt>
                <c:pt idx="26">
                  <c:v>99.24846983897815</c:v>
                </c:pt>
                <c:pt idx="27">
                  <c:v>98.85652242542784</c:v>
                </c:pt>
                <c:pt idx="28">
                  <c:v>98.46148382208881</c:v>
                </c:pt>
                <c:pt idx="29">
                  <c:v>98.06452350174004</c:v>
                </c:pt>
                <c:pt idx="30">
                  <c:v>97.66669740439517</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2</c:f>
              <c:strCache>
                <c:ptCount val="31"/>
                <c:pt idx="0">
                  <c:v>12.57</c:v>
                </c:pt>
                <c:pt idx="1">
                  <c:v>12.77</c:v>
                </c:pt>
                <c:pt idx="2">
                  <c:v>12.97</c:v>
                </c:pt>
                <c:pt idx="3">
                  <c:v>13.17</c:v>
                </c:pt>
                <c:pt idx="4">
                  <c:v>13.37</c:v>
                </c:pt>
                <c:pt idx="5">
                  <c:v>13.57</c:v>
                </c:pt>
                <c:pt idx="6">
                  <c:v>13.77</c:v>
                </c:pt>
                <c:pt idx="7">
                  <c:v>13.97</c:v>
                </c:pt>
                <c:pt idx="8">
                  <c:v>14.17</c:v>
                </c:pt>
                <c:pt idx="9">
                  <c:v>14.37</c:v>
                </c:pt>
                <c:pt idx="10">
                  <c:v>14.57</c:v>
                </c:pt>
                <c:pt idx="11">
                  <c:v>14.77</c:v>
                </c:pt>
                <c:pt idx="12">
                  <c:v>14.97</c:v>
                </c:pt>
                <c:pt idx="13">
                  <c:v>15.17</c:v>
                </c:pt>
                <c:pt idx="14">
                  <c:v>15.37</c:v>
                </c:pt>
                <c:pt idx="15">
                  <c:v>15.57</c:v>
                </c:pt>
                <c:pt idx="16">
                  <c:v>15.77</c:v>
                </c:pt>
                <c:pt idx="17">
                  <c:v>15.97</c:v>
                </c:pt>
                <c:pt idx="18">
                  <c:v>16.17</c:v>
                </c:pt>
                <c:pt idx="19">
                  <c:v>16.37</c:v>
                </c:pt>
                <c:pt idx="20">
                  <c:v>16.57</c:v>
                </c:pt>
                <c:pt idx="21">
                  <c:v>16.77</c:v>
                </c:pt>
                <c:pt idx="22">
                  <c:v>16.97</c:v>
                </c:pt>
                <c:pt idx="23">
                  <c:v>17.17</c:v>
                </c:pt>
                <c:pt idx="24">
                  <c:v>17.37</c:v>
                </c:pt>
                <c:pt idx="25">
                  <c:v>17.57</c:v>
                </c:pt>
                <c:pt idx="26">
                  <c:v>17.77</c:v>
                </c:pt>
                <c:pt idx="27">
                  <c:v>17.97</c:v>
                </c:pt>
                <c:pt idx="28">
                  <c:v>18.17</c:v>
                </c:pt>
                <c:pt idx="29">
                  <c:v>18.37</c:v>
                </c:pt>
                <c:pt idx="30">
                  <c:v>18.57</c:v>
                </c:pt>
              </c:strCache>
            </c:strRef>
          </c:cat>
          <c:val>
            <c:numRef>
              <c:f>Sheet1!$E$2:$E$32</c:f>
              <c:numCache>
                <c:formatCode>General</c:formatCode>
                <c:ptCount val="31"/>
                <c:pt idx="0">
                  <c:v>0.6524463876569928</c:v>
                </c:pt>
                <c:pt idx="1">
                  <c:v>0.6578896705441191</c:v>
                </c:pt>
                <c:pt idx="2">
                  <c:v>0.6631650804046569</c:v>
                </c:pt>
                <c:pt idx="3">
                  <c:v>0.668280265212483</c:v>
                </c:pt>
                <c:pt idx="4">
                  <c:v>0.673242415321496</c:v>
                </c:pt>
                <c:pt idx="5">
                  <c:v>0.6780582971885335</c:v>
                </c:pt>
                <c:pt idx="6">
                  <c:v>0.6827342841574727</c:v>
                </c:pt>
                <c:pt idx="7">
                  <c:v>0.6872763845990265</c:v>
                </c:pt>
                <c:pt idx="8">
                  <c:v>0.6916902676674948</c:v>
                </c:pt>
                <c:pt idx="9">
                  <c:v>0.6959812869066387</c:v>
                </c:pt>
                <c:pt idx="10">
                  <c:v>0.7001545019113521</c:v>
                </c:pt>
                <c:pt idx="11">
                  <c:v>0.7042146982294111</c:v>
                </c:pt>
                <c:pt idx="12">
                  <c:v>0.7081664056678958</c:v>
                </c:pt>
                <c:pt idx="13">
                  <c:v>0.7120139151515096</c:v>
                </c:pt>
                <c:pt idx="14">
                  <c:v>0.7157612942646975</c:v>
                </c:pt>
                <c:pt idx="15">
                  <c:v>0.7194124015959154</c:v>
                </c:pt>
                <c:pt idx="16">
                  <c:v>0.7229708999903869</c:v>
                </c:pt>
                <c:pt idx="17">
                  <c:v>0.7264402688070383</c:v>
                </c:pt>
                <c:pt idx="18">
                  <c:v>0.7298238152658256</c:v>
                </c:pt>
                <c:pt idx="19">
                  <c:v>0.7331246849632499</c:v>
                </c:pt>
                <c:pt idx="20">
                  <c:v>0.7363458716263367</c:v>
                </c:pt>
                <c:pt idx="21">
                  <c:v>0.7394902261686583</c:v>
                </c:pt>
                <c:pt idx="22">
                  <c:v>0.7425604651059753</c:v>
                </c:pt>
                <c:pt idx="23">
                  <c:v>0.7455591783837158</c:v>
                </c:pt>
                <c:pt idx="24">
                  <c:v>0.7484888366636961</c:v>
                </c:pt>
                <c:pt idx="25">
                  <c:v>0.7513517981131702</c:v>
                </c:pt>
                <c:pt idx="26">
                  <c:v>0.7541503147354193</c:v>
                </c:pt>
                <c:pt idx="27">
                  <c:v>0.756886538277596</c:v>
                </c:pt>
                <c:pt idx="28">
                  <c:v>0.7595625257483984</c:v>
                </c:pt>
                <c:pt idx="29">
                  <c:v>0.7621802445753076</c:v>
                </c:pt>
                <c:pt idx="30">
                  <c:v>0.7647415774285622</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4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9</c:f>
              <c:strCache>
                <c:ptCount val="18"/>
                <c:pt idx="0">
                  <c:v>8.57</c:v>
                </c:pt>
                <c:pt idx="1">
                  <c:v>8.77</c:v>
                </c:pt>
                <c:pt idx="2">
                  <c:v>8.97</c:v>
                </c:pt>
                <c:pt idx="3">
                  <c:v>9.17</c:v>
                </c:pt>
                <c:pt idx="4">
                  <c:v>9.37</c:v>
                </c:pt>
                <c:pt idx="5">
                  <c:v>9.57</c:v>
                </c:pt>
                <c:pt idx="6">
                  <c:v>9.77</c:v>
                </c:pt>
                <c:pt idx="7">
                  <c:v>9.97</c:v>
                </c:pt>
                <c:pt idx="8">
                  <c:v>10.17</c:v>
                </c:pt>
                <c:pt idx="9">
                  <c:v>10.37</c:v>
                </c:pt>
                <c:pt idx="10">
                  <c:v>10.57</c:v>
                </c:pt>
                <c:pt idx="11">
                  <c:v>10.77</c:v>
                </c:pt>
                <c:pt idx="12">
                  <c:v>10.97</c:v>
                </c:pt>
                <c:pt idx="13">
                  <c:v>11.17</c:v>
                </c:pt>
                <c:pt idx="14">
                  <c:v>11.37</c:v>
                </c:pt>
                <c:pt idx="15">
                  <c:v>11.57</c:v>
                </c:pt>
                <c:pt idx="16">
                  <c:v>11.77</c:v>
                </c:pt>
                <c:pt idx="17">
                  <c:v>11.97</c:v>
                </c:pt>
              </c:strCache>
            </c:strRef>
          </c:cat>
          <c:val>
            <c:numRef>
              <c:f>Sheet1!$B$2:$B$19</c:f>
              <c:numCache>
                <c:formatCode>General</c:formatCode>
                <c:ptCount val="18"/>
                <c:pt idx="0">
                  <c:v>105.69497276203661</c:v>
                </c:pt>
                <c:pt idx="1">
                  <c:v>104.4163552983499</c:v>
                </c:pt>
                <c:pt idx="2">
                  <c:v>103.161554757661</c:v>
                </c:pt>
                <c:pt idx="3">
                  <c:v>102.52071833614784</c:v>
                </c:pt>
                <c:pt idx="4">
                  <c:v>101.88418212627954</c:v>
                </c:pt>
                <c:pt idx="5">
                  <c:v>101.25190852569636</c:v>
                </c:pt>
                <c:pt idx="6">
                  <c:v>100.62386018153174</c:v>
                </c:pt>
                <c:pt idx="7">
                  <c:v>100.0</c:v>
                </c:pt>
                <c:pt idx="8">
                  <c:v>98.91792101331293</c:v>
                </c:pt>
                <c:pt idx="9">
                  <c:v>97.85317463390999</c:v>
                </c:pt>
                <c:pt idx="10">
                  <c:v>96.80533068913694</c:v>
                </c:pt>
                <c:pt idx="11">
                  <c:v>95.77397301993302</c:v>
                </c:pt>
                <c:pt idx="12">
                  <c:v>94.75869893535975</c:v>
                </c:pt>
                <c:pt idx="13">
                  <c:v>92.3420251437005</c:v>
                </c:pt>
                <c:pt idx="14">
                  <c:v>90.00930328235256</c:v>
                </c:pt>
                <c:pt idx="15">
                  <c:v>87.75831093535243</c:v>
                </c:pt>
                <c:pt idx="16">
                  <c:v>85.58667600037033</c:v>
                </c:pt>
                <c:pt idx="17">
                  <c:v>83.49189154000076</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9</c:f>
              <c:strCache>
                <c:ptCount val="18"/>
                <c:pt idx="0">
                  <c:v>8.57</c:v>
                </c:pt>
                <c:pt idx="1">
                  <c:v>8.77</c:v>
                </c:pt>
                <c:pt idx="2">
                  <c:v>8.97</c:v>
                </c:pt>
                <c:pt idx="3">
                  <c:v>9.17</c:v>
                </c:pt>
                <c:pt idx="4">
                  <c:v>9.37</c:v>
                </c:pt>
                <c:pt idx="5">
                  <c:v>9.57</c:v>
                </c:pt>
                <c:pt idx="6">
                  <c:v>9.77</c:v>
                </c:pt>
                <c:pt idx="7">
                  <c:v>9.97</c:v>
                </c:pt>
                <c:pt idx="8">
                  <c:v>10.17</c:v>
                </c:pt>
                <c:pt idx="9">
                  <c:v>10.37</c:v>
                </c:pt>
                <c:pt idx="10">
                  <c:v>10.57</c:v>
                </c:pt>
                <c:pt idx="11">
                  <c:v>10.77</c:v>
                </c:pt>
                <c:pt idx="12">
                  <c:v>10.97</c:v>
                </c:pt>
                <c:pt idx="13">
                  <c:v>11.17</c:v>
                </c:pt>
                <c:pt idx="14">
                  <c:v>11.37</c:v>
                </c:pt>
                <c:pt idx="15">
                  <c:v>11.57</c:v>
                </c:pt>
                <c:pt idx="16">
                  <c:v>11.77</c:v>
                </c:pt>
                <c:pt idx="17">
                  <c:v>11.97</c:v>
                </c:pt>
              </c:strCache>
            </c:strRef>
          </c:cat>
          <c:val>
            <c:numRef>
              <c:f>Sheet1!$C$2:$C$19</c:f>
              <c:numCache>
                <c:formatCode>General</c:formatCode>
                <c:ptCount val="18"/>
                <c:pt idx="0">
                  <c:v>91.05098982530586</c:v>
                </c:pt>
                <c:pt idx="1">
                  <c:v>92.01462229861961</c:v>
                </c:pt>
                <c:pt idx="2">
                  <c:v>92.94839808268469</c:v>
                </c:pt>
                <c:pt idx="3">
                  <c:v>94.40267045258416</c:v>
                </c:pt>
                <c:pt idx="4">
                  <c:v>95.8347152957828</c:v>
                </c:pt>
                <c:pt idx="5">
                  <c:v>97.24478596668122</c:v>
                </c:pt>
                <c:pt idx="6">
                  <c:v>98.633132166323</c:v>
                </c:pt>
                <c:pt idx="7">
                  <c:v>100.0</c:v>
                </c:pt>
                <c:pt idx="8">
                  <c:v>100.8700815806425</c:v>
                </c:pt>
                <c:pt idx="9">
                  <c:v>101.71489291472098</c:v>
                </c:pt>
                <c:pt idx="10">
                  <c:v>102.53504435641334</c:v>
                </c:pt>
                <c:pt idx="11">
                  <c:v>103.33112523595189</c:v>
                </c:pt>
                <c:pt idx="12">
                  <c:v>104.1037047688818</c:v>
                </c:pt>
                <c:pt idx="13">
                  <c:v>103.25815655271207</c:v>
                </c:pt>
                <c:pt idx="14">
                  <c:v>102.41379805936117</c:v>
                </c:pt>
                <c:pt idx="15">
                  <c:v>101.57297435236077</c:v>
                </c:pt>
                <c:pt idx="16">
                  <c:v>100.737677452238</c:v>
                </c:pt>
                <c:pt idx="17">
                  <c:v>99.90955023720589</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9</c:f>
              <c:strCache>
                <c:ptCount val="18"/>
                <c:pt idx="0">
                  <c:v>8.57</c:v>
                </c:pt>
                <c:pt idx="1">
                  <c:v>8.77</c:v>
                </c:pt>
                <c:pt idx="2">
                  <c:v>8.97</c:v>
                </c:pt>
                <c:pt idx="3">
                  <c:v>9.17</c:v>
                </c:pt>
                <c:pt idx="4">
                  <c:v>9.37</c:v>
                </c:pt>
                <c:pt idx="5">
                  <c:v>9.57</c:v>
                </c:pt>
                <c:pt idx="6">
                  <c:v>9.77</c:v>
                </c:pt>
                <c:pt idx="7">
                  <c:v>9.97</c:v>
                </c:pt>
                <c:pt idx="8">
                  <c:v>10.17</c:v>
                </c:pt>
                <c:pt idx="9">
                  <c:v>10.37</c:v>
                </c:pt>
                <c:pt idx="10">
                  <c:v>10.57</c:v>
                </c:pt>
                <c:pt idx="11">
                  <c:v>10.77</c:v>
                </c:pt>
                <c:pt idx="12">
                  <c:v>10.97</c:v>
                </c:pt>
                <c:pt idx="13">
                  <c:v>11.17</c:v>
                </c:pt>
                <c:pt idx="14">
                  <c:v>11.37</c:v>
                </c:pt>
                <c:pt idx="15">
                  <c:v>11.57</c:v>
                </c:pt>
                <c:pt idx="16">
                  <c:v>11.77</c:v>
                </c:pt>
                <c:pt idx="17">
                  <c:v>11.97</c:v>
                </c:pt>
              </c:strCache>
            </c:strRef>
          </c:cat>
          <c:val>
            <c:numRef>
              <c:f>Sheet1!$D$2:$D$19</c:f>
              <c:numCache>
                <c:formatCode>General</c:formatCode>
                <c:ptCount val="18"/>
                <c:pt idx="0">
                  <c:v>88.65066770408511</c:v>
                </c:pt>
                <c:pt idx="1">
                  <c:v>89.97941555129702</c:v>
                </c:pt>
                <c:pt idx="2">
                  <c:v>91.26984653520786</c:v>
                </c:pt>
                <c:pt idx="3">
                  <c:v>93.06722598436383</c:v>
                </c:pt>
                <c:pt idx="4">
                  <c:v>94.83865954549752</c:v>
                </c:pt>
                <c:pt idx="5">
                  <c:v>96.58442046853848</c:v>
                </c:pt>
                <c:pt idx="6">
                  <c:v>98.30477851457806</c:v>
                </c:pt>
                <c:pt idx="7">
                  <c:v>100.0</c:v>
                </c:pt>
                <c:pt idx="8">
                  <c:v>101.18970395844664</c:v>
                </c:pt>
                <c:pt idx="9">
                  <c:v>102.3473768377876</c:v>
                </c:pt>
                <c:pt idx="10">
                  <c:v>103.47377940445716</c:v>
                </c:pt>
                <c:pt idx="11">
                  <c:v>104.5696468217226</c:v>
                </c:pt>
                <c:pt idx="12">
                  <c:v>105.63568973048172</c:v>
                </c:pt>
                <c:pt idx="13">
                  <c:v>105.03729336131067</c:v>
                </c:pt>
                <c:pt idx="14">
                  <c:v>104.42660073051746</c:v>
                </c:pt>
                <c:pt idx="15">
                  <c:v>103.80673119167862</c:v>
                </c:pt>
                <c:pt idx="16">
                  <c:v>103.18041358260545</c:v>
                </c:pt>
                <c:pt idx="17">
                  <c:v>102.54998850386347</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9</c:f>
              <c:strCache>
                <c:ptCount val="18"/>
                <c:pt idx="0">
                  <c:v>8.57</c:v>
                </c:pt>
                <c:pt idx="1">
                  <c:v>8.77</c:v>
                </c:pt>
                <c:pt idx="2">
                  <c:v>8.97</c:v>
                </c:pt>
                <c:pt idx="3">
                  <c:v>9.17</c:v>
                </c:pt>
                <c:pt idx="4">
                  <c:v>9.37</c:v>
                </c:pt>
                <c:pt idx="5">
                  <c:v>9.57</c:v>
                </c:pt>
                <c:pt idx="6">
                  <c:v>9.77</c:v>
                </c:pt>
                <c:pt idx="7">
                  <c:v>9.97</c:v>
                </c:pt>
                <c:pt idx="8">
                  <c:v>10.17</c:v>
                </c:pt>
                <c:pt idx="9">
                  <c:v>10.37</c:v>
                </c:pt>
                <c:pt idx="10">
                  <c:v>10.57</c:v>
                </c:pt>
                <c:pt idx="11">
                  <c:v>10.77</c:v>
                </c:pt>
                <c:pt idx="12">
                  <c:v>10.97</c:v>
                </c:pt>
                <c:pt idx="13">
                  <c:v>11.17</c:v>
                </c:pt>
                <c:pt idx="14">
                  <c:v>11.37</c:v>
                </c:pt>
                <c:pt idx="15">
                  <c:v>11.57</c:v>
                </c:pt>
                <c:pt idx="16">
                  <c:v>11.77</c:v>
                </c:pt>
                <c:pt idx="17">
                  <c:v>11.97</c:v>
                </c:pt>
              </c:strCache>
            </c:strRef>
          </c:cat>
          <c:val>
            <c:numRef>
              <c:f>Sheet1!$E$2:$E$19</c:f>
              <c:numCache>
                <c:formatCode>General</c:formatCode>
                <c:ptCount val="18"/>
                <c:pt idx="0">
                  <c:v>0.8451977220731978</c:v>
                </c:pt>
                <c:pt idx="1">
                  <c:v>0.84872799066902</c:v>
                </c:pt>
                <c:pt idx="2">
                  <c:v>0.8521008336864331</c:v>
                </c:pt>
                <c:pt idx="3">
                  <c:v>0.855326551599488</c:v>
                </c:pt>
                <c:pt idx="4">
                  <c:v>0.8584145654394136</c:v>
                </c:pt>
                <c:pt idx="5">
                  <c:v>0.8613735086904186</c:v>
                </c:pt>
                <c:pt idx="6">
                  <c:v>0.8642113078983936</c:v>
                </c:pt>
                <c:pt idx="7">
                  <c:v>0.8669352535774629</c:v>
                </c:pt>
                <c:pt idx="8">
                  <c:v>0.8695520627499809</c:v>
                </c:pt>
                <c:pt idx="9">
                  <c:v>0.872067934249499</c:v>
                </c:pt>
                <c:pt idx="10">
                  <c:v>0.8744885977452512</c:v>
                </c:pt>
                <c:pt idx="11">
                  <c:v>0.8768193573042994</c:v>
                </c:pt>
                <c:pt idx="12">
                  <c:v>0.8790651301884508</c:v>
                </c:pt>
                <c:pt idx="13">
                  <c:v>0.8812304814831966</c:v>
                </c:pt>
                <c:pt idx="14">
                  <c:v>0.8833196550718826</c:v>
                </c:pt>
                <c:pt idx="15">
                  <c:v>0.885336601397347</c:v>
                </c:pt>
                <c:pt idx="16">
                  <c:v>0.8872850023931441</c:v>
                </c:pt>
                <c:pt idx="17">
                  <c:v>0.8891682939153973</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70.0"/>
          <c:max val="13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1.1"/>
          <c:min val="0.7"/>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2</c:f>
              <c:strCache>
                <c:ptCount val="31"/>
                <c:pt idx="0">
                  <c:v>12.57</c:v>
                </c:pt>
                <c:pt idx="1">
                  <c:v>12.77</c:v>
                </c:pt>
                <c:pt idx="2">
                  <c:v>12.97</c:v>
                </c:pt>
                <c:pt idx="3">
                  <c:v>13.17</c:v>
                </c:pt>
                <c:pt idx="4">
                  <c:v>13.37</c:v>
                </c:pt>
                <c:pt idx="5">
                  <c:v>13.57</c:v>
                </c:pt>
                <c:pt idx="6">
                  <c:v>13.77</c:v>
                </c:pt>
                <c:pt idx="7">
                  <c:v>13.97</c:v>
                </c:pt>
                <c:pt idx="8">
                  <c:v>14.17</c:v>
                </c:pt>
                <c:pt idx="9">
                  <c:v>14.37</c:v>
                </c:pt>
                <c:pt idx="10">
                  <c:v>14.57</c:v>
                </c:pt>
                <c:pt idx="11">
                  <c:v>14.77</c:v>
                </c:pt>
                <c:pt idx="12">
                  <c:v>14.97</c:v>
                </c:pt>
                <c:pt idx="13">
                  <c:v>15.17</c:v>
                </c:pt>
                <c:pt idx="14">
                  <c:v>15.37</c:v>
                </c:pt>
                <c:pt idx="15">
                  <c:v>15.57</c:v>
                </c:pt>
                <c:pt idx="16">
                  <c:v>15.77</c:v>
                </c:pt>
                <c:pt idx="17">
                  <c:v>15.97</c:v>
                </c:pt>
                <c:pt idx="18">
                  <c:v>16.17</c:v>
                </c:pt>
                <c:pt idx="19">
                  <c:v>16.37</c:v>
                </c:pt>
                <c:pt idx="20">
                  <c:v>16.57</c:v>
                </c:pt>
                <c:pt idx="21">
                  <c:v>16.77</c:v>
                </c:pt>
                <c:pt idx="22">
                  <c:v>16.97</c:v>
                </c:pt>
                <c:pt idx="23">
                  <c:v>17.17</c:v>
                </c:pt>
                <c:pt idx="24">
                  <c:v>17.37</c:v>
                </c:pt>
                <c:pt idx="25">
                  <c:v>17.57</c:v>
                </c:pt>
                <c:pt idx="26">
                  <c:v>17.77</c:v>
                </c:pt>
                <c:pt idx="27">
                  <c:v>17.97</c:v>
                </c:pt>
                <c:pt idx="28">
                  <c:v>18.17</c:v>
                </c:pt>
                <c:pt idx="29">
                  <c:v>18.37</c:v>
                </c:pt>
                <c:pt idx="30">
                  <c:v>18.57</c:v>
                </c:pt>
              </c:strCache>
            </c:strRef>
          </c:cat>
          <c:val>
            <c:numRef>
              <c:f>Sheet1!$B$2:$B$32</c:f>
              <c:numCache>
                <c:formatCode>General</c:formatCode>
                <c:ptCount val="31"/>
                <c:pt idx="0">
                  <c:v>109.4204571736438</c:v>
                </c:pt>
                <c:pt idx="1">
                  <c:v>108.49581772295993</c:v>
                </c:pt>
                <c:pt idx="2">
                  <c:v>107.57806010731505</c:v>
                </c:pt>
                <c:pt idx="3">
                  <c:v>106.66719180676549</c:v>
                </c:pt>
                <c:pt idx="4">
                  <c:v>105.76321954964226</c:v>
                </c:pt>
                <c:pt idx="5">
                  <c:v>104.94909156560064</c:v>
                </c:pt>
                <c:pt idx="6">
                  <c:v>104.22375257085044</c:v>
                </c:pt>
                <c:pt idx="7">
                  <c:v>103.50414078561614</c:v>
                </c:pt>
                <c:pt idx="8">
                  <c:v>102.79051308464553</c:v>
                </c:pt>
                <c:pt idx="9">
                  <c:v>102.08309884704747</c:v>
                </c:pt>
                <c:pt idx="10">
                  <c:v>101.38209892546574</c:v>
                </c:pt>
                <c:pt idx="11">
                  <c:v>100.68768510053079</c:v>
                </c:pt>
                <c:pt idx="12">
                  <c:v>100.0</c:v>
                </c:pt>
                <c:pt idx="13">
                  <c:v>99.30492119976067</c:v>
                </c:pt>
                <c:pt idx="14">
                  <c:v>98.61342662803845</c:v>
                </c:pt>
                <c:pt idx="15">
                  <c:v>97.92562017407198</c:v>
                </c:pt>
                <c:pt idx="16">
                  <c:v>97.24160293590066</c:v>
                </c:pt>
                <c:pt idx="17">
                  <c:v>96.56147283855867</c:v>
                </c:pt>
                <c:pt idx="18">
                  <c:v>95.45467884348055</c:v>
                </c:pt>
                <c:pt idx="19">
                  <c:v>94.35254090376533</c:v>
                </c:pt>
                <c:pt idx="20">
                  <c:v>93.25548943504097</c:v>
                </c:pt>
                <c:pt idx="21">
                  <c:v>92.16392081090962</c:v>
                </c:pt>
                <c:pt idx="22">
                  <c:v>91.07819625962931</c:v>
                </c:pt>
                <c:pt idx="23">
                  <c:v>89.99864136257703</c:v>
                </c:pt>
                <c:pt idx="24">
                  <c:v>88.92554619583393</c:v>
                </c:pt>
                <c:pt idx="25">
                  <c:v>87.85916613033213</c:v>
                </c:pt>
                <c:pt idx="26">
                  <c:v>86.79972327963038</c:v>
                </c:pt>
                <c:pt idx="27">
                  <c:v>85.74740856025548</c:v>
                </c:pt>
                <c:pt idx="28">
                  <c:v>84.7023843097731</c:v>
                </c:pt>
                <c:pt idx="29">
                  <c:v>83.66478739352834</c:v>
                </c:pt>
                <c:pt idx="30">
                  <c:v>82.63473272234735</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2</c:f>
              <c:strCache>
                <c:ptCount val="31"/>
                <c:pt idx="0">
                  <c:v>12.57</c:v>
                </c:pt>
                <c:pt idx="1">
                  <c:v>12.77</c:v>
                </c:pt>
                <c:pt idx="2">
                  <c:v>12.97</c:v>
                </c:pt>
                <c:pt idx="3">
                  <c:v>13.17</c:v>
                </c:pt>
                <c:pt idx="4">
                  <c:v>13.37</c:v>
                </c:pt>
                <c:pt idx="5">
                  <c:v>13.57</c:v>
                </c:pt>
                <c:pt idx="6">
                  <c:v>13.77</c:v>
                </c:pt>
                <c:pt idx="7">
                  <c:v>13.97</c:v>
                </c:pt>
                <c:pt idx="8">
                  <c:v>14.17</c:v>
                </c:pt>
                <c:pt idx="9">
                  <c:v>14.37</c:v>
                </c:pt>
                <c:pt idx="10">
                  <c:v>14.57</c:v>
                </c:pt>
                <c:pt idx="11">
                  <c:v>14.77</c:v>
                </c:pt>
                <c:pt idx="12">
                  <c:v>14.97</c:v>
                </c:pt>
                <c:pt idx="13">
                  <c:v>15.17</c:v>
                </c:pt>
                <c:pt idx="14">
                  <c:v>15.37</c:v>
                </c:pt>
                <c:pt idx="15">
                  <c:v>15.57</c:v>
                </c:pt>
                <c:pt idx="16">
                  <c:v>15.77</c:v>
                </c:pt>
                <c:pt idx="17">
                  <c:v>15.97</c:v>
                </c:pt>
                <c:pt idx="18">
                  <c:v>16.17</c:v>
                </c:pt>
                <c:pt idx="19">
                  <c:v>16.37</c:v>
                </c:pt>
                <c:pt idx="20">
                  <c:v>16.57</c:v>
                </c:pt>
                <c:pt idx="21">
                  <c:v>16.77</c:v>
                </c:pt>
                <c:pt idx="22">
                  <c:v>16.97</c:v>
                </c:pt>
                <c:pt idx="23">
                  <c:v>17.17</c:v>
                </c:pt>
                <c:pt idx="24">
                  <c:v>17.37</c:v>
                </c:pt>
                <c:pt idx="25">
                  <c:v>17.57</c:v>
                </c:pt>
                <c:pt idx="26">
                  <c:v>17.77</c:v>
                </c:pt>
                <c:pt idx="27">
                  <c:v>17.97</c:v>
                </c:pt>
                <c:pt idx="28">
                  <c:v>18.17</c:v>
                </c:pt>
                <c:pt idx="29">
                  <c:v>18.37</c:v>
                </c:pt>
                <c:pt idx="30">
                  <c:v>18.57</c:v>
                </c:pt>
              </c:strCache>
            </c:strRef>
          </c:cat>
          <c:val>
            <c:numRef>
              <c:f>Sheet1!$C$2:$C$32</c:f>
              <c:numCache>
                <c:formatCode>General</c:formatCode>
                <c:ptCount val="31"/>
                <c:pt idx="0">
                  <c:v>92.40593502821241</c:v>
                </c:pt>
                <c:pt idx="1">
                  <c:v>93.03305733784775</c:v>
                </c:pt>
                <c:pt idx="2">
                  <c:v>93.6414310885876</c:v>
                </c:pt>
                <c:pt idx="3">
                  <c:v>94.23137635734386</c:v>
                </c:pt>
                <c:pt idx="4">
                  <c:v>94.80321116262982</c:v>
                </c:pt>
                <c:pt idx="5">
                  <c:v>95.43401595375055</c:v>
                </c:pt>
                <c:pt idx="6">
                  <c:v>96.1262616084617</c:v>
                </c:pt>
                <c:pt idx="7">
                  <c:v>96.80438031586822</c:v>
                </c:pt>
                <c:pt idx="8">
                  <c:v>97.46887215154625</c:v>
                </c:pt>
                <c:pt idx="9">
                  <c:v>98.1202224024771</c:v>
                </c:pt>
                <c:pt idx="10">
                  <c:v>98.75889882540805</c:v>
                </c:pt>
                <c:pt idx="11">
                  <c:v>99.38534931448694</c:v>
                </c:pt>
                <c:pt idx="12">
                  <c:v>100.0</c:v>
                </c:pt>
                <c:pt idx="13">
                  <c:v>100.58934370367336</c:v>
                </c:pt>
                <c:pt idx="14">
                  <c:v>101.16388203672517</c:v>
                </c:pt>
                <c:pt idx="15">
                  <c:v>101.72388967297464</c:v>
                </c:pt>
                <c:pt idx="16">
                  <c:v>102.26964265193952</c:v>
                </c:pt>
                <c:pt idx="17">
                  <c:v>102.8014178098719</c:v>
                </c:pt>
                <c:pt idx="18">
                  <c:v>102.85426172096</c:v>
                </c:pt>
                <c:pt idx="19">
                  <c:v>102.88353510140485</c:v>
                </c:pt>
                <c:pt idx="20">
                  <c:v>102.88991841242027</c:v>
                </c:pt>
                <c:pt idx="21">
                  <c:v>102.87407411935246</c:v>
                </c:pt>
                <c:pt idx="22">
                  <c:v>102.83664339733103</c:v>
                </c:pt>
                <c:pt idx="23">
                  <c:v>102.77824344084645</c:v>
                </c:pt>
                <c:pt idx="24">
                  <c:v>102.69946547614256</c:v>
                </c:pt>
                <c:pt idx="25">
                  <c:v>102.60087354961698</c:v>
                </c:pt>
                <c:pt idx="26">
                  <c:v>102.48300413626212</c:v>
                </c:pt>
                <c:pt idx="27">
                  <c:v>102.34636658270979</c:v>
                </c:pt>
                <c:pt idx="28">
                  <c:v>102.19144437244474</c:v>
                </c:pt>
                <c:pt idx="29">
                  <c:v>102.01869717821313</c:v>
                </c:pt>
                <c:pt idx="30">
                  <c:v>101.82856364927974</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2</c:f>
              <c:strCache>
                <c:ptCount val="31"/>
                <c:pt idx="0">
                  <c:v>12.57</c:v>
                </c:pt>
                <c:pt idx="1">
                  <c:v>12.77</c:v>
                </c:pt>
                <c:pt idx="2">
                  <c:v>12.97</c:v>
                </c:pt>
                <c:pt idx="3">
                  <c:v>13.17</c:v>
                </c:pt>
                <c:pt idx="4">
                  <c:v>13.37</c:v>
                </c:pt>
                <c:pt idx="5">
                  <c:v>13.57</c:v>
                </c:pt>
                <c:pt idx="6">
                  <c:v>13.77</c:v>
                </c:pt>
                <c:pt idx="7">
                  <c:v>13.97</c:v>
                </c:pt>
                <c:pt idx="8">
                  <c:v>14.17</c:v>
                </c:pt>
                <c:pt idx="9">
                  <c:v>14.37</c:v>
                </c:pt>
                <c:pt idx="10">
                  <c:v>14.57</c:v>
                </c:pt>
                <c:pt idx="11">
                  <c:v>14.77</c:v>
                </c:pt>
                <c:pt idx="12">
                  <c:v>14.97</c:v>
                </c:pt>
                <c:pt idx="13">
                  <c:v>15.17</c:v>
                </c:pt>
                <c:pt idx="14">
                  <c:v>15.37</c:v>
                </c:pt>
                <c:pt idx="15">
                  <c:v>15.57</c:v>
                </c:pt>
                <c:pt idx="16">
                  <c:v>15.77</c:v>
                </c:pt>
                <c:pt idx="17">
                  <c:v>15.97</c:v>
                </c:pt>
                <c:pt idx="18">
                  <c:v>16.17</c:v>
                </c:pt>
                <c:pt idx="19">
                  <c:v>16.37</c:v>
                </c:pt>
                <c:pt idx="20">
                  <c:v>16.57</c:v>
                </c:pt>
                <c:pt idx="21">
                  <c:v>16.77</c:v>
                </c:pt>
                <c:pt idx="22">
                  <c:v>16.97</c:v>
                </c:pt>
                <c:pt idx="23">
                  <c:v>17.17</c:v>
                </c:pt>
                <c:pt idx="24">
                  <c:v>17.37</c:v>
                </c:pt>
                <c:pt idx="25">
                  <c:v>17.57</c:v>
                </c:pt>
                <c:pt idx="26">
                  <c:v>17.77</c:v>
                </c:pt>
                <c:pt idx="27">
                  <c:v>17.97</c:v>
                </c:pt>
                <c:pt idx="28">
                  <c:v>18.17</c:v>
                </c:pt>
                <c:pt idx="29">
                  <c:v>18.37</c:v>
                </c:pt>
                <c:pt idx="30">
                  <c:v>18.57</c:v>
                </c:pt>
              </c:strCache>
            </c:strRef>
          </c:cat>
          <c:val>
            <c:numRef>
              <c:f>Sheet1!$D$2:$D$32</c:f>
              <c:numCache>
                <c:formatCode>General</c:formatCode>
                <c:ptCount val="31"/>
                <c:pt idx="0">
                  <c:v>84.35143390162317</c:v>
                </c:pt>
                <c:pt idx="1">
                  <c:v>85.71227217647946</c:v>
                </c:pt>
                <c:pt idx="2">
                  <c:v>87.04252307867189</c:v>
                </c:pt>
                <c:pt idx="3">
                  <c:v>88.34262205430173</c:v>
                </c:pt>
                <c:pt idx="4">
                  <c:v>89.61300360005572</c:v>
                </c:pt>
                <c:pt idx="5">
                  <c:v>90.92733438312231</c:v>
                </c:pt>
                <c:pt idx="6">
                  <c:v>92.28990100539632</c:v>
                </c:pt>
                <c:pt idx="7">
                  <c:v>93.62932863096091</c:v>
                </c:pt>
                <c:pt idx="8">
                  <c:v>94.94621589616938</c:v>
                </c:pt>
                <c:pt idx="9">
                  <c:v>96.2411540537556</c:v>
                </c:pt>
                <c:pt idx="10">
                  <c:v>97.51472324189349</c:v>
                </c:pt>
                <c:pt idx="11">
                  <c:v>98.76748913199025</c:v>
                </c:pt>
                <c:pt idx="12">
                  <c:v>100.0</c:v>
                </c:pt>
                <c:pt idx="13">
                  <c:v>101.19881800897399</c:v>
                </c:pt>
                <c:pt idx="14">
                  <c:v>102.37431373391925</c:v>
                </c:pt>
                <c:pt idx="15">
                  <c:v>103.52682354487732</c:v>
                </c:pt>
                <c:pt idx="16">
                  <c:v>104.65668827608026</c:v>
                </c:pt>
                <c:pt idx="17">
                  <c:v>105.76425252569372</c:v>
                </c:pt>
                <c:pt idx="18">
                  <c:v>106.35948485957955</c:v>
                </c:pt>
                <c:pt idx="19">
                  <c:v>106.9173594787824</c:v>
                </c:pt>
                <c:pt idx="20">
                  <c:v>107.43868311692036</c:v>
                </c:pt>
                <c:pt idx="21">
                  <c:v>107.92425330593119</c:v>
                </c:pt>
                <c:pt idx="22">
                  <c:v>108.37485380921035</c:v>
                </c:pt>
                <c:pt idx="23">
                  <c:v>108.7912506802484</c:v>
                </c:pt>
                <c:pt idx="24">
                  <c:v>109.17418907623329</c:v>
                </c:pt>
                <c:pt idx="25">
                  <c:v>109.52439092963834</c:v>
                </c:pt>
                <c:pt idx="26">
                  <c:v>109.84255354936283</c:v>
                </c:pt>
                <c:pt idx="27">
                  <c:v>110.12934918998232</c:v>
                </c:pt>
                <c:pt idx="28">
                  <c:v>110.38542559630378</c:v>
                </c:pt>
                <c:pt idx="29">
                  <c:v>110.61140750314047</c:v>
                </c:pt>
                <c:pt idx="30">
                  <c:v>110.80789904809438</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2</c:f>
              <c:strCache>
                <c:ptCount val="31"/>
                <c:pt idx="0">
                  <c:v>12.57</c:v>
                </c:pt>
                <c:pt idx="1">
                  <c:v>12.77</c:v>
                </c:pt>
                <c:pt idx="2">
                  <c:v>12.97</c:v>
                </c:pt>
                <c:pt idx="3">
                  <c:v>13.17</c:v>
                </c:pt>
                <c:pt idx="4">
                  <c:v>13.37</c:v>
                </c:pt>
                <c:pt idx="5">
                  <c:v>13.57</c:v>
                </c:pt>
                <c:pt idx="6">
                  <c:v>13.77</c:v>
                </c:pt>
                <c:pt idx="7">
                  <c:v>13.97</c:v>
                </c:pt>
                <c:pt idx="8">
                  <c:v>14.17</c:v>
                </c:pt>
                <c:pt idx="9">
                  <c:v>14.37</c:v>
                </c:pt>
                <c:pt idx="10">
                  <c:v>14.57</c:v>
                </c:pt>
                <c:pt idx="11">
                  <c:v>14.77</c:v>
                </c:pt>
                <c:pt idx="12">
                  <c:v>14.97</c:v>
                </c:pt>
                <c:pt idx="13">
                  <c:v>15.17</c:v>
                </c:pt>
                <c:pt idx="14">
                  <c:v>15.37</c:v>
                </c:pt>
                <c:pt idx="15">
                  <c:v>15.57</c:v>
                </c:pt>
                <c:pt idx="16">
                  <c:v>15.77</c:v>
                </c:pt>
                <c:pt idx="17">
                  <c:v>15.97</c:v>
                </c:pt>
                <c:pt idx="18">
                  <c:v>16.17</c:v>
                </c:pt>
                <c:pt idx="19">
                  <c:v>16.37</c:v>
                </c:pt>
                <c:pt idx="20">
                  <c:v>16.57</c:v>
                </c:pt>
                <c:pt idx="21">
                  <c:v>16.77</c:v>
                </c:pt>
                <c:pt idx="22">
                  <c:v>16.97</c:v>
                </c:pt>
                <c:pt idx="23">
                  <c:v>17.17</c:v>
                </c:pt>
                <c:pt idx="24">
                  <c:v>17.37</c:v>
                </c:pt>
                <c:pt idx="25">
                  <c:v>17.57</c:v>
                </c:pt>
                <c:pt idx="26">
                  <c:v>17.77</c:v>
                </c:pt>
                <c:pt idx="27">
                  <c:v>17.97</c:v>
                </c:pt>
                <c:pt idx="28">
                  <c:v>18.17</c:v>
                </c:pt>
                <c:pt idx="29">
                  <c:v>18.37</c:v>
                </c:pt>
                <c:pt idx="30">
                  <c:v>18.57</c:v>
                </c:pt>
              </c:strCache>
            </c:strRef>
          </c:cat>
          <c:val>
            <c:numRef>
              <c:f>Sheet1!$E$2:$E$32</c:f>
              <c:numCache>
                <c:formatCode>General</c:formatCode>
                <c:ptCount val="31"/>
                <c:pt idx="0">
                  <c:v>0.6353084120805544</c:v>
                </c:pt>
                <c:pt idx="1">
                  <c:v>0.6410201049218928</c:v>
                </c:pt>
                <c:pt idx="2">
                  <c:v>0.6465556468660425</c:v>
                </c:pt>
                <c:pt idx="3">
                  <c:v>0.6519230630108253</c:v>
                </c:pt>
                <c:pt idx="4">
                  <c:v>0.6571298982687039</c:v>
                </c:pt>
                <c:pt idx="5">
                  <c:v>0.6621832527525843</c:v>
                </c:pt>
                <c:pt idx="6">
                  <c:v>0.6670898140778917</c:v>
                </c:pt>
                <c:pt idx="7">
                  <c:v>0.6718558868899478</c:v>
                </c:pt>
                <c:pt idx="8">
                  <c:v>0.6764874198907953</c:v>
                </c:pt>
                <c:pt idx="9">
                  <c:v>0.6809900306090864</c:v>
                </c:pt>
                <c:pt idx="10">
                  <c:v>0.685369028129895</c:v>
                </c:pt>
                <c:pt idx="11">
                  <c:v>0.6896294339778315</c:v>
                </c:pt>
                <c:pt idx="12">
                  <c:v>0.6937760013261569</c:v>
                </c:pt>
                <c:pt idx="13">
                  <c:v>0.6978132326863923</c:v>
                </c:pt>
                <c:pt idx="14">
                  <c:v>0.7017453962168231</c:v>
                </c:pt>
                <c:pt idx="15">
                  <c:v>0.7055765407740893</c:v>
                </c:pt>
                <c:pt idx="16">
                  <c:v>0.7093105098194401</c:v>
                </c:pt>
                <c:pt idx="17">
                  <c:v>0.7129509542800607</c:v>
                </c:pt>
                <c:pt idx="18">
                  <c:v>0.7165013444559414</c:v>
                </c:pt>
                <c:pt idx="19">
                  <c:v>0.7199649810539139</c:v>
                </c:pt>
                <c:pt idx="20">
                  <c:v>0.7233450054226053</c:v>
                </c:pt>
                <c:pt idx="21">
                  <c:v>0.7266444090550132</c:v>
                </c:pt>
                <c:pt idx="22">
                  <c:v>0.7298660424191261</c:v>
                </c:pt>
                <c:pt idx="23">
                  <c:v>0.7330126231713786</c:v>
                </c:pt>
                <c:pt idx="24">
                  <c:v>0.7360867438026811</c:v>
                </c:pt>
                <c:pt idx="25">
                  <c:v>0.7390908787622408</c:v>
                </c:pt>
                <c:pt idx="26">
                  <c:v>0.7420273911003135</c:v>
                </c:pt>
                <c:pt idx="27">
                  <c:v>0.7448985386673661</c:v>
                </c:pt>
                <c:pt idx="28">
                  <c:v>0.7477064799038289</c:v>
                </c:pt>
                <c:pt idx="29">
                  <c:v>0.750453279251637</c:v>
                </c:pt>
                <c:pt idx="30">
                  <c:v>0.753140912216078</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70.0"/>
          <c:max val="13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58</c:f>
              <c:strCache>
                <c:ptCount val="57"/>
                <c:pt idx="0">
                  <c:v>22.97</c:v>
                </c:pt>
                <c:pt idx="1">
                  <c:v>23.17</c:v>
                </c:pt>
                <c:pt idx="2">
                  <c:v>23.37</c:v>
                </c:pt>
                <c:pt idx="3">
                  <c:v>23.57</c:v>
                </c:pt>
                <c:pt idx="4">
                  <c:v>23.77</c:v>
                </c:pt>
                <c:pt idx="5">
                  <c:v>23.97</c:v>
                </c:pt>
                <c:pt idx="6">
                  <c:v>24.17</c:v>
                </c:pt>
                <c:pt idx="7">
                  <c:v>24.37</c:v>
                </c:pt>
                <c:pt idx="8">
                  <c:v>24.57</c:v>
                </c:pt>
                <c:pt idx="9">
                  <c:v>24.77</c:v>
                </c:pt>
                <c:pt idx="10">
                  <c:v>24.97</c:v>
                </c:pt>
                <c:pt idx="11">
                  <c:v>25.17</c:v>
                </c:pt>
                <c:pt idx="12">
                  <c:v>25.37</c:v>
                </c:pt>
                <c:pt idx="13">
                  <c:v>25.57</c:v>
                </c:pt>
                <c:pt idx="14">
                  <c:v>25.77</c:v>
                </c:pt>
                <c:pt idx="15">
                  <c:v>25.97</c:v>
                </c:pt>
                <c:pt idx="16">
                  <c:v>26.17</c:v>
                </c:pt>
                <c:pt idx="17">
                  <c:v>26.37</c:v>
                </c:pt>
                <c:pt idx="18">
                  <c:v>26.57</c:v>
                </c:pt>
                <c:pt idx="19">
                  <c:v>26.77</c:v>
                </c:pt>
                <c:pt idx="20">
                  <c:v>26.97</c:v>
                </c:pt>
                <c:pt idx="21">
                  <c:v>27.17</c:v>
                </c:pt>
                <c:pt idx="22">
                  <c:v>27.37</c:v>
                </c:pt>
                <c:pt idx="23">
                  <c:v>27.57</c:v>
                </c:pt>
                <c:pt idx="24">
                  <c:v>27.77</c:v>
                </c:pt>
                <c:pt idx="25">
                  <c:v>27.97</c:v>
                </c:pt>
                <c:pt idx="26">
                  <c:v>28.17</c:v>
                </c:pt>
                <c:pt idx="27">
                  <c:v>28.37</c:v>
                </c:pt>
                <c:pt idx="28">
                  <c:v>28.57</c:v>
                </c:pt>
                <c:pt idx="29">
                  <c:v>28.77</c:v>
                </c:pt>
                <c:pt idx="30">
                  <c:v>28.97</c:v>
                </c:pt>
                <c:pt idx="31">
                  <c:v>29.17</c:v>
                </c:pt>
                <c:pt idx="32">
                  <c:v>29.37</c:v>
                </c:pt>
                <c:pt idx="33">
                  <c:v>29.57</c:v>
                </c:pt>
                <c:pt idx="34">
                  <c:v>29.77</c:v>
                </c:pt>
                <c:pt idx="35">
                  <c:v>29.97</c:v>
                </c:pt>
                <c:pt idx="36">
                  <c:v>30.17</c:v>
                </c:pt>
                <c:pt idx="37">
                  <c:v>30.37</c:v>
                </c:pt>
                <c:pt idx="38">
                  <c:v>30.57</c:v>
                </c:pt>
                <c:pt idx="39">
                  <c:v>30.77</c:v>
                </c:pt>
                <c:pt idx="40">
                  <c:v>30.97</c:v>
                </c:pt>
                <c:pt idx="41">
                  <c:v>31.17</c:v>
                </c:pt>
                <c:pt idx="42">
                  <c:v>31.37</c:v>
                </c:pt>
                <c:pt idx="43">
                  <c:v>31.57</c:v>
                </c:pt>
                <c:pt idx="44">
                  <c:v>31.77</c:v>
                </c:pt>
                <c:pt idx="45">
                  <c:v>31.97</c:v>
                </c:pt>
                <c:pt idx="46">
                  <c:v>32.17</c:v>
                </c:pt>
                <c:pt idx="47">
                  <c:v>32.37</c:v>
                </c:pt>
                <c:pt idx="48">
                  <c:v>32.57</c:v>
                </c:pt>
                <c:pt idx="49">
                  <c:v>32.77</c:v>
                </c:pt>
                <c:pt idx="50">
                  <c:v>32.97</c:v>
                </c:pt>
                <c:pt idx="51">
                  <c:v>33.17</c:v>
                </c:pt>
                <c:pt idx="52">
                  <c:v>33.37</c:v>
                </c:pt>
                <c:pt idx="53">
                  <c:v>33.57</c:v>
                </c:pt>
                <c:pt idx="54">
                  <c:v>33.77</c:v>
                </c:pt>
                <c:pt idx="55">
                  <c:v>33.97</c:v>
                </c:pt>
                <c:pt idx="56">
                  <c:v>34.17</c:v>
                </c:pt>
              </c:strCache>
            </c:strRef>
          </c:cat>
          <c:val>
            <c:numRef>
              <c:f>Sheet1!$B$2:$B$58</c:f>
              <c:numCache>
                <c:formatCode>General</c:formatCode>
                <c:ptCount val="57"/>
                <c:pt idx="0">
                  <c:v>119.10996765230308</c:v>
                </c:pt>
                <c:pt idx="1">
                  <c:v>118.16574641077224</c:v>
                </c:pt>
                <c:pt idx="2">
                  <c:v>117.24245519566708</c:v>
                </c:pt>
                <c:pt idx="3">
                  <c:v>116.33949910391281</c:v>
                </c:pt>
                <c:pt idx="4">
                  <c:v>115.4562886757711</c:v>
                </c:pt>
                <c:pt idx="5">
                  <c:v>114.59224118154383</c:v>
                </c:pt>
                <c:pt idx="6">
                  <c:v>113.51061745045673</c:v>
                </c:pt>
                <c:pt idx="7">
                  <c:v>112.44614694113102</c:v>
                </c:pt>
                <c:pt idx="8">
                  <c:v>111.39844902790243</c:v>
                </c:pt>
                <c:pt idx="9">
                  <c:v>110.36714463340932</c:v>
                </c:pt>
                <c:pt idx="10">
                  <c:v>109.35185703039005</c:v>
                </c:pt>
                <c:pt idx="11">
                  <c:v>108.35221257964218</c:v>
                </c:pt>
                <c:pt idx="12">
                  <c:v>107.36784140534164</c:v>
                </c:pt>
                <c:pt idx="13">
                  <c:v>106.39837800922007</c:v>
                </c:pt>
                <c:pt idx="14">
                  <c:v>105.44346182536654</c:v>
                </c:pt>
                <c:pt idx="15">
                  <c:v>104.50273771763239</c:v>
                </c:pt>
                <c:pt idx="16">
                  <c:v>103.57585642181833</c:v>
                </c:pt>
                <c:pt idx="17">
                  <c:v>102.66247493496114</c:v>
                </c:pt>
                <c:pt idx="18">
                  <c:v>101.76225685417852</c:v>
                </c:pt>
                <c:pt idx="19">
                  <c:v>100.87487266759906</c:v>
                </c:pt>
                <c:pt idx="20">
                  <c:v>100.0</c:v>
                </c:pt>
                <c:pt idx="21">
                  <c:v>99.51458100171563</c:v>
                </c:pt>
                <c:pt idx="22">
                  <c:v>99.03252788014568</c:v>
                </c:pt>
                <c:pt idx="23">
                  <c:v>98.5538050049333</c:v>
                </c:pt>
                <c:pt idx="24">
                  <c:v>98.07837711837621</c:v>
                </c:pt>
                <c:pt idx="25">
                  <c:v>97.60620933541921</c:v>
                </c:pt>
                <c:pt idx="26">
                  <c:v>97.13726714343896</c:v>
                </c:pt>
                <c:pt idx="27">
                  <c:v>96.6715164018373</c:v>
                </c:pt>
                <c:pt idx="28">
                  <c:v>96.20892334144946</c:v>
                </c:pt>
                <c:pt idx="29">
                  <c:v>95.7494545637798</c:v>
                </c:pt>
                <c:pt idx="30">
                  <c:v>95.29307704007444</c:v>
                </c:pt>
                <c:pt idx="31">
                  <c:v>94.83975811024307</c:v>
                </c:pt>
                <c:pt idx="32">
                  <c:v>94.38946548163696</c:v>
                </c:pt>
                <c:pt idx="33">
                  <c:v>93.94216722769225</c:v>
                </c:pt>
                <c:pt idx="34">
                  <c:v>93.49783178644861</c:v>
                </c:pt>
                <c:pt idx="35">
                  <c:v>93.05642795895004</c:v>
                </c:pt>
                <c:pt idx="36">
                  <c:v>92.61792490753493</c:v>
                </c:pt>
                <c:pt idx="37">
                  <c:v>92.18229215402545</c:v>
                </c:pt>
                <c:pt idx="38">
                  <c:v>91.74949957782094</c:v>
                </c:pt>
                <c:pt idx="39">
                  <c:v>91.31951741390206</c:v>
                </c:pt>
                <c:pt idx="40">
                  <c:v>90.89231625075223</c:v>
                </c:pt>
                <c:pt idx="41">
                  <c:v>90.46786702820364</c:v>
                </c:pt>
                <c:pt idx="42">
                  <c:v>90.04614103521169</c:v>
                </c:pt>
                <c:pt idx="43">
                  <c:v>89.62710990756449</c:v>
                </c:pt>
                <c:pt idx="44">
                  <c:v>89.21074562552967</c:v>
                </c:pt>
                <c:pt idx="45">
                  <c:v>88.79702051144871</c:v>
                </c:pt>
                <c:pt idx="46">
                  <c:v>88.38590722727648</c:v>
                </c:pt>
                <c:pt idx="47">
                  <c:v>87.97737877207665</c:v>
                </c:pt>
                <c:pt idx="48">
                  <c:v>87.5714084794721</c:v>
                </c:pt>
                <c:pt idx="49">
                  <c:v>87.16797001505554</c:v>
                </c:pt>
                <c:pt idx="50">
                  <c:v>86.76703737376634</c:v>
                </c:pt>
                <c:pt idx="51">
                  <c:v>86.36858487723215</c:v>
                </c:pt>
                <c:pt idx="52">
                  <c:v>85.97258717108186</c:v>
                </c:pt>
                <c:pt idx="53">
                  <c:v>85.57901922223206</c:v>
                </c:pt>
                <c:pt idx="54">
                  <c:v>85.18785631615006</c:v>
                </c:pt>
                <c:pt idx="55">
                  <c:v>84.799074054093</c:v>
                </c:pt>
                <c:pt idx="56">
                  <c:v>84.4126483503304</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58</c:f>
              <c:strCache>
                <c:ptCount val="57"/>
                <c:pt idx="0">
                  <c:v>22.97</c:v>
                </c:pt>
                <c:pt idx="1">
                  <c:v>23.17</c:v>
                </c:pt>
                <c:pt idx="2">
                  <c:v>23.37</c:v>
                </c:pt>
                <c:pt idx="3">
                  <c:v>23.57</c:v>
                </c:pt>
                <c:pt idx="4">
                  <c:v>23.77</c:v>
                </c:pt>
                <c:pt idx="5">
                  <c:v>23.97</c:v>
                </c:pt>
                <c:pt idx="6">
                  <c:v>24.17</c:v>
                </c:pt>
                <c:pt idx="7">
                  <c:v>24.37</c:v>
                </c:pt>
                <c:pt idx="8">
                  <c:v>24.57</c:v>
                </c:pt>
                <c:pt idx="9">
                  <c:v>24.77</c:v>
                </c:pt>
                <c:pt idx="10">
                  <c:v>24.97</c:v>
                </c:pt>
                <c:pt idx="11">
                  <c:v>25.17</c:v>
                </c:pt>
                <c:pt idx="12">
                  <c:v>25.37</c:v>
                </c:pt>
                <c:pt idx="13">
                  <c:v>25.57</c:v>
                </c:pt>
                <c:pt idx="14">
                  <c:v>25.77</c:v>
                </c:pt>
                <c:pt idx="15">
                  <c:v>25.97</c:v>
                </c:pt>
                <c:pt idx="16">
                  <c:v>26.17</c:v>
                </c:pt>
                <c:pt idx="17">
                  <c:v>26.37</c:v>
                </c:pt>
                <c:pt idx="18">
                  <c:v>26.57</c:v>
                </c:pt>
                <c:pt idx="19">
                  <c:v>26.77</c:v>
                </c:pt>
                <c:pt idx="20">
                  <c:v>26.97</c:v>
                </c:pt>
                <c:pt idx="21">
                  <c:v>27.17</c:v>
                </c:pt>
                <c:pt idx="22">
                  <c:v>27.37</c:v>
                </c:pt>
                <c:pt idx="23">
                  <c:v>27.57</c:v>
                </c:pt>
                <c:pt idx="24">
                  <c:v>27.77</c:v>
                </c:pt>
                <c:pt idx="25">
                  <c:v>27.97</c:v>
                </c:pt>
                <c:pt idx="26">
                  <c:v>28.17</c:v>
                </c:pt>
                <c:pt idx="27">
                  <c:v>28.37</c:v>
                </c:pt>
                <c:pt idx="28">
                  <c:v>28.57</c:v>
                </c:pt>
                <c:pt idx="29">
                  <c:v>28.77</c:v>
                </c:pt>
                <c:pt idx="30">
                  <c:v>28.97</c:v>
                </c:pt>
                <c:pt idx="31">
                  <c:v>29.17</c:v>
                </c:pt>
                <c:pt idx="32">
                  <c:v>29.37</c:v>
                </c:pt>
                <c:pt idx="33">
                  <c:v>29.57</c:v>
                </c:pt>
                <c:pt idx="34">
                  <c:v>29.77</c:v>
                </c:pt>
                <c:pt idx="35">
                  <c:v>29.97</c:v>
                </c:pt>
                <c:pt idx="36">
                  <c:v>30.17</c:v>
                </c:pt>
                <c:pt idx="37">
                  <c:v>30.37</c:v>
                </c:pt>
                <c:pt idx="38">
                  <c:v>30.57</c:v>
                </c:pt>
                <c:pt idx="39">
                  <c:v>30.77</c:v>
                </c:pt>
                <c:pt idx="40">
                  <c:v>30.97</c:v>
                </c:pt>
                <c:pt idx="41">
                  <c:v>31.17</c:v>
                </c:pt>
                <c:pt idx="42">
                  <c:v>31.37</c:v>
                </c:pt>
                <c:pt idx="43">
                  <c:v>31.57</c:v>
                </c:pt>
                <c:pt idx="44">
                  <c:v>31.77</c:v>
                </c:pt>
                <c:pt idx="45">
                  <c:v>31.97</c:v>
                </c:pt>
                <c:pt idx="46">
                  <c:v>32.17</c:v>
                </c:pt>
                <c:pt idx="47">
                  <c:v>32.37</c:v>
                </c:pt>
                <c:pt idx="48">
                  <c:v>32.57</c:v>
                </c:pt>
                <c:pt idx="49">
                  <c:v>32.77</c:v>
                </c:pt>
                <c:pt idx="50">
                  <c:v>32.97</c:v>
                </c:pt>
                <c:pt idx="51">
                  <c:v>33.17</c:v>
                </c:pt>
                <c:pt idx="52">
                  <c:v>33.37</c:v>
                </c:pt>
                <c:pt idx="53">
                  <c:v>33.57</c:v>
                </c:pt>
                <c:pt idx="54">
                  <c:v>33.77</c:v>
                </c:pt>
                <c:pt idx="55">
                  <c:v>33.97</c:v>
                </c:pt>
                <c:pt idx="56">
                  <c:v>34.17</c:v>
                </c:pt>
              </c:strCache>
            </c:strRef>
          </c:cat>
          <c:val>
            <c:numRef>
              <c:f>Sheet1!$C$2:$C$58</c:f>
              <c:numCache>
                <c:formatCode>General</c:formatCode>
                <c:ptCount val="57"/>
                <c:pt idx="0">
                  <c:v>101.58245364704375</c:v>
                </c:pt>
                <c:pt idx="1">
                  <c:v>101.64561966732668</c:v>
                </c:pt>
                <c:pt idx="2">
                  <c:v>101.71301362272882</c:v>
                </c:pt>
                <c:pt idx="3">
                  <c:v>101.78457627593683</c:v>
                </c:pt>
                <c:pt idx="4">
                  <c:v>101.86023583118904</c:v>
                </c:pt>
                <c:pt idx="5">
                  <c:v>101.93990927181622</c:v>
                </c:pt>
                <c:pt idx="6">
                  <c:v>101.81298196723128</c:v>
                </c:pt>
                <c:pt idx="7">
                  <c:v>101.68568368494783</c:v>
                </c:pt>
                <c:pt idx="8">
                  <c:v>101.55804501536258</c:v>
                </c:pt>
                <c:pt idx="9">
                  <c:v>101.43008686302339</c:v>
                </c:pt>
                <c:pt idx="10">
                  <c:v>101.3018212422947</c:v>
                </c:pt>
                <c:pt idx="11">
                  <c:v>101.17325204853853</c:v>
                </c:pt>
                <c:pt idx="12">
                  <c:v>101.04437580271428</c:v>
                </c:pt>
                <c:pt idx="13">
                  <c:v>100.91518236764843</c:v>
                </c:pt>
                <c:pt idx="14">
                  <c:v>100.78565563456667</c:v>
                </c:pt>
                <c:pt idx="15">
                  <c:v>100.65577417878275</c:v>
                </c:pt>
                <c:pt idx="16">
                  <c:v>100.52551188374392</c:v>
                </c:pt>
                <c:pt idx="17">
                  <c:v>100.39483853289302</c:v>
                </c:pt>
                <c:pt idx="18">
                  <c:v>100.26372036907777</c:v>
                </c:pt>
                <c:pt idx="19">
                  <c:v>100.13212062144494</c:v>
                </c:pt>
                <c:pt idx="20">
                  <c:v>100.0</c:v>
                </c:pt>
                <c:pt idx="21">
                  <c:v>100.24437246979834</c:v>
                </c:pt>
                <c:pt idx="22">
                  <c:v>100.48501186090502</c:v>
                </c:pt>
                <c:pt idx="23">
                  <c:v>100.72195724461702</c:v>
                </c:pt>
                <c:pt idx="24">
                  <c:v>100.95524699252125</c:v>
                </c:pt>
                <c:pt idx="25">
                  <c:v>101.184918791184</c:v>
                </c:pt>
                <c:pt idx="26">
                  <c:v>101.41100965659106</c:v>
                </c:pt>
                <c:pt idx="27">
                  <c:v>101.63355594834664</c:v>
                </c:pt>
                <c:pt idx="28">
                  <c:v>101.85259338362884</c:v>
                </c:pt>
                <c:pt idx="29">
                  <c:v>102.06815705090636</c:v>
                </c:pt>
                <c:pt idx="30">
                  <c:v>102.28028142341819</c:v>
                </c:pt>
                <c:pt idx="31">
                  <c:v>102.4890003724233</c:v>
                </c:pt>
                <c:pt idx="32">
                  <c:v>102.69434718021913</c:v>
                </c:pt>
                <c:pt idx="33">
                  <c:v>102.89635455293407</c:v>
                </c:pt>
                <c:pt idx="34">
                  <c:v>103.09505463309752</c:v>
                </c:pt>
                <c:pt idx="35">
                  <c:v>103.2904790119906</c:v>
                </c:pt>
                <c:pt idx="36">
                  <c:v>103.48265874177902</c:v>
                </c:pt>
                <c:pt idx="37">
                  <c:v>103.67162434743516</c:v>
                </c:pt>
                <c:pt idx="38">
                  <c:v>103.85740583845045</c:v>
                </c:pt>
                <c:pt idx="39">
                  <c:v>104.04003272034001</c:v>
                </c:pt>
                <c:pt idx="40">
                  <c:v>104.21953400594526</c:v>
                </c:pt>
                <c:pt idx="41">
                  <c:v>104.3959382265375</c:v>
                </c:pt>
                <c:pt idx="42">
                  <c:v>104.56927344272466</c:v>
                </c:pt>
                <c:pt idx="43">
                  <c:v>104.7395672551652</c:v>
                </c:pt>
                <c:pt idx="44">
                  <c:v>104.90684681508992</c:v>
                </c:pt>
                <c:pt idx="45">
                  <c:v>105.07113883464068</c:v>
                </c:pt>
                <c:pt idx="46">
                  <c:v>105.23246959702006</c:v>
                </c:pt>
                <c:pt idx="47">
                  <c:v>105.39086496646503</c:v>
                </c:pt>
                <c:pt idx="48">
                  <c:v>105.54635039803897</c:v>
                </c:pt>
                <c:pt idx="49">
                  <c:v>105.69895094724859</c:v>
                </c:pt>
                <c:pt idx="50">
                  <c:v>105.84869127949064</c:v>
                </c:pt>
                <c:pt idx="51">
                  <c:v>105.99559567932482</c:v>
                </c:pt>
                <c:pt idx="52">
                  <c:v>106.13968805958203</c:v>
                </c:pt>
                <c:pt idx="53">
                  <c:v>106.28099197030596</c:v>
                </c:pt>
                <c:pt idx="54">
                  <c:v>106.41953060753421</c:v>
                </c:pt>
                <c:pt idx="55">
                  <c:v>106.5553268219162</c:v>
                </c:pt>
                <c:pt idx="56">
                  <c:v>106.68840312717546</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58</c:f>
              <c:strCache>
                <c:ptCount val="57"/>
                <c:pt idx="0">
                  <c:v>22.97</c:v>
                </c:pt>
                <c:pt idx="1">
                  <c:v>23.17</c:v>
                </c:pt>
                <c:pt idx="2">
                  <c:v>23.37</c:v>
                </c:pt>
                <c:pt idx="3">
                  <c:v>23.57</c:v>
                </c:pt>
                <c:pt idx="4">
                  <c:v>23.77</c:v>
                </c:pt>
                <c:pt idx="5">
                  <c:v>23.97</c:v>
                </c:pt>
                <c:pt idx="6">
                  <c:v>24.17</c:v>
                </c:pt>
                <c:pt idx="7">
                  <c:v>24.37</c:v>
                </c:pt>
                <c:pt idx="8">
                  <c:v>24.57</c:v>
                </c:pt>
                <c:pt idx="9">
                  <c:v>24.77</c:v>
                </c:pt>
                <c:pt idx="10">
                  <c:v>24.97</c:v>
                </c:pt>
                <c:pt idx="11">
                  <c:v>25.17</c:v>
                </c:pt>
                <c:pt idx="12">
                  <c:v>25.37</c:v>
                </c:pt>
                <c:pt idx="13">
                  <c:v>25.57</c:v>
                </c:pt>
                <c:pt idx="14">
                  <c:v>25.77</c:v>
                </c:pt>
                <c:pt idx="15">
                  <c:v>25.97</c:v>
                </c:pt>
                <c:pt idx="16">
                  <c:v>26.17</c:v>
                </c:pt>
                <c:pt idx="17">
                  <c:v>26.37</c:v>
                </c:pt>
                <c:pt idx="18">
                  <c:v>26.57</c:v>
                </c:pt>
                <c:pt idx="19">
                  <c:v>26.77</c:v>
                </c:pt>
                <c:pt idx="20">
                  <c:v>26.97</c:v>
                </c:pt>
                <c:pt idx="21">
                  <c:v>27.17</c:v>
                </c:pt>
                <c:pt idx="22">
                  <c:v>27.37</c:v>
                </c:pt>
                <c:pt idx="23">
                  <c:v>27.57</c:v>
                </c:pt>
                <c:pt idx="24">
                  <c:v>27.77</c:v>
                </c:pt>
                <c:pt idx="25">
                  <c:v>27.97</c:v>
                </c:pt>
                <c:pt idx="26">
                  <c:v>28.17</c:v>
                </c:pt>
                <c:pt idx="27">
                  <c:v>28.37</c:v>
                </c:pt>
                <c:pt idx="28">
                  <c:v>28.57</c:v>
                </c:pt>
                <c:pt idx="29">
                  <c:v>28.77</c:v>
                </c:pt>
                <c:pt idx="30">
                  <c:v>28.97</c:v>
                </c:pt>
                <c:pt idx="31">
                  <c:v>29.17</c:v>
                </c:pt>
                <c:pt idx="32">
                  <c:v>29.37</c:v>
                </c:pt>
                <c:pt idx="33">
                  <c:v>29.57</c:v>
                </c:pt>
                <c:pt idx="34">
                  <c:v>29.77</c:v>
                </c:pt>
                <c:pt idx="35">
                  <c:v>29.97</c:v>
                </c:pt>
                <c:pt idx="36">
                  <c:v>30.17</c:v>
                </c:pt>
                <c:pt idx="37">
                  <c:v>30.37</c:v>
                </c:pt>
                <c:pt idx="38">
                  <c:v>30.57</c:v>
                </c:pt>
                <c:pt idx="39">
                  <c:v>30.77</c:v>
                </c:pt>
                <c:pt idx="40">
                  <c:v>30.97</c:v>
                </c:pt>
                <c:pt idx="41">
                  <c:v>31.17</c:v>
                </c:pt>
                <c:pt idx="42">
                  <c:v>31.37</c:v>
                </c:pt>
                <c:pt idx="43">
                  <c:v>31.57</c:v>
                </c:pt>
                <c:pt idx="44">
                  <c:v>31.77</c:v>
                </c:pt>
                <c:pt idx="45">
                  <c:v>31.97</c:v>
                </c:pt>
                <c:pt idx="46">
                  <c:v>32.17</c:v>
                </c:pt>
                <c:pt idx="47">
                  <c:v>32.37</c:v>
                </c:pt>
                <c:pt idx="48">
                  <c:v>32.57</c:v>
                </c:pt>
                <c:pt idx="49">
                  <c:v>32.77</c:v>
                </c:pt>
                <c:pt idx="50">
                  <c:v>32.97</c:v>
                </c:pt>
                <c:pt idx="51">
                  <c:v>33.17</c:v>
                </c:pt>
                <c:pt idx="52">
                  <c:v>33.37</c:v>
                </c:pt>
                <c:pt idx="53">
                  <c:v>33.57</c:v>
                </c:pt>
                <c:pt idx="54">
                  <c:v>33.77</c:v>
                </c:pt>
                <c:pt idx="55">
                  <c:v>33.97</c:v>
                </c:pt>
                <c:pt idx="56">
                  <c:v>34.17</c:v>
                </c:pt>
              </c:strCache>
            </c:strRef>
          </c:cat>
          <c:val>
            <c:numRef>
              <c:f>Sheet1!$D$2:$D$58</c:f>
              <c:numCache>
                <c:formatCode>General</c:formatCode>
                <c:ptCount val="57"/>
                <c:pt idx="0">
                  <c:v>93.64603537724352</c:v>
                </c:pt>
                <c:pt idx="1">
                  <c:v>94.16622329593677</c:v>
                </c:pt>
                <c:pt idx="2">
                  <c:v>94.683162373199</c:v>
                </c:pt>
                <c:pt idx="3">
                  <c:v>95.19703424961116</c:v>
                </c:pt>
                <c:pt idx="4">
                  <c:v>95.70799990589056</c:v>
                </c:pt>
                <c:pt idx="5">
                  <c:v>96.21620101561457</c:v>
                </c:pt>
                <c:pt idx="6">
                  <c:v>96.52124594020812</c:v>
                </c:pt>
                <c:pt idx="7">
                  <c:v>96.81798352660829</c:v>
                </c:pt>
                <c:pt idx="8">
                  <c:v>97.10662955280013</c:v>
                </c:pt>
                <c:pt idx="9">
                  <c:v>97.38738507718067</c:v>
                </c:pt>
                <c:pt idx="10">
                  <c:v>97.66043722405342</c:v>
                </c:pt>
                <c:pt idx="11">
                  <c:v>97.92595996336551</c:v>
                </c:pt>
                <c:pt idx="12">
                  <c:v>98.18411488103291</c:v>
                </c:pt>
                <c:pt idx="13">
                  <c:v>98.43505193657708</c:v>
                </c:pt>
                <c:pt idx="14">
                  <c:v>98.67891020516402</c:v>
                </c:pt>
                <c:pt idx="15">
                  <c:v>98.91581860148493</c:v>
                </c:pt>
                <c:pt idx="16">
                  <c:v>99.1458965832724</c:v>
                </c:pt>
                <c:pt idx="17">
                  <c:v>99.36925483256088</c:v>
                </c:pt>
                <c:pt idx="18">
                  <c:v>99.58599591313272</c:v>
                </c:pt>
                <c:pt idx="19">
                  <c:v>99.79621490286458</c:v>
                </c:pt>
                <c:pt idx="20">
                  <c:v>100.0</c:v>
                </c:pt>
                <c:pt idx="21">
                  <c:v>100.57722897918569</c:v>
                </c:pt>
                <c:pt idx="22">
                  <c:v>101.14755947751037</c:v>
                </c:pt>
                <c:pt idx="23">
                  <c:v>101.7110618953562</c:v>
                </c:pt>
                <c:pt idx="24">
                  <c:v>102.2678055124761</c:v>
                </c:pt>
                <c:pt idx="25">
                  <c:v>102.81785850761216</c:v>
                </c:pt>
                <c:pt idx="26">
                  <c:v>103.36128797789567</c:v>
                </c:pt>
                <c:pt idx="27">
                  <c:v>103.89815995803356</c:v>
                </c:pt>
                <c:pt idx="28">
                  <c:v>104.42853943927126</c:v>
                </c:pt>
                <c:pt idx="29">
                  <c:v>104.95249038813506</c:v>
                </c:pt>
                <c:pt idx="30">
                  <c:v>105.47007576494694</c:v>
                </c:pt>
                <c:pt idx="31">
                  <c:v>105.98135754211953</c:v>
                </c:pt>
                <c:pt idx="32">
                  <c:v>106.4863967222216</c:v>
                </c:pt>
                <c:pt idx="33">
                  <c:v>106.98525335581766</c:v>
                </c:pt>
                <c:pt idx="34">
                  <c:v>107.47798655908079</c:v>
                </c:pt>
                <c:pt idx="35">
                  <c:v>107.96465453118054</c:v>
                </c:pt>
                <c:pt idx="36">
                  <c:v>108.44531457144035</c:v>
                </c:pt>
                <c:pt idx="37">
                  <c:v>108.92002309627338</c:v>
                </c:pt>
                <c:pt idx="38">
                  <c:v>109.38883565589008</c:v>
                </c:pt>
                <c:pt idx="39">
                  <c:v>109.85180695078252</c:v>
                </c:pt>
                <c:pt idx="40">
                  <c:v>110.30899084798303</c:v>
                </c:pt>
                <c:pt idx="41">
                  <c:v>110.76044039710283</c:v>
                </c:pt>
                <c:pt idx="42">
                  <c:v>111.20620784614721</c:v>
                </c:pt>
                <c:pt idx="43">
                  <c:v>111.64634465711268</c:v>
                </c:pt>
                <c:pt idx="44">
                  <c:v>112.08090152136111</c:v>
                </c:pt>
                <c:pt idx="45">
                  <c:v>112.50992837478249</c:v>
                </c:pt>
                <c:pt idx="46">
                  <c:v>112.93347441273515</c:v>
                </c:pt>
                <c:pt idx="47">
                  <c:v>113.35158810477755</c:v>
                </c:pt>
                <c:pt idx="48">
                  <c:v>113.76431720918319</c:v>
                </c:pt>
                <c:pt idx="49">
                  <c:v>114.17170878724541</c:v>
                </c:pt>
                <c:pt idx="50">
                  <c:v>114.57380921737412</c:v>
                </c:pt>
                <c:pt idx="51">
                  <c:v>114.97066420898146</c:v>
                </c:pt>
                <c:pt idx="52">
                  <c:v>115.36231881616317</c:v>
                </c:pt>
                <c:pt idx="53">
                  <c:v>115.74881745117413</c:v>
                </c:pt>
                <c:pt idx="54">
                  <c:v>116.13020389770286</c:v>
                </c:pt>
                <c:pt idx="55">
                  <c:v>116.50652132394015</c:v>
                </c:pt>
                <c:pt idx="56">
                  <c:v>116.87781229545185</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58</c:f>
              <c:strCache>
                <c:ptCount val="57"/>
                <c:pt idx="0">
                  <c:v>22.97</c:v>
                </c:pt>
                <c:pt idx="1">
                  <c:v>23.17</c:v>
                </c:pt>
                <c:pt idx="2">
                  <c:v>23.37</c:v>
                </c:pt>
                <c:pt idx="3">
                  <c:v>23.57</c:v>
                </c:pt>
                <c:pt idx="4">
                  <c:v>23.77</c:v>
                </c:pt>
                <c:pt idx="5">
                  <c:v>23.97</c:v>
                </c:pt>
                <c:pt idx="6">
                  <c:v>24.17</c:v>
                </c:pt>
                <c:pt idx="7">
                  <c:v>24.37</c:v>
                </c:pt>
                <c:pt idx="8">
                  <c:v>24.57</c:v>
                </c:pt>
                <c:pt idx="9">
                  <c:v>24.77</c:v>
                </c:pt>
                <c:pt idx="10">
                  <c:v>24.97</c:v>
                </c:pt>
                <c:pt idx="11">
                  <c:v>25.17</c:v>
                </c:pt>
                <c:pt idx="12">
                  <c:v>25.37</c:v>
                </c:pt>
                <c:pt idx="13">
                  <c:v>25.57</c:v>
                </c:pt>
                <c:pt idx="14">
                  <c:v>25.77</c:v>
                </c:pt>
                <c:pt idx="15">
                  <c:v>25.97</c:v>
                </c:pt>
                <c:pt idx="16">
                  <c:v>26.17</c:v>
                </c:pt>
                <c:pt idx="17">
                  <c:v>26.37</c:v>
                </c:pt>
                <c:pt idx="18">
                  <c:v>26.57</c:v>
                </c:pt>
                <c:pt idx="19">
                  <c:v>26.77</c:v>
                </c:pt>
                <c:pt idx="20">
                  <c:v>26.97</c:v>
                </c:pt>
                <c:pt idx="21">
                  <c:v>27.17</c:v>
                </c:pt>
                <c:pt idx="22">
                  <c:v>27.37</c:v>
                </c:pt>
                <c:pt idx="23">
                  <c:v>27.57</c:v>
                </c:pt>
                <c:pt idx="24">
                  <c:v>27.77</c:v>
                </c:pt>
                <c:pt idx="25">
                  <c:v>27.97</c:v>
                </c:pt>
                <c:pt idx="26">
                  <c:v>28.17</c:v>
                </c:pt>
                <c:pt idx="27">
                  <c:v>28.37</c:v>
                </c:pt>
                <c:pt idx="28">
                  <c:v>28.57</c:v>
                </c:pt>
                <c:pt idx="29">
                  <c:v>28.77</c:v>
                </c:pt>
                <c:pt idx="30">
                  <c:v>28.97</c:v>
                </c:pt>
                <c:pt idx="31">
                  <c:v>29.17</c:v>
                </c:pt>
                <c:pt idx="32">
                  <c:v>29.37</c:v>
                </c:pt>
                <c:pt idx="33">
                  <c:v>29.57</c:v>
                </c:pt>
                <c:pt idx="34">
                  <c:v>29.77</c:v>
                </c:pt>
                <c:pt idx="35">
                  <c:v>29.97</c:v>
                </c:pt>
                <c:pt idx="36">
                  <c:v>30.17</c:v>
                </c:pt>
                <c:pt idx="37">
                  <c:v>30.37</c:v>
                </c:pt>
                <c:pt idx="38">
                  <c:v>30.57</c:v>
                </c:pt>
                <c:pt idx="39">
                  <c:v>30.77</c:v>
                </c:pt>
                <c:pt idx="40">
                  <c:v>30.97</c:v>
                </c:pt>
                <c:pt idx="41">
                  <c:v>31.17</c:v>
                </c:pt>
                <c:pt idx="42">
                  <c:v>31.37</c:v>
                </c:pt>
                <c:pt idx="43">
                  <c:v>31.57</c:v>
                </c:pt>
                <c:pt idx="44">
                  <c:v>31.77</c:v>
                </c:pt>
                <c:pt idx="45">
                  <c:v>31.97</c:v>
                </c:pt>
                <c:pt idx="46">
                  <c:v>32.17</c:v>
                </c:pt>
                <c:pt idx="47">
                  <c:v>32.37</c:v>
                </c:pt>
                <c:pt idx="48">
                  <c:v>32.57</c:v>
                </c:pt>
                <c:pt idx="49">
                  <c:v>32.77</c:v>
                </c:pt>
                <c:pt idx="50">
                  <c:v>32.97</c:v>
                </c:pt>
                <c:pt idx="51">
                  <c:v>33.17</c:v>
                </c:pt>
                <c:pt idx="52">
                  <c:v>33.37</c:v>
                </c:pt>
                <c:pt idx="53">
                  <c:v>33.57</c:v>
                </c:pt>
                <c:pt idx="54">
                  <c:v>33.77</c:v>
                </c:pt>
                <c:pt idx="55">
                  <c:v>33.97</c:v>
                </c:pt>
                <c:pt idx="56">
                  <c:v>34.17</c:v>
                </c:pt>
              </c:strCache>
            </c:strRef>
          </c:cat>
          <c:val>
            <c:numRef>
              <c:f>Sheet1!$E$2:$E$58</c:f>
              <c:numCache>
                <c:formatCode>General</c:formatCode>
                <c:ptCount val="57"/>
                <c:pt idx="0">
                  <c:v>0.6426865773706332</c:v>
                </c:pt>
                <c:pt idx="1">
                  <c:v>0.6457708537852155</c:v>
                </c:pt>
                <c:pt idx="2">
                  <c:v>0.6488023398461037</c:v>
                </c:pt>
                <c:pt idx="3">
                  <c:v>0.6517823793892</c:v>
                </c:pt>
                <c:pt idx="4">
                  <c:v>0.654712271022442</c:v>
                </c:pt>
                <c:pt idx="5">
                  <c:v>0.6575932700126594</c:v>
                </c:pt>
                <c:pt idx="6">
                  <c:v>0.6604265900787523</c:v>
                </c:pt>
                <c:pt idx="7">
                  <c:v>0.6632134050965713</c:v>
                </c:pt>
                <c:pt idx="8">
                  <c:v>0.665954850720531</c:v>
                </c:pt>
                <c:pt idx="9">
                  <c:v>0.6686520259266631</c:v>
                </c:pt>
                <c:pt idx="10">
                  <c:v>0.6713059944815157</c:v>
                </c:pt>
                <c:pt idx="11">
                  <c:v>0.673917786341019</c:v>
                </c:pt>
                <c:pt idx="12">
                  <c:v>0.6764883989831867</c:v>
                </c:pt>
                <c:pt idx="13">
                  <c:v>0.6790187986782732</c:v>
                </c:pt>
                <c:pt idx="14">
                  <c:v>0.6815099216997844</c:v>
                </c:pt>
                <c:pt idx="15">
                  <c:v>0.6839626754795319</c:v>
                </c:pt>
                <c:pt idx="16">
                  <c:v>0.6863779397097227</c:v>
                </c:pt>
                <c:pt idx="17">
                  <c:v>0.6887565673948973</c:v>
                </c:pt>
                <c:pt idx="18">
                  <c:v>0.6910993858563584</c:v>
                </c:pt>
                <c:pt idx="19">
                  <c:v>0.6934071976915743</c:v>
                </c:pt>
                <c:pt idx="20">
                  <c:v>0.6956807816908953</c:v>
                </c:pt>
                <c:pt idx="21">
                  <c:v>0.6979208937137815</c:v>
                </c:pt>
                <c:pt idx="22">
                  <c:v>0.7001282675266147</c:v>
                </c:pt>
                <c:pt idx="23">
                  <c:v>0.7023036156040422</c:v>
                </c:pt>
                <c:pt idx="24">
                  <c:v>0.7044476298956949</c:v>
                </c:pt>
                <c:pt idx="25">
                  <c:v>0.7065609825600088</c:v>
                </c:pt>
                <c:pt idx="26">
                  <c:v>0.7086443266667889</c:v>
                </c:pt>
                <c:pt idx="27">
                  <c:v>0.7106982968700544</c:v>
                </c:pt>
                <c:pt idx="28">
                  <c:v>0.7127235100526231</c:v>
                </c:pt>
                <c:pt idx="29">
                  <c:v>0.7147205659438112</c:v>
                </c:pt>
                <c:pt idx="30">
                  <c:v>0.7166900477115444</c:v>
                </c:pt>
                <c:pt idx="31">
                  <c:v>0.7186325225301147</c:v>
                </c:pt>
                <c:pt idx="32">
                  <c:v>0.7205485421247342</c:v>
                </c:pt>
                <c:pt idx="33">
                  <c:v>0.7224386432939954</c:v>
                </c:pt>
                <c:pt idx="34">
                  <c:v>0.7243033484112679</c:v>
                </c:pt>
                <c:pt idx="35">
                  <c:v>0.7261431659060209</c:v>
                </c:pt>
                <c:pt idx="36">
                  <c:v>0.7279585907260008</c:v>
                </c:pt>
                <c:pt idx="37">
                  <c:v>0.7297501047811473</c:v>
                </c:pt>
                <c:pt idx="38">
                  <c:v>0.7315181773700832</c:v>
                </c:pt>
                <c:pt idx="39">
                  <c:v>0.7332632655899721</c:v>
                </c:pt>
                <c:pt idx="40">
                  <c:v>0.7349858147304954</c:v>
                </c:pt>
                <c:pt idx="41">
                  <c:v>0.736686258652661</c:v>
                </c:pt>
                <c:pt idx="42">
                  <c:v>0.7383650201531222</c:v>
                </c:pt>
                <c:pt idx="43">
                  <c:v>0.7400225113146482</c:v>
                </c:pt>
                <c:pt idx="44">
                  <c:v>0.7416591338433568</c:v>
                </c:pt>
                <c:pt idx="45">
                  <c:v>0.7432752793932887</c:v>
                </c:pt>
                <c:pt idx="46">
                  <c:v>0.744871329878876</c:v>
                </c:pt>
                <c:pt idx="47">
                  <c:v>0.7464476577758247</c:v>
                </c:pt>
                <c:pt idx="48">
                  <c:v>0.7480046264109134</c:v>
                </c:pt>
                <c:pt idx="49">
                  <c:v>0.7495425902411792</c:v>
                </c:pt>
                <c:pt idx="50">
                  <c:v>0.7510618951229434</c:v>
                </c:pt>
                <c:pt idx="51">
                  <c:v>0.7525628785711017</c:v>
                </c:pt>
                <c:pt idx="52">
                  <c:v>0.7540458700090933</c:v>
                </c:pt>
                <c:pt idx="53">
                  <c:v>0.7555111910099327</c:v>
                </c:pt>
                <c:pt idx="54">
                  <c:v>0.7569591555286775</c:v>
                </c:pt>
                <c:pt idx="55">
                  <c:v>0.7583900701266837</c:v>
                </c:pt>
                <c:pt idx="56">
                  <c:v>0.7598042341879848</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70.0"/>
          <c:max val="14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arrys Razor (6.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ollar Shave Club Razor (2.0%)</c:v>
                </c:pt>
                <c:pt idx="1">
                  <c:v>Bic Dispo (16.9%)</c:v>
                </c:pt>
                <c:pt idx="2">
                  <c:v>Gillette Razor (13.9%)</c:v>
                </c:pt>
                <c:pt idx="3">
                  <c:v>Gillette Dispo (17.5%)</c:v>
                </c:pt>
                <c:pt idx="4">
                  <c:v>Equate Dispo (19.1%)</c:v>
                </c:pt>
                <c:pt idx="5">
                  <c:v>Dollar Shave Club Blade (0.9%)</c:v>
                </c:pt>
                <c:pt idx="6">
                  <c:v>Gillette Blade (7.3%)</c:v>
                </c:pt>
                <c:pt idx="7">
                  <c:v>Schick Dispo (8.1%)</c:v>
                </c:pt>
                <c:pt idx="8">
                  <c:v>Van Der Hagen Razor (0.8%)</c:v>
                </c:pt>
                <c:pt idx="9">
                  <c:v>Equate Razor (1.1%)</c:v>
                </c:pt>
              </c:strCache>
            </c:strRef>
          </c:cat>
          <c:val>
            <c:numRef>
              <c:f>Sheet1!$B$2:$B$11</c:f>
              <c:numCache>
                <c:formatCode>General</c:formatCode>
                <c:ptCount val="10"/>
                <c:pt idx="0">
                  <c:v>0.20583366610666867</c:v>
                </c:pt>
                <c:pt idx="1">
                  <c:v>0.18071066085511234</c:v>
                </c:pt>
                <c:pt idx="2">
                  <c:v>0.1418063289921232</c:v>
                </c:pt>
                <c:pt idx="3">
                  <c:v>0.1078375647530948</c:v>
                </c:pt>
                <c:pt idx="4">
                  <c:v>0.09473263991310085</c:v>
                </c:pt>
                <c:pt idx="5">
                  <c:v>0.08434989153786177</c:v>
                </c:pt>
                <c:pt idx="6">
                  <c:v>0.05126972040769089</c:v>
                </c:pt>
                <c:pt idx="7">
                  <c:v>0.03623696501139442</c:v>
                </c:pt>
                <c:pt idx="8">
                  <c:v>0.029721950613385062</c:v>
                </c:pt>
                <c:pt idx="9">
                  <c:v>0.02811976451358728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2</c:f>
              <c:strCache>
                <c:ptCount val="31"/>
                <c:pt idx="0">
                  <c:v>12.57</c:v>
                </c:pt>
                <c:pt idx="1">
                  <c:v>12.77</c:v>
                </c:pt>
                <c:pt idx="2">
                  <c:v>12.97</c:v>
                </c:pt>
                <c:pt idx="3">
                  <c:v>13.17</c:v>
                </c:pt>
                <c:pt idx="4">
                  <c:v>13.37</c:v>
                </c:pt>
                <c:pt idx="5">
                  <c:v>13.57</c:v>
                </c:pt>
                <c:pt idx="6">
                  <c:v>13.77</c:v>
                </c:pt>
                <c:pt idx="7">
                  <c:v>13.97</c:v>
                </c:pt>
                <c:pt idx="8">
                  <c:v>14.17</c:v>
                </c:pt>
                <c:pt idx="9">
                  <c:v>14.37</c:v>
                </c:pt>
                <c:pt idx="10">
                  <c:v>14.57</c:v>
                </c:pt>
                <c:pt idx="11">
                  <c:v>14.77</c:v>
                </c:pt>
                <c:pt idx="12">
                  <c:v>14.97</c:v>
                </c:pt>
                <c:pt idx="13">
                  <c:v>15.17</c:v>
                </c:pt>
                <c:pt idx="14">
                  <c:v>15.37</c:v>
                </c:pt>
                <c:pt idx="15">
                  <c:v>15.57</c:v>
                </c:pt>
                <c:pt idx="16">
                  <c:v>15.77</c:v>
                </c:pt>
                <c:pt idx="17">
                  <c:v>15.97</c:v>
                </c:pt>
                <c:pt idx="18">
                  <c:v>16.17</c:v>
                </c:pt>
                <c:pt idx="19">
                  <c:v>16.37</c:v>
                </c:pt>
                <c:pt idx="20">
                  <c:v>16.57</c:v>
                </c:pt>
                <c:pt idx="21">
                  <c:v>16.77</c:v>
                </c:pt>
                <c:pt idx="22">
                  <c:v>16.97</c:v>
                </c:pt>
                <c:pt idx="23">
                  <c:v>17.17</c:v>
                </c:pt>
                <c:pt idx="24">
                  <c:v>17.37</c:v>
                </c:pt>
                <c:pt idx="25">
                  <c:v>17.57</c:v>
                </c:pt>
                <c:pt idx="26">
                  <c:v>17.77</c:v>
                </c:pt>
                <c:pt idx="27">
                  <c:v>17.97</c:v>
                </c:pt>
                <c:pt idx="28">
                  <c:v>18.17</c:v>
                </c:pt>
                <c:pt idx="29">
                  <c:v>18.37</c:v>
                </c:pt>
                <c:pt idx="30">
                  <c:v>18.57</c:v>
                </c:pt>
              </c:strCache>
            </c:strRef>
          </c:cat>
          <c:val>
            <c:numRef>
              <c:f>Sheet1!$B$2:$B$32</c:f>
              <c:numCache>
                <c:formatCode>General</c:formatCode>
                <c:ptCount val="31"/>
                <c:pt idx="0">
                  <c:v>113.87260254417357</c:v>
                </c:pt>
                <c:pt idx="1">
                  <c:v>112.57473673675263</c:v>
                </c:pt>
                <c:pt idx="2">
                  <c:v>111.29775679150791</c:v>
                </c:pt>
                <c:pt idx="3">
                  <c:v>110.0413242808213</c:v>
                </c:pt>
                <c:pt idx="4">
                  <c:v>108.80510230646341</c:v>
                </c:pt>
                <c:pt idx="5">
                  <c:v>107.61571707348428</c:v>
                </c:pt>
                <c:pt idx="6">
                  <c:v>106.47280271353941</c:v>
                </c:pt>
                <c:pt idx="7">
                  <c:v>105.34894968784099</c:v>
                </c:pt>
                <c:pt idx="8">
                  <c:v>104.24370473831334</c:v>
                </c:pt>
                <c:pt idx="9">
                  <c:v>103.15662143110518</c:v>
                </c:pt>
                <c:pt idx="10">
                  <c:v>102.08726120420178</c:v>
                </c:pt>
                <c:pt idx="11">
                  <c:v>101.03519421356579</c:v>
                </c:pt>
                <c:pt idx="12">
                  <c:v>100.0</c:v>
                </c:pt>
                <c:pt idx="13">
                  <c:v>98.87206086264044</c:v>
                </c:pt>
                <c:pt idx="14">
                  <c:v>97.76250617586763</c:v>
                </c:pt>
                <c:pt idx="15">
                  <c:v>96.6711016811262</c:v>
                </c:pt>
                <c:pt idx="16">
                  <c:v>95.59760529169698</c:v>
                </c:pt>
                <c:pt idx="17">
                  <c:v>94.5417680499438</c:v>
                </c:pt>
                <c:pt idx="18">
                  <c:v>92.7951055018873</c:v>
                </c:pt>
                <c:pt idx="19">
                  <c:v>91.09741223963874</c:v>
                </c:pt>
                <c:pt idx="20">
                  <c:v>89.44768689939325</c:v>
                </c:pt>
                <c:pt idx="21">
                  <c:v>87.84487277752278</c:v>
                </c:pt>
                <c:pt idx="22">
                  <c:v>86.28786873363214</c:v>
                </c:pt>
                <c:pt idx="23">
                  <c:v>84.77553916375844</c:v>
                </c:pt>
                <c:pt idx="24">
                  <c:v>83.306723039956</c:v>
                </c:pt>
                <c:pt idx="25">
                  <c:v>81.88024203409883</c:v>
                </c:pt>
                <c:pt idx="26">
                  <c:v>80.49490776005509</c:v>
                </c:pt>
                <c:pt idx="27">
                  <c:v>79.14952817999412</c:v>
                </c:pt>
                <c:pt idx="28">
                  <c:v>77.84291322813904</c:v>
                </c:pt>
                <c:pt idx="29">
                  <c:v>76.57387970955722</c:v>
                </c:pt>
                <c:pt idx="30">
                  <c:v>75.3412555332484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2</c:f>
              <c:strCache>
                <c:ptCount val="31"/>
                <c:pt idx="0">
                  <c:v>12.57</c:v>
                </c:pt>
                <c:pt idx="1">
                  <c:v>12.77</c:v>
                </c:pt>
                <c:pt idx="2">
                  <c:v>12.97</c:v>
                </c:pt>
                <c:pt idx="3">
                  <c:v>13.17</c:v>
                </c:pt>
                <c:pt idx="4">
                  <c:v>13.37</c:v>
                </c:pt>
                <c:pt idx="5">
                  <c:v>13.57</c:v>
                </c:pt>
                <c:pt idx="6">
                  <c:v>13.77</c:v>
                </c:pt>
                <c:pt idx="7">
                  <c:v>13.97</c:v>
                </c:pt>
                <c:pt idx="8">
                  <c:v>14.17</c:v>
                </c:pt>
                <c:pt idx="9">
                  <c:v>14.37</c:v>
                </c:pt>
                <c:pt idx="10">
                  <c:v>14.57</c:v>
                </c:pt>
                <c:pt idx="11">
                  <c:v>14.77</c:v>
                </c:pt>
                <c:pt idx="12">
                  <c:v>14.97</c:v>
                </c:pt>
                <c:pt idx="13">
                  <c:v>15.17</c:v>
                </c:pt>
                <c:pt idx="14">
                  <c:v>15.37</c:v>
                </c:pt>
                <c:pt idx="15">
                  <c:v>15.57</c:v>
                </c:pt>
                <c:pt idx="16">
                  <c:v>15.77</c:v>
                </c:pt>
                <c:pt idx="17">
                  <c:v>15.97</c:v>
                </c:pt>
                <c:pt idx="18">
                  <c:v>16.17</c:v>
                </c:pt>
                <c:pt idx="19">
                  <c:v>16.37</c:v>
                </c:pt>
                <c:pt idx="20">
                  <c:v>16.57</c:v>
                </c:pt>
                <c:pt idx="21">
                  <c:v>16.77</c:v>
                </c:pt>
                <c:pt idx="22">
                  <c:v>16.97</c:v>
                </c:pt>
                <c:pt idx="23">
                  <c:v>17.17</c:v>
                </c:pt>
                <c:pt idx="24">
                  <c:v>17.37</c:v>
                </c:pt>
                <c:pt idx="25">
                  <c:v>17.57</c:v>
                </c:pt>
                <c:pt idx="26">
                  <c:v>17.77</c:v>
                </c:pt>
                <c:pt idx="27">
                  <c:v>17.97</c:v>
                </c:pt>
                <c:pt idx="28">
                  <c:v>18.17</c:v>
                </c:pt>
                <c:pt idx="29">
                  <c:v>18.37</c:v>
                </c:pt>
                <c:pt idx="30">
                  <c:v>18.57</c:v>
                </c:pt>
              </c:strCache>
            </c:strRef>
          </c:cat>
          <c:val>
            <c:numRef>
              <c:f>Sheet1!$C$2:$C$32</c:f>
              <c:numCache>
                <c:formatCode>General</c:formatCode>
                <c:ptCount val="31"/>
                <c:pt idx="0">
                  <c:v>95.83055523432638</c:v>
                </c:pt>
                <c:pt idx="1">
                  <c:v>96.22525789412337</c:v>
                </c:pt>
                <c:pt idx="2">
                  <c:v>96.60362001131207</c:v>
                </c:pt>
                <c:pt idx="3">
                  <c:v>96.96618686873975</c:v>
                </c:pt>
                <c:pt idx="4">
                  <c:v>97.31348619271787</c:v>
                </c:pt>
                <c:pt idx="5">
                  <c:v>97.67074781622408</c:v>
                </c:pt>
                <c:pt idx="6">
                  <c:v>98.03948477937932</c:v>
                </c:pt>
                <c:pt idx="7">
                  <c:v>98.3956935954242</c:v>
                </c:pt>
                <c:pt idx="8">
                  <c:v>98.7397109726298</c:v>
                </c:pt>
                <c:pt idx="9">
                  <c:v>99.0718555833654</c:v>
                </c:pt>
                <c:pt idx="10">
                  <c:v>99.39242957990395</c:v>
                </c:pt>
                <c:pt idx="11">
                  <c:v>99.70171999055052</c:v>
                </c:pt>
                <c:pt idx="12">
                  <c:v>100.0</c:v>
                </c:pt>
                <c:pt idx="13">
                  <c:v>100.1769884028529</c:v>
                </c:pt>
                <c:pt idx="14">
                  <c:v>100.34300673506296</c:v>
                </c:pt>
                <c:pt idx="15">
                  <c:v>100.49854641197729</c:v>
                </c:pt>
                <c:pt idx="16">
                  <c:v>100.64407768167708</c:v>
                </c:pt>
                <c:pt idx="17">
                  <c:v>100.7800501689865</c:v>
                </c:pt>
                <c:pt idx="18">
                  <c:v>100.14278012461418</c:v>
                </c:pt>
                <c:pt idx="19">
                  <c:v>99.51305155771647</c:v>
                </c:pt>
                <c:pt idx="20">
                  <c:v>98.89168450426669</c:v>
                </c:pt>
                <c:pt idx="21">
                  <c:v>98.27938463586915</c:v>
                </c:pt>
                <c:pt idx="22">
                  <c:v>97.6767520021354</c:v>
                </c:pt>
                <c:pt idx="23">
                  <c:v>97.08428955667982</c:v>
                </c:pt>
                <c:pt idx="24">
                  <c:v>96.50241137869993</c:v>
                </c:pt>
                <c:pt idx="25">
                  <c:v>95.93145052680542</c:v>
                </c:pt>
                <c:pt idx="26">
                  <c:v>95.37166648277191</c:v>
                </c:pt>
                <c:pt idx="27">
                  <c:v>94.82325216020138</c:v>
                </c:pt>
                <c:pt idx="28">
                  <c:v>94.28634046684344</c:v>
                </c:pt>
                <c:pt idx="29">
                  <c:v>93.76101042001758</c:v>
                </c:pt>
                <c:pt idx="30">
                  <c:v>93.24729282254124</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2</c:f>
              <c:strCache>
                <c:ptCount val="31"/>
                <c:pt idx="0">
                  <c:v>12.57</c:v>
                </c:pt>
                <c:pt idx="1">
                  <c:v>12.77</c:v>
                </c:pt>
                <c:pt idx="2">
                  <c:v>12.97</c:v>
                </c:pt>
                <c:pt idx="3">
                  <c:v>13.17</c:v>
                </c:pt>
                <c:pt idx="4">
                  <c:v>13.37</c:v>
                </c:pt>
                <c:pt idx="5">
                  <c:v>13.57</c:v>
                </c:pt>
                <c:pt idx="6">
                  <c:v>13.77</c:v>
                </c:pt>
                <c:pt idx="7">
                  <c:v>13.97</c:v>
                </c:pt>
                <c:pt idx="8">
                  <c:v>14.17</c:v>
                </c:pt>
                <c:pt idx="9">
                  <c:v>14.37</c:v>
                </c:pt>
                <c:pt idx="10">
                  <c:v>14.57</c:v>
                </c:pt>
                <c:pt idx="11">
                  <c:v>14.77</c:v>
                </c:pt>
                <c:pt idx="12">
                  <c:v>14.97</c:v>
                </c:pt>
                <c:pt idx="13">
                  <c:v>15.17</c:v>
                </c:pt>
                <c:pt idx="14">
                  <c:v>15.37</c:v>
                </c:pt>
                <c:pt idx="15">
                  <c:v>15.57</c:v>
                </c:pt>
                <c:pt idx="16">
                  <c:v>15.77</c:v>
                </c:pt>
                <c:pt idx="17">
                  <c:v>15.97</c:v>
                </c:pt>
                <c:pt idx="18">
                  <c:v>16.17</c:v>
                </c:pt>
                <c:pt idx="19">
                  <c:v>16.37</c:v>
                </c:pt>
                <c:pt idx="20">
                  <c:v>16.57</c:v>
                </c:pt>
                <c:pt idx="21">
                  <c:v>16.77</c:v>
                </c:pt>
                <c:pt idx="22">
                  <c:v>16.97</c:v>
                </c:pt>
                <c:pt idx="23">
                  <c:v>17.17</c:v>
                </c:pt>
                <c:pt idx="24">
                  <c:v>17.37</c:v>
                </c:pt>
                <c:pt idx="25">
                  <c:v>17.57</c:v>
                </c:pt>
                <c:pt idx="26">
                  <c:v>17.77</c:v>
                </c:pt>
                <c:pt idx="27">
                  <c:v>17.97</c:v>
                </c:pt>
                <c:pt idx="28">
                  <c:v>18.17</c:v>
                </c:pt>
                <c:pt idx="29">
                  <c:v>18.37</c:v>
                </c:pt>
                <c:pt idx="30">
                  <c:v>18.57</c:v>
                </c:pt>
              </c:strCache>
            </c:strRef>
          </c:cat>
          <c:val>
            <c:numRef>
              <c:f>Sheet1!$D$2:$D$32</c:f>
              <c:numCache>
                <c:formatCode>General</c:formatCode>
                <c:ptCount val="31"/>
                <c:pt idx="0">
                  <c:v>87.91982865978667</c:v>
                </c:pt>
                <c:pt idx="1">
                  <c:v>89.05648420023499</c:v>
                </c:pt>
                <c:pt idx="2">
                  <c:v>90.1605276523198</c:v>
                </c:pt>
                <c:pt idx="3">
                  <c:v>91.23288294906972</c:v>
                </c:pt>
                <c:pt idx="4">
                  <c:v>92.27444884992957</c:v>
                </c:pt>
                <c:pt idx="5">
                  <c:v>93.30975860063377</c:v>
                </c:pt>
                <c:pt idx="6">
                  <c:v>94.34118638080892</c:v>
                </c:pt>
                <c:pt idx="7">
                  <c:v>95.34630672766772</c:v>
                </c:pt>
                <c:pt idx="8">
                  <c:v>96.32579589031111</c:v>
                </c:pt>
                <c:pt idx="9">
                  <c:v>97.28030152280671</c:v>
                </c:pt>
                <c:pt idx="10">
                  <c:v>98.2104443851519</c:v>
                </c:pt>
                <c:pt idx="11">
                  <c:v>99.11681996276056</c:v>
                </c:pt>
                <c:pt idx="12">
                  <c:v>100.0</c:v>
                </c:pt>
                <c:pt idx="13">
                  <c:v>100.74882408788535</c:v>
                </c:pt>
                <c:pt idx="14">
                  <c:v>101.47378029479522</c:v>
                </c:pt>
                <c:pt idx="15">
                  <c:v>102.17567637679394</c:v>
                </c:pt>
                <c:pt idx="16">
                  <c:v>102.85529342301032</c:v>
                </c:pt>
                <c:pt idx="17">
                  <c:v>103.51338618207504</c:v>
                </c:pt>
                <c:pt idx="18">
                  <c:v>103.35982845513074</c:v>
                </c:pt>
                <c:pt idx="19">
                  <c:v>103.1954747160593</c:v>
                </c:pt>
                <c:pt idx="20">
                  <c:v>103.02196466584093</c:v>
                </c:pt>
                <c:pt idx="21">
                  <c:v>102.8407962761247</c:v>
                </c:pt>
                <c:pt idx="22">
                  <c:v>102.65333361275641</c:v>
                </c:pt>
                <c:pt idx="23">
                  <c:v>102.46081476953061</c:v>
                </c:pt>
                <c:pt idx="24">
                  <c:v>102.2643597839511</c:v>
                </c:pt>
                <c:pt idx="25">
                  <c:v>102.0649784332748</c:v>
                </c:pt>
                <c:pt idx="26">
                  <c:v>101.86357783258819</c:v>
                </c:pt>
                <c:pt idx="27">
                  <c:v>101.66096977685295</c:v>
                </c:pt>
                <c:pt idx="28">
                  <c:v>101.45787778570734</c:v>
                </c:pt>
                <c:pt idx="29">
                  <c:v>101.25494382361306</c:v>
                </c:pt>
                <c:pt idx="30">
                  <c:v>101.05273467894418</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2</c:f>
              <c:strCache>
                <c:ptCount val="31"/>
                <c:pt idx="0">
                  <c:v>12.57</c:v>
                </c:pt>
                <c:pt idx="1">
                  <c:v>12.77</c:v>
                </c:pt>
                <c:pt idx="2">
                  <c:v>12.97</c:v>
                </c:pt>
                <c:pt idx="3">
                  <c:v>13.17</c:v>
                </c:pt>
                <c:pt idx="4">
                  <c:v>13.37</c:v>
                </c:pt>
                <c:pt idx="5">
                  <c:v>13.57</c:v>
                </c:pt>
                <c:pt idx="6">
                  <c:v>13.77</c:v>
                </c:pt>
                <c:pt idx="7">
                  <c:v>13.97</c:v>
                </c:pt>
                <c:pt idx="8">
                  <c:v>14.17</c:v>
                </c:pt>
                <c:pt idx="9">
                  <c:v>14.37</c:v>
                </c:pt>
                <c:pt idx="10">
                  <c:v>14.57</c:v>
                </c:pt>
                <c:pt idx="11">
                  <c:v>14.77</c:v>
                </c:pt>
                <c:pt idx="12">
                  <c:v>14.97</c:v>
                </c:pt>
                <c:pt idx="13">
                  <c:v>15.17</c:v>
                </c:pt>
                <c:pt idx="14">
                  <c:v>15.37</c:v>
                </c:pt>
                <c:pt idx="15">
                  <c:v>15.57</c:v>
                </c:pt>
                <c:pt idx="16">
                  <c:v>15.77</c:v>
                </c:pt>
                <c:pt idx="17">
                  <c:v>15.97</c:v>
                </c:pt>
                <c:pt idx="18">
                  <c:v>16.17</c:v>
                </c:pt>
                <c:pt idx="19">
                  <c:v>16.37</c:v>
                </c:pt>
                <c:pt idx="20">
                  <c:v>16.57</c:v>
                </c:pt>
                <c:pt idx="21">
                  <c:v>16.77</c:v>
                </c:pt>
                <c:pt idx="22">
                  <c:v>16.97</c:v>
                </c:pt>
                <c:pt idx="23">
                  <c:v>17.17</c:v>
                </c:pt>
                <c:pt idx="24">
                  <c:v>17.37</c:v>
                </c:pt>
                <c:pt idx="25">
                  <c:v>17.57</c:v>
                </c:pt>
                <c:pt idx="26">
                  <c:v>17.77</c:v>
                </c:pt>
                <c:pt idx="27">
                  <c:v>17.97</c:v>
                </c:pt>
                <c:pt idx="28">
                  <c:v>18.17</c:v>
                </c:pt>
                <c:pt idx="29">
                  <c:v>18.37</c:v>
                </c:pt>
                <c:pt idx="30">
                  <c:v>18.57</c:v>
                </c:pt>
              </c:strCache>
            </c:strRef>
          </c:cat>
          <c:val>
            <c:numRef>
              <c:f>Sheet1!$E$2:$E$32</c:f>
              <c:numCache>
                <c:formatCode>General</c:formatCode>
                <c:ptCount val="31"/>
                <c:pt idx="0">
                  <c:v>0.644371299678177</c:v>
                </c:pt>
                <c:pt idx="1">
                  <c:v>0.6499410522282448</c:v>
                </c:pt>
                <c:pt idx="2">
                  <c:v>0.6553390313766143</c:v>
                </c:pt>
                <c:pt idx="3">
                  <c:v>0.6605730627907886</c:v>
                </c:pt>
                <c:pt idx="4">
                  <c:v>0.6656505038859152</c:v>
                </c:pt>
                <c:pt idx="5">
                  <c:v>0.6705782783312223</c:v>
                </c:pt>
                <c:pt idx="6">
                  <c:v>0.67536290754936</c:v>
                </c:pt>
                <c:pt idx="7">
                  <c:v>0.680010539509999</c:v>
                </c:pt>
                <c:pt idx="8">
                  <c:v>0.6845269750850167</c:v>
                </c:pt>
                <c:pt idx="9">
                  <c:v>0.6889176922028315</c:v>
                </c:pt>
                <c:pt idx="10">
                  <c:v>0.6931878680133622</c:v>
                </c:pt>
                <c:pt idx="11">
                  <c:v>0.6973423992521792</c:v>
                </c:pt>
                <c:pt idx="12">
                  <c:v>0.701385920972257</c:v>
                </c:pt>
                <c:pt idx="13">
                  <c:v>0.7053228237939806</c:v>
                </c:pt>
                <c:pt idx="14">
                  <c:v>0.7091572698083726</c:v>
                </c:pt>
                <c:pt idx="15">
                  <c:v>0.7128932072546362</c:v>
                </c:pt>
                <c:pt idx="16">
                  <c:v>0.7165343840808298</c:v>
                </c:pt>
                <c:pt idx="17">
                  <c:v>0.7200843604855784</c:v>
                </c:pt>
                <c:pt idx="18">
                  <c:v>0.7235465205290467</c:v>
                </c:pt>
                <c:pt idx="19">
                  <c:v>0.7269240828927727</c:v>
                </c:pt>
                <c:pt idx="20">
                  <c:v>0.7302201108602707</c:v>
                </c:pt>
                <c:pt idx="21">
                  <c:v>0.7334375215834638</c:v>
                </c:pt>
                <c:pt idx="22">
                  <c:v>0.7365790946938532</c:v>
                </c:pt>
                <c:pt idx="23">
                  <c:v>0.7396474803118631</c:v>
                </c:pt>
                <c:pt idx="24">
                  <c:v>0.7426452065028605</c:v>
                </c:pt>
                <c:pt idx="25">
                  <c:v>0.7455746862239435</c:v>
                </c:pt>
                <c:pt idx="26">
                  <c:v>0.7484382238016143</c:v>
                </c:pt>
                <c:pt idx="27">
                  <c:v>0.7512380209768884</c:v>
                </c:pt>
                <c:pt idx="28">
                  <c:v>0.7539761825511662</c:v>
                </c:pt>
                <c:pt idx="29">
                  <c:v>0.7566547216632927</c:v>
                </c:pt>
                <c:pt idx="30">
                  <c:v>0.7592755647256159</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4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2</c:f>
              <c:strCache>
                <c:ptCount val="31"/>
                <c:pt idx="0">
                  <c:v>12.57</c:v>
                </c:pt>
                <c:pt idx="1">
                  <c:v>12.77</c:v>
                </c:pt>
                <c:pt idx="2">
                  <c:v>12.97</c:v>
                </c:pt>
                <c:pt idx="3">
                  <c:v>13.17</c:v>
                </c:pt>
                <c:pt idx="4">
                  <c:v>13.37</c:v>
                </c:pt>
                <c:pt idx="5">
                  <c:v>13.57</c:v>
                </c:pt>
                <c:pt idx="6">
                  <c:v>13.77</c:v>
                </c:pt>
                <c:pt idx="7">
                  <c:v>13.97</c:v>
                </c:pt>
                <c:pt idx="8">
                  <c:v>14.17</c:v>
                </c:pt>
                <c:pt idx="9">
                  <c:v>14.37</c:v>
                </c:pt>
                <c:pt idx="10">
                  <c:v>14.57</c:v>
                </c:pt>
                <c:pt idx="11">
                  <c:v>14.77</c:v>
                </c:pt>
                <c:pt idx="12">
                  <c:v>14.97</c:v>
                </c:pt>
                <c:pt idx="13">
                  <c:v>15.17</c:v>
                </c:pt>
                <c:pt idx="14">
                  <c:v>15.37</c:v>
                </c:pt>
                <c:pt idx="15">
                  <c:v>15.57</c:v>
                </c:pt>
                <c:pt idx="16">
                  <c:v>15.77</c:v>
                </c:pt>
                <c:pt idx="17">
                  <c:v>15.97</c:v>
                </c:pt>
                <c:pt idx="18">
                  <c:v>16.17</c:v>
                </c:pt>
                <c:pt idx="19">
                  <c:v>16.37</c:v>
                </c:pt>
                <c:pt idx="20">
                  <c:v>16.57</c:v>
                </c:pt>
                <c:pt idx="21">
                  <c:v>16.77</c:v>
                </c:pt>
                <c:pt idx="22">
                  <c:v>16.97</c:v>
                </c:pt>
                <c:pt idx="23">
                  <c:v>17.17</c:v>
                </c:pt>
                <c:pt idx="24">
                  <c:v>17.37</c:v>
                </c:pt>
                <c:pt idx="25">
                  <c:v>17.57</c:v>
                </c:pt>
                <c:pt idx="26">
                  <c:v>17.77</c:v>
                </c:pt>
                <c:pt idx="27">
                  <c:v>17.97</c:v>
                </c:pt>
                <c:pt idx="28">
                  <c:v>18.17</c:v>
                </c:pt>
                <c:pt idx="29">
                  <c:v>18.37</c:v>
                </c:pt>
                <c:pt idx="30">
                  <c:v>18.57</c:v>
                </c:pt>
              </c:strCache>
            </c:strRef>
          </c:cat>
          <c:val>
            <c:numRef>
              <c:f>Sheet1!$B$2:$B$32</c:f>
              <c:numCache>
                <c:formatCode>General</c:formatCode>
                <c:ptCount val="31"/>
                <c:pt idx="0">
                  <c:v>110.79668796004007</c:v>
                </c:pt>
                <c:pt idx="1">
                  <c:v>109.71883907107281</c:v>
                </c:pt>
                <c:pt idx="2">
                  <c:v>108.65580379028526</c:v>
                </c:pt>
                <c:pt idx="3">
                  <c:v>107.60731177432505</c:v>
                </c:pt>
                <c:pt idx="4">
                  <c:v>106.5730982543523</c:v>
                </c:pt>
                <c:pt idx="5">
                  <c:v>105.63930817840739</c:v>
                </c:pt>
                <c:pt idx="6">
                  <c:v>104.80338702152967</c:v>
                </c:pt>
                <c:pt idx="7">
                  <c:v>103.97792895584563</c:v>
                </c:pt>
                <c:pt idx="8">
                  <c:v>103.1627097028295</c:v>
                </c:pt>
                <c:pt idx="9">
                  <c:v>102.35751272812759</c:v>
                </c:pt>
                <c:pt idx="10">
                  <c:v>101.56212894098546</c:v>
                </c:pt>
                <c:pt idx="11">
                  <c:v>100.77635639613918</c:v>
                </c:pt>
                <c:pt idx="12">
                  <c:v>100.0</c:v>
                </c:pt>
                <c:pt idx="13">
                  <c:v>98.96284799692275</c:v>
                </c:pt>
                <c:pt idx="14">
                  <c:v>97.93745397399394</c:v>
                </c:pt>
                <c:pt idx="15">
                  <c:v>96.92368629303121</c:v>
                </c:pt>
                <c:pt idx="16">
                  <c:v>95.9214145730956</c:v>
                </c:pt>
                <c:pt idx="17">
                  <c:v>94.93050983393655</c:v>
                </c:pt>
                <c:pt idx="18">
                  <c:v>93.7769078145303</c:v>
                </c:pt>
                <c:pt idx="19">
                  <c:v>92.65130156883518</c:v>
                </c:pt>
                <c:pt idx="20">
                  <c:v>91.55298895887192</c:v>
                </c:pt>
                <c:pt idx="21">
                  <c:v>90.48127045957278</c:v>
                </c:pt>
                <c:pt idx="22">
                  <c:v>89.43545042481877</c:v>
                </c:pt>
                <c:pt idx="23">
                  <c:v>88.4148382344726</c:v>
                </c:pt>
                <c:pt idx="24">
                  <c:v>87.41874934726175</c:v>
                </c:pt>
                <c:pt idx="25">
                  <c:v>86.44650627734953</c:v>
                </c:pt>
                <c:pt idx="26">
                  <c:v>85.49743950648143</c:v>
                </c:pt>
                <c:pt idx="27">
                  <c:v>84.57088833877087</c:v>
                </c:pt>
                <c:pt idx="28">
                  <c:v>83.66620170149349</c:v>
                </c:pt>
                <c:pt idx="29">
                  <c:v>82.78273889262272</c:v>
                </c:pt>
                <c:pt idx="30">
                  <c:v>81.91987027411058</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2</c:f>
              <c:strCache>
                <c:ptCount val="31"/>
                <c:pt idx="0">
                  <c:v>12.57</c:v>
                </c:pt>
                <c:pt idx="1">
                  <c:v>12.77</c:v>
                </c:pt>
                <c:pt idx="2">
                  <c:v>12.97</c:v>
                </c:pt>
                <c:pt idx="3">
                  <c:v>13.17</c:v>
                </c:pt>
                <c:pt idx="4">
                  <c:v>13.37</c:v>
                </c:pt>
                <c:pt idx="5">
                  <c:v>13.57</c:v>
                </c:pt>
                <c:pt idx="6">
                  <c:v>13.77</c:v>
                </c:pt>
                <c:pt idx="7">
                  <c:v>13.97</c:v>
                </c:pt>
                <c:pt idx="8">
                  <c:v>14.17</c:v>
                </c:pt>
                <c:pt idx="9">
                  <c:v>14.37</c:v>
                </c:pt>
                <c:pt idx="10">
                  <c:v>14.57</c:v>
                </c:pt>
                <c:pt idx="11">
                  <c:v>14.77</c:v>
                </c:pt>
                <c:pt idx="12">
                  <c:v>14.97</c:v>
                </c:pt>
                <c:pt idx="13">
                  <c:v>15.17</c:v>
                </c:pt>
                <c:pt idx="14">
                  <c:v>15.37</c:v>
                </c:pt>
                <c:pt idx="15">
                  <c:v>15.57</c:v>
                </c:pt>
                <c:pt idx="16">
                  <c:v>15.77</c:v>
                </c:pt>
                <c:pt idx="17">
                  <c:v>15.97</c:v>
                </c:pt>
                <c:pt idx="18">
                  <c:v>16.17</c:v>
                </c:pt>
                <c:pt idx="19">
                  <c:v>16.37</c:v>
                </c:pt>
                <c:pt idx="20">
                  <c:v>16.57</c:v>
                </c:pt>
                <c:pt idx="21">
                  <c:v>16.77</c:v>
                </c:pt>
                <c:pt idx="22">
                  <c:v>16.97</c:v>
                </c:pt>
                <c:pt idx="23">
                  <c:v>17.17</c:v>
                </c:pt>
                <c:pt idx="24">
                  <c:v>17.37</c:v>
                </c:pt>
                <c:pt idx="25">
                  <c:v>17.57</c:v>
                </c:pt>
                <c:pt idx="26">
                  <c:v>17.77</c:v>
                </c:pt>
                <c:pt idx="27">
                  <c:v>17.97</c:v>
                </c:pt>
                <c:pt idx="28">
                  <c:v>18.17</c:v>
                </c:pt>
                <c:pt idx="29">
                  <c:v>18.37</c:v>
                </c:pt>
                <c:pt idx="30">
                  <c:v>18.57</c:v>
                </c:pt>
              </c:strCache>
            </c:strRef>
          </c:cat>
          <c:val>
            <c:numRef>
              <c:f>Sheet1!$C$2:$C$32</c:f>
              <c:numCache>
                <c:formatCode>General</c:formatCode>
                <c:ptCount val="31"/>
                <c:pt idx="0">
                  <c:v>93.2571584632339</c:v>
                </c:pt>
                <c:pt idx="1">
                  <c:v>93.79821685307097</c:v>
                </c:pt>
                <c:pt idx="2">
                  <c:v>94.3234265854488</c:v>
                </c:pt>
                <c:pt idx="3">
                  <c:v>94.83315316216948</c:v>
                </c:pt>
                <c:pt idx="4">
                  <c:v>95.32775192410696</c:v>
                </c:pt>
                <c:pt idx="5">
                  <c:v>95.886368436081</c:v>
                </c:pt>
                <c:pt idx="6">
                  <c:v>96.51059234737707</c:v>
                </c:pt>
                <c:pt idx="7">
                  <c:v>97.1222793725812</c:v>
                </c:pt>
                <c:pt idx="8">
                  <c:v>97.72164396427921</c:v>
                </c:pt>
                <c:pt idx="9">
                  <c:v>98.30889566241746</c:v>
                </c:pt>
                <c:pt idx="10">
                  <c:v>98.88423933481646</c:v>
                </c:pt>
                <c:pt idx="11">
                  <c:v>99.44787539507232</c:v>
                </c:pt>
                <c:pt idx="12">
                  <c:v>100.0</c:v>
                </c:pt>
                <c:pt idx="13">
                  <c:v>100.2669368189909</c:v>
                </c:pt>
                <c:pt idx="14">
                  <c:v>100.51849709904886</c:v>
                </c:pt>
                <c:pt idx="15">
                  <c:v>100.75501985828659</c:v>
                </c:pt>
                <c:pt idx="16">
                  <c:v>100.97683789459428</c:v>
                </c:pt>
                <c:pt idx="17">
                  <c:v>101.18427804756527</c:v>
                </c:pt>
                <c:pt idx="18">
                  <c:v>101.19041644595103</c:v>
                </c:pt>
                <c:pt idx="19">
                  <c:v>101.19671330214068</c:v>
                </c:pt>
                <c:pt idx="20">
                  <c:v>101.20349947268075</c:v>
                </c:pt>
                <c:pt idx="21">
                  <c:v>101.21107156192228</c:v>
                </c:pt>
                <c:pt idx="22">
                  <c:v>101.21969355910012</c:v>
                </c:pt>
                <c:pt idx="23">
                  <c:v>101.22959843568489</c:v>
                </c:pt>
                <c:pt idx="24">
                  <c:v>101.24098972110586</c:v>
                </c:pt>
                <c:pt idx="25">
                  <c:v>101.25404306931291</c:v>
                </c:pt>
                <c:pt idx="26">
                  <c:v>101.26890782345119</c:v>
                </c:pt>
                <c:pt idx="27">
                  <c:v>101.28570858138532</c:v>
                </c:pt>
                <c:pt idx="28">
                  <c:v>101.30454676106304</c:v>
                </c:pt>
                <c:pt idx="29">
                  <c:v>101.32550216183174</c:v>
                </c:pt>
                <c:pt idx="30">
                  <c:v>101.34863451574736</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2</c:f>
              <c:strCache>
                <c:ptCount val="31"/>
                <c:pt idx="0">
                  <c:v>12.57</c:v>
                </c:pt>
                <c:pt idx="1">
                  <c:v>12.77</c:v>
                </c:pt>
                <c:pt idx="2">
                  <c:v>12.97</c:v>
                </c:pt>
                <c:pt idx="3">
                  <c:v>13.17</c:v>
                </c:pt>
                <c:pt idx="4">
                  <c:v>13.37</c:v>
                </c:pt>
                <c:pt idx="5">
                  <c:v>13.57</c:v>
                </c:pt>
                <c:pt idx="6">
                  <c:v>13.77</c:v>
                </c:pt>
                <c:pt idx="7">
                  <c:v>13.97</c:v>
                </c:pt>
                <c:pt idx="8">
                  <c:v>14.17</c:v>
                </c:pt>
                <c:pt idx="9">
                  <c:v>14.37</c:v>
                </c:pt>
                <c:pt idx="10">
                  <c:v>14.57</c:v>
                </c:pt>
                <c:pt idx="11">
                  <c:v>14.77</c:v>
                </c:pt>
                <c:pt idx="12">
                  <c:v>14.97</c:v>
                </c:pt>
                <c:pt idx="13">
                  <c:v>15.17</c:v>
                </c:pt>
                <c:pt idx="14">
                  <c:v>15.37</c:v>
                </c:pt>
                <c:pt idx="15">
                  <c:v>15.57</c:v>
                </c:pt>
                <c:pt idx="16">
                  <c:v>15.77</c:v>
                </c:pt>
                <c:pt idx="17">
                  <c:v>15.97</c:v>
                </c:pt>
                <c:pt idx="18">
                  <c:v>16.17</c:v>
                </c:pt>
                <c:pt idx="19">
                  <c:v>16.37</c:v>
                </c:pt>
                <c:pt idx="20">
                  <c:v>16.57</c:v>
                </c:pt>
                <c:pt idx="21">
                  <c:v>16.77</c:v>
                </c:pt>
                <c:pt idx="22">
                  <c:v>16.97</c:v>
                </c:pt>
                <c:pt idx="23">
                  <c:v>17.17</c:v>
                </c:pt>
                <c:pt idx="24">
                  <c:v>17.37</c:v>
                </c:pt>
                <c:pt idx="25">
                  <c:v>17.57</c:v>
                </c:pt>
                <c:pt idx="26">
                  <c:v>17.77</c:v>
                </c:pt>
                <c:pt idx="27">
                  <c:v>17.97</c:v>
                </c:pt>
                <c:pt idx="28">
                  <c:v>18.17</c:v>
                </c:pt>
                <c:pt idx="29">
                  <c:v>18.37</c:v>
                </c:pt>
                <c:pt idx="30">
                  <c:v>18.57</c:v>
                </c:pt>
              </c:strCache>
            </c:strRef>
          </c:cat>
          <c:val>
            <c:numRef>
              <c:f>Sheet1!$D$2:$D$32</c:f>
              <c:numCache>
                <c:formatCode>General</c:formatCode>
                <c:ptCount val="31"/>
                <c:pt idx="0">
                  <c:v>88.16878571955984</c:v>
                </c:pt>
                <c:pt idx="1">
                  <c:v>89.17814063175162</c:v>
                </c:pt>
                <c:pt idx="2">
                  <c:v>90.16287232531481</c:v>
                </c:pt>
                <c:pt idx="3">
                  <c:v>91.1235202438631</c:v>
                </c:pt>
                <c:pt idx="4">
                  <c:v>92.06060969653693</c:v>
                </c:pt>
                <c:pt idx="5">
                  <c:v>93.05179932379771</c:v>
                </c:pt>
                <c:pt idx="6">
                  <c:v>94.09993616993468</c:v>
                </c:pt>
                <c:pt idx="7">
                  <c:v>95.12902106000277</c:v>
                </c:pt>
                <c:pt idx="8">
                  <c:v>96.13938577385784</c:v>
                </c:pt>
                <c:pt idx="9">
                  <c:v>97.13135391159848</c:v>
                </c:pt>
                <c:pt idx="10">
                  <c:v>98.10524127592744</c:v>
                </c:pt>
                <c:pt idx="11">
                  <c:v>99.06135622529185</c:v>
                </c:pt>
                <c:pt idx="12">
                  <c:v>100.0</c:v>
                </c:pt>
                <c:pt idx="13">
                  <c:v>100.64426370466894</c:v>
                </c:pt>
                <c:pt idx="14">
                  <c:v>101.26523311595454</c:v>
                </c:pt>
                <c:pt idx="15">
                  <c:v>101.86337906247694</c:v>
                </c:pt>
                <c:pt idx="16">
                  <c:v>102.43916444475613</c:v>
                </c:pt>
                <c:pt idx="17">
                  <c:v>102.99304450849871</c:v>
                </c:pt>
                <c:pt idx="18">
                  <c:v>103.33491661809215</c:v>
                </c:pt>
                <c:pt idx="19">
                  <c:v>103.6688253525684</c:v>
                </c:pt>
                <c:pt idx="20">
                  <c:v>103.99540617621115</c:v>
                </c:pt>
                <c:pt idx="21">
                  <c:v>104.31524938627001</c:v>
                </c:pt>
                <c:pt idx="22">
                  <c:v>104.62890184911238</c:v>
                </c:pt>
                <c:pt idx="23">
                  <c:v>104.93686872211356</c:v>
                </c:pt>
                <c:pt idx="24">
                  <c:v>105.23961517718547</c:v>
                </c:pt>
                <c:pt idx="25">
                  <c:v>105.5375681366512</c:v>
                </c:pt>
                <c:pt idx="26">
                  <c:v>105.83111802721557</c:v>
                </c:pt>
                <c:pt idx="27">
                  <c:v>106.12062055333875</c:v>
                </c:pt>
                <c:pt idx="28">
                  <c:v>106.40639848756726</c:v>
                </c:pt>
                <c:pt idx="29">
                  <c:v>106.68874347242982</c:v>
                </c:pt>
                <c:pt idx="30">
                  <c:v>106.96791782633966</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2</c:f>
              <c:strCache>
                <c:ptCount val="31"/>
                <c:pt idx="0">
                  <c:v>12.57</c:v>
                </c:pt>
                <c:pt idx="1">
                  <c:v>12.77</c:v>
                </c:pt>
                <c:pt idx="2">
                  <c:v>12.97</c:v>
                </c:pt>
                <c:pt idx="3">
                  <c:v>13.17</c:v>
                </c:pt>
                <c:pt idx="4">
                  <c:v>13.37</c:v>
                </c:pt>
                <c:pt idx="5">
                  <c:v>13.57</c:v>
                </c:pt>
                <c:pt idx="6">
                  <c:v>13.77</c:v>
                </c:pt>
                <c:pt idx="7">
                  <c:v>13.97</c:v>
                </c:pt>
                <c:pt idx="8">
                  <c:v>14.17</c:v>
                </c:pt>
                <c:pt idx="9">
                  <c:v>14.37</c:v>
                </c:pt>
                <c:pt idx="10">
                  <c:v>14.57</c:v>
                </c:pt>
                <c:pt idx="11">
                  <c:v>14.77</c:v>
                </c:pt>
                <c:pt idx="12">
                  <c:v>14.97</c:v>
                </c:pt>
                <c:pt idx="13">
                  <c:v>15.17</c:v>
                </c:pt>
                <c:pt idx="14">
                  <c:v>15.37</c:v>
                </c:pt>
                <c:pt idx="15">
                  <c:v>15.57</c:v>
                </c:pt>
                <c:pt idx="16">
                  <c:v>15.77</c:v>
                </c:pt>
                <c:pt idx="17">
                  <c:v>15.97</c:v>
                </c:pt>
                <c:pt idx="18">
                  <c:v>16.17</c:v>
                </c:pt>
                <c:pt idx="19">
                  <c:v>16.37</c:v>
                </c:pt>
                <c:pt idx="20">
                  <c:v>16.57</c:v>
                </c:pt>
                <c:pt idx="21">
                  <c:v>16.77</c:v>
                </c:pt>
                <c:pt idx="22">
                  <c:v>16.97</c:v>
                </c:pt>
                <c:pt idx="23">
                  <c:v>17.17</c:v>
                </c:pt>
                <c:pt idx="24">
                  <c:v>17.37</c:v>
                </c:pt>
                <c:pt idx="25">
                  <c:v>17.57</c:v>
                </c:pt>
                <c:pt idx="26">
                  <c:v>17.77</c:v>
                </c:pt>
                <c:pt idx="27">
                  <c:v>17.97</c:v>
                </c:pt>
                <c:pt idx="28">
                  <c:v>18.17</c:v>
                </c:pt>
                <c:pt idx="29">
                  <c:v>18.37</c:v>
                </c:pt>
                <c:pt idx="30">
                  <c:v>18.57</c:v>
                </c:pt>
              </c:strCache>
            </c:strRef>
          </c:cat>
          <c:val>
            <c:numRef>
              <c:f>Sheet1!$E$2:$E$32</c:f>
              <c:numCache>
                <c:formatCode>General</c:formatCode>
                <c:ptCount val="31"/>
                <c:pt idx="0">
                  <c:v>0.7405466034144212</c:v>
                </c:pt>
                <c:pt idx="1">
                  <c:v>0.7446100865246104</c:v>
                </c:pt>
                <c:pt idx="2">
                  <c:v>0.7485482501865284</c:v>
                </c:pt>
                <c:pt idx="3">
                  <c:v>0.7523668037144476</c:v>
                </c:pt>
                <c:pt idx="4">
                  <c:v>0.7560711148032367</c:v>
                </c:pt>
                <c:pt idx="5">
                  <c:v>0.7596662347029679</c:v>
                </c:pt>
                <c:pt idx="6">
                  <c:v>0.763156921199657</c:v>
                </c:pt>
                <c:pt idx="7">
                  <c:v>0.7665476596219953</c:v>
                </c:pt>
                <c:pt idx="8">
                  <c:v>0.769842682069109</c:v>
                </c:pt>
                <c:pt idx="9">
                  <c:v>0.7730459850326565</c:v>
                </c:pt>
                <c:pt idx="10">
                  <c:v>0.7761613455675549</c:v>
                </c:pt>
                <c:pt idx="11">
                  <c:v>0.7791923361489015</c:v>
                </c:pt>
                <c:pt idx="12">
                  <c:v>0.7821423383379609</c:v>
                </c:pt>
                <c:pt idx="13">
                  <c:v>0.7850145553671242</c:v>
                </c:pt>
                <c:pt idx="14">
                  <c:v>0.7878120237423081</c:v>
                </c:pt>
                <c:pt idx="15">
                  <c:v>0.7905376239511416</c:v>
                </c:pt>
                <c:pt idx="16">
                  <c:v>0.7931940903563268</c:v>
                </c:pt>
                <c:pt idx="17">
                  <c:v>0.7957840203456027</c:v>
                </c:pt>
                <c:pt idx="18">
                  <c:v>0.7983098828026762</c:v>
                </c:pt>
                <c:pt idx="19">
                  <c:v>0.8007740259571946</c:v>
                </c:pt>
                <c:pt idx="20">
                  <c:v>0.8031786846662206</c:v>
                </c:pt>
                <c:pt idx="21">
                  <c:v>0.8055259871746735</c:v>
                </c:pt>
                <c:pt idx="22">
                  <c:v>0.8078179613977179</c:v>
                </c:pt>
                <c:pt idx="23">
                  <c:v>0.8100565407640812</c:v>
                </c:pt>
                <c:pt idx="24">
                  <c:v>0.8122435696556866</c:v>
                </c:pt>
                <c:pt idx="25">
                  <c:v>0.8143808084757698</c:v>
                </c:pt>
                <c:pt idx="26">
                  <c:v>0.8164699383747482</c:v>
                </c:pt>
                <c:pt idx="27">
                  <c:v>0.818512565660505</c:v>
                </c:pt>
                <c:pt idx="28">
                  <c:v>0.8205102259174064</c:v>
                </c:pt>
                <c:pt idx="29">
                  <c:v>0.822464387856248</c:v>
                </c:pt>
                <c:pt idx="30">
                  <c:v>0.824376456915416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70.0"/>
          <c:max val="13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1.0"/>
          <c:min val="0.6"/>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1</c:f>
              <c:strCache>
                <c:ptCount val="10"/>
                <c:pt idx="0">
                  <c:v>4.37</c:v>
                </c:pt>
                <c:pt idx="1">
                  <c:v>4.57</c:v>
                </c:pt>
                <c:pt idx="2">
                  <c:v>4.77</c:v>
                </c:pt>
                <c:pt idx="3">
                  <c:v>4.97</c:v>
                </c:pt>
                <c:pt idx="4">
                  <c:v>5.17</c:v>
                </c:pt>
                <c:pt idx="5">
                  <c:v>5.37</c:v>
                </c:pt>
                <c:pt idx="6">
                  <c:v>5.57</c:v>
                </c:pt>
                <c:pt idx="7">
                  <c:v>5.77</c:v>
                </c:pt>
                <c:pt idx="8">
                  <c:v>5.97</c:v>
                </c:pt>
                <c:pt idx="9">
                  <c:v>6.17</c:v>
                </c:pt>
              </c:strCache>
            </c:strRef>
          </c:cat>
          <c:val>
            <c:numRef>
              <c:f>Sheet1!$B$2:$B$11</c:f>
              <c:numCache>
                <c:formatCode>General</c:formatCode>
                <c:ptCount val="10"/>
                <c:pt idx="0">
                  <c:v>108.980188626762</c:v>
                </c:pt>
                <c:pt idx="1">
                  <c:v>105.92755332828301</c:v>
                </c:pt>
                <c:pt idx="2">
                  <c:v>102.93398001085772</c:v>
                </c:pt>
                <c:pt idx="3">
                  <c:v>100.0</c:v>
                </c:pt>
                <c:pt idx="4">
                  <c:v>91.87050158979238</c:v>
                </c:pt>
                <c:pt idx="5">
                  <c:v>84.25812722222429</c:v>
                </c:pt>
                <c:pt idx="6">
                  <c:v>77.18426756075178</c:v>
                </c:pt>
                <c:pt idx="7">
                  <c:v>70.65572049337334</c:v>
                </c:pt>
                <c:pt idx="8">
                  <c:v>64.66648325196593</c:v>
                </c:pt>
                <c:pt idx="9">
                  <c:v>59.200028448291384</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1</c:f>
              <c:strCache>
                <c:ptCount val="10"/>
                <c:pt idx="0">
                  <c:v>4.37</c:v>
                </c:pt>
                <c:pt idx="1">
                  <c:v>4.57</c:v>
                </c:pt>
                <c:pt idx="2">
                  <c:v>4.77</c:v>
                </c:pt>
                <c:pt idx="3">
                  <c:v>4.97</c:v>
                </c:pt>
                <c:pt idx="4">
                  <c:v>5.17</c:v>
                </c:pt>
                <c:pt idx="5">
                  <c:v>5.37</c:v>
                </c:pt>
                <c:pt idx="6">
                  <c:v>5.57</c:v>
                </c:pt>
                <c:pt idx="7">
                  <c:v>5.77</c:v>
                </c:pt>
                <c:pt idx="8">
                  <c:v>5.97</c:v>
                </c:pt>
                <c:pt idx="9">
                  <c:v>6.17</c:v>
                </c:pt>
              </c:strCache>
            </c:strRef>
          </c:cat>
          <c:val>
            <c:numRef>
              <c:f>Sheet1!$C$2:$C$11</c:f>
              <c:numCache>
                <c:formatCode>General</c:formatCode>
                <c:ptCount val="10"/>
                <c:pt idx="0">
                  <c:v>95.84979009326699</c:v>
                </c:pt>
                <c:pt idx="1">
                  <c:v>97.41963134269517</c:v>
                </c:pt>
                <c:pt idx="2">
                  <c:v>98.80046089407428</c:v>
                </c:pt>
                <c:pt idx="3">
                  <c:v>100.0</c:v>
                </c:pt>
                <c:pt idx="4">
                  <c:v>95.5498827417664</c:v>
                </c:pt>
                <c:pt idx="5">
                  <c:v>91.00722887150056</c:v>
                </c:pt>
                <c:pt idx="6">
                  <c:v>86.45823761400781</c:v>
                </c:pt>
                <c:pt idx="7">
                  <c:v>81.97553974023795</c:v>
                </c:pt>
                <c:pt idx="8">
                  <c:v>77.61744621032184</c:v>
                </c:pt>
                <c:pt idx="9">
                  <c:v>73.42822510308022</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1</c:f>
              <c:strCache>
                <c:ptCount val="10"/>
                <c:pt idx="0">
                  <c:v>4.37</c:v>
                </c:pt>
                <c:pt idx="1">
                  <c:v>4.57</c:v>
                </c:pt>
                <c:pt idx="2">
                  <c:v>4.77</c:v>
                </c:pt>
                <c:pt idx="3">
                  <c:v>4.97</c:v>
                </c:pt>
                <c:pt idx="4">
                  <c:v>5.17</c:v>
                </c:pt>
                <c:pt idx="5">
                  <c:v>5.37</c:v>
                </c:pt>
                <c:pt idx="6">
                  <c:v>5.57</c:v>
                </c:pt>
                <c:pt idx="7">
                  <c:v>5.77</c:v>
                </c:pt>
                <c:pt idx="8">
                  <c:v>5.97</c:v>
                </c:pt>
                <c:pt idx="9">
                  <c:v>6.17</c:v>
                </c:pt>
              </c:strCache>
            </c:strRef>
          </c:cat>
          <c:val>
            <c:numRef>
              <c:f>Sheet1!$D$2:$D$11</c:f>
              <c:numCache>
                <c:formatCode>General</c:formatCode>
                <c:ptCount val="10"/>
                <c:pt idx="0">
                  <c:v>88.9262705443863</c:v>
                </c:pt>
                <c:pt idx="1">
                  <c:v>92.9336577169098</c:v>
                </c:pt>
                <c:pt idx="2">
                  <c:v>96.62106507136875</c:v>
                </c:pt>
                <c:pt idx="3">
                  <c:v>100.0</c:v>
                </c:pt>
                <c:pt idx="4">
                  <c:v>97.4904005928462</c:v>
                </c:pt>
                <c:pt idx="5">
                  <c:v>94.56566018806869</c:v>
                </c:pt>
                <c:pt idx="6">
                  <c:v>91.34648114818017</c:v>
                </c:pt>
                <c:pt idx="7">
                  <c:v>87.94049081281639</c:v>
                </c:pt>
                <c:pt idx="8">
                  <c:v>84.4401433778678</c:v>
                </c:pt>
                <c:pt idx="9">
                  <c:v>80.92194294819218</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1</c:f>
              <c:strCache>
                <c:ptCount val="10"/>
                <c:pt idx="0">
                  <c:v>4.37</c:v>
                </c:pt>
                <c:pt idx="1">
                  <c:v>4.57</c:v>
                </c:pt>
                <c:pt idx="2">
                  <c:v>4.77</c:v>
                </c:pt>
                <c:pt idx="3">
                  <c:v>4.97</c:v>
                </c:pt>
                <c:pt idx="4">
                  <c:v>5.17</c:v>
                </c:pt>
                <c:pt idx="5">
                  <c:v>5.37</c:v>
                </c:pt>
                <c:pt idx="6">
                  <c:v>5.57</c:v>
                </c:pt>
                <c:pt idx="7">
                  <c:v>5.77</c:v>
                </c:pt>
                <c:pt idx="8">
                  <c:v>5.97</c:v>
                </c:pt>
                <c:pt idx="9">
                  <c:v>6.17</c:v>
                </c:pt>
              </c:strCache>
            </c:strRef>
          </c:cat>
          <c:val>
            <c:numRef>
              <c:f>Sheet1!$E$2:$E$11</c:f>
              <c:numCache>
                <c:formatCode>General</c:formatCode>
                <c:ptCount val="10"/>
                <c:pt idx="0">
                  <c:v>0.6080390428468595</c:v>
                </c:pt>
                <c:pt idx="1">
                  <c:v>0.6251926952386819</c:v>
                </c:pt>
                <c:pt idx="2">
                  <c:v>0.6409078862139992</c:v>
                </c:pt>
                <c:pt idx="3">
                  <c:v>0.6553582730866754</c:v>
                </c:pt>
                <c:pt idx="4">
                  <c:v>0.6686906416326452</c:v>
                </c:pt>
                <c:pt idx="5">
                  <c:v>0.6810299101007031</c:v>
                </c:pt>
                <c:pt idx="6">
                  <c:v>0.6924830551599239</c:v>
                </c:pt>
                <c:pt idx="7">
                  <c:v>0.7031422213588867</c:v>
                </c:pt>
                <c:pt idx="8">
                  <c:v>0.7130872055679692</c:v>
                </c:pt>
                <c:pt idx="9">
                  <c:v>0.7223874582237887</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13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9</c:f>
              <c:strCache>
                <c:ptCount val="18"/>
                <c:pt idx="0">
                  <c:v>8.57</c:v>
                </c:pt>
                <c:pt idx="1">
                  <c:v>8.77</c:v>
                </c:pt>
                <c:pt idx="2">
                  <c:v>8.97</c:v>
                </c:pt>
                <c:pt idx="3">
                  <c:v>9.17</c:v>
                </c:pt>
                <c:pt idx="4">
                  <c:v>9.37</c:v>
                </c:pt>
                <c:pt idx="5">
                  <c:v>9.57</c:v>
                </c:pt>
                <c:pt idx="6">
                  <c:v>9.77</c:v>
                </c:pt>
                <c:pt idx="7">
                  <c:v>9.97</c:v>
                </c:pt>
                <c:pt idx="8">
                  <c:v>10.17</c:v>
                </c:pt>
                <c:pt idx="9">
                  <c:v>10.37</c:v>
                </c:pt>
                <c:pt idx="10">
                  <c:v>10.57</c:v>
                </c:pt>
                <c:pt idx="11">
                  <c:v>10.77</c:v>
                </c:pt>
                <c:pt idx="12">
                  <c:v>10.97</c:v>
                </c:pt>
                <c:pt idx="13">
                  <c:v>11.17</c:v>
                </c:pt>
                <c:pt idx="14">
                  <c:v>11.37</c:v>
                </c:pt>
                <c:pt idx="15">
                  <c:v>11.57</c:v>
                </c:pt>
                <c:pt idx="16">
                  <c:v>11.77</c:v>
                </c:pt>
                <c:pt idx="17">
                  <c:v>11.97</c:v>
                </c:pt>
              </c:strCache>
            </c:strRef>
          </c:cat>
          <c:val>
            <c:numRef>
              <c:f>Sheet1!$B$2:$B$19</c:f>
              <c:numCache>
                <c:formatCode>General</c:formatCode>
                <c:ptCount val="18"/>
                <c:pt idx="0">
                  <c:v>105.92371683870047</c:v>
                </c:pt>
                <c:pt idx="1">
                  <c:v>104.76133184186138</c:v>
                </c:pt>
                <c:pt idx="2">
                  <c:v>103.60760169584955</c:v>
                </c:pt>
                <c:pt idx="3">
                  <c:v>102.87155840894077</c:v>
                </c:pt>
                <c:pt idx="4">
                  <c:v>102.14285889773147</c:v>
                </c:pt>
                <c:pt idx="5">
                  <c:v>101.42142096072493</c:v>
                </c:pt>
                <c:pt idx="6">
                  <c:v>100.70716218308311</c:v>
                </c:pt>
                <c:pt idx="7">
                  <c:v>100.0</c:v>
                </c:pt>
                <c:pt idx="8">
                  <c:v>98.40818628751542</c:v>
                </c:pt>
                <c:pt idx="9">
                  <c:v>96.85363972136187</c:v>
                </c:pt>
                <c:pt idx="10">
                  <c:v>95.33539712379034</c:v>
                </c:pt>
                <c:pt idx="11">
                  <c:v>93.85249876726974</c:v>
                </c:pt>
                <c:pt idx="12">
                  <c:v>92.40399078382865</c:v>
                </c:pt>
                <c:pt idx="13">
                  <c:v>90.03950443985757</c:v>
                </c:pt>
                <c:pt idx="14">
                  <c:v>87.7341905131104</c:v>
                </c:pt>
                <c:pt idx="15">
                  <c:v>85.48686102596086</c:v>
                </c:pt>
                <c:pt idx="16">
                  <c:v>83.29630492994163</c:v>
                </c:pt>
                <c:pt idx="17">
                  <c:v>81.16129352867361</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9</c:f>
              <c:strCache>
                <c:ptCount val="18"/>
                <c:pt idx="0">
                  <c:v>8.57</c:v>
                </c:pt>
                <c:pt idx="1">
                  <c:v>8.77</c:v>
                </c:pt>
                <c:pt idx="2">
                  <c:v>8.97</c:v>
                </c:pt>
                <c:pt idx="3">
                  <c:v>9.17</c:v>
                </c:pt>
                <c:pt idx="4">
                  <c:v>9.37</c:v>
                </c:pt>
                <c:pt idx="5">
                  <c:v>9.57</c:v>
                </c:pt>
                <c:pt idx="6">
                  <c:v>9.77</c:v>
                </c:pt>
                <c:pt idx="7">
                  <c:v>9.97</c:v>
                </c:pt>
                <c:pt idx="8">
                  <c:v>10.17</c:v>
                </c:pt>
                <c:pt idx="9">
                  <c:v>10.37</c:v>
                </c:pt>
                <c:pt idx="10">
                  <c:v>10.57</c:v>
                </c:pt>
                <c:pt idx="11">
                  <c:v>10.77</c:v>
                </c:pt>
                <c:pt idx="12">
                  <c:v>10.97</c:v>
                </c:pt>
                <c:pt idx="13">
                  <c:v>11.17</c:v>
                </c:pt>
                <c:pt idx="14">
                  <c:v>11.37</c:v>
                </c:pt>
                <c:pt idx="15">
                  <c:v>11.57</c:v>
                </c:pt>
                <c:pt idx="16">
                  <c:v>11.77</c:v>
                </c:pt>
                <c:pt idx="17">
                  <c:v>11.97</c:v>
                </c:pt>
              </c:strCache>
            </c:strRef>
          </c:cat>
          <c:val>
            <c:numRef>
              <c:f>Sheet1!$C$2:$C$19</c:f>
              <c:numCache>
                <c:formatCode>General</c:formatCode>
                <c:ptCount val="18"/>
                <c:pt idx="0">
                  <c:v>91.06369496971773</c:v>
                </c:pt>
                <c:pt idx="1">
                  <c:v>92.16394486011669</c:v>
                </c:pt>
                <c:pt idx="2">
                  <c:v>93.22532737864499</c:v>
                </c:pt>
                <c:pt idx="3">
                  <c:v>94.62486327130473</c:v>
                </c:pt>
                <c:pt idx="4">
                  <c:v>96.00173665953125</c:v>
                </c:pt>
                <c:pt idx="5">
                  <c:v>97.35631280381406</c:v>
                </c:pt>
                <c:pt idx="6">
                  <c:v>98.6889500751518</c:v>
                </c:pt>
                <c:pt idx="7">
                  <c:v>100.0</c:v>
                </c:pt>
                <c:pt idx="8">
                  <c:v>100.37975414144572</c:v>
                </c:pt>
                <c:pt idx="9">
                  <c:v>100.73446068820442</c:v>
                </c:pt>
                <c:pt idx="10">
                  <c:v>101.06534143253809</c:v>
                </c:pt>
                <c:pt idx="11">
                  <c:v>101.37354443064265</c:v>
                </c:pt>
                <c:pt idx="12">
                  <c:v>101.66014702313913</c:v>
                </c:pt>
                <c:pt idx="13">
                  <c:v>100.86213244617656</c:v>
                </c:pt>
                <c:pt idx="14">
                  <c:v>100.03688595152546</c:v>
                </c:pt>
                <c:pt idx="15">
                  <c:v>99.18658568498152</c:v>
                </c:pt>
                <c:pt idx="16">
                  <c:v>98.31328706741216</c:v>
                </c:pt>
                <c:pt idx="17">
                  <c:v>97.41892703506625</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9</c:f>
              <c:strCache>
                <c:ptCount val="18"/>
                <c:pt idx="0">
                  <c:v>8.57</c:v>
                </c:pt>
                <c:pt idx="1">
                  <c:v>8.77</c:v>
                </c:pt>
                <c:pt idx="2">
                  <c:v>8.97</c:v>
                </c:pt>
                <c:pt idx="3">
                  <c:v>9.17</c:v>
                </c:pt>
                <c:pt idx="4">
                  <c:v>9.37</c:v>
                </c:pt>
                <c:pt idx="5">
                  <c:v>9.57</c:v>
                </c:pt>
                <c:pt idx="6">
                  <c:v>9.77</c:v>
                </c:pt>
                <c:pt idx="7">
                  <c:v>9.97</c:v>
                </c:pt>
                <c:pt idx="8">
                  <c:v>10.17</c:v>
                </c:pt>
                <c:pt idx="9">
                  <c:v>10.37</c:v>
                </c:pt>
                <c:pt idx="10">
                  <c:v>10.57</c:v>
                </c:pt>
                <c:pt idx="11">
                  <c:v>10.77</c:v>
                </c:pt>
                <c:pt idx="12">
                  <c:v>10.97</c:v>
                </c:pt>
                <c:pt idx="13">
                  <c:v>11.17</c:v>
                </c:pt>
                <c:pt idx="14">
                  <c:v>11.37</c:v>
                </c:pt>
                <c:pt idx="15">
                  <c:v>11.57</c:v>
                </c:pt>
                <c:pt idx="16">
                  <c:v>11.77</c:v>
                </c:pt>
                <c:pt idx="17">
                  <c:v>11.97</c:v>
                </c:pt>
              </c:strCache>
            </c:strRef>
          </c:cat>
          <c:val>
            <c:numRef>
              <c:f>Sheet1!$D$2:$D$19</c:f>
              <c:numCache>
                <c:formatCode>General</c:formatCode>
                <c:ptCount val="18"/>
                <c:pt idx="0">
                  <c:v>83.27052215509063</c:v>
                </c:pt>
                <c:pt idx="1">
                  <c:v>85.55723645704217</c:v>
                </c:pt>
                <c:pt idx="2">
                  <c:v>87.78016911877428</c:v>
                </c:pt>
                <c:pt idx="3">
                  <c:v>90.29967227482433</c:v>
                </c:pt>
                <c:pt idx="4">
                  <c:v>92.78081414490222</c:v>
                </c:pt>
                <c:pt idx="5">
                  <c:v>95.2241926788447</c:v>
                </c:pt>
                <c:pt idx="6">
                  <c:v>97.63039551248282</c:v>
                </c:pt>
                <c:pt idx="7">
                  <c:v>100.0</c:v>
                </c:pt>
                <c:pt idx="8">
                  <c:v>101.4134120291946</c:v>
                </c:pt>
                <c:pt idx="9">
                  <c:v>102.76906707242541</c:v>
                </c:pt>
                <c:pt idx="10">
                  <c:v>104.06933471775402</c:v>
                </c:pt>
                <c:pt idx="11">
                  <c:v>105.31647025642235</c:v>
                </c:pt>
                <c:pt idx="12">
                  <c:v>106.51261802156222</c:v>
                </c:pt>
                <c:pt idx="13">
                  <c:v>106.5350368856689</c:v>
                </c:pt>
                <c:pt idx="14">
                  <c:v>106.4848624085429</c:v>
                </c:pt>
                <c:pt idx="15">
                  <c:v>106.36604558500305</c:v>
                </c:pt>
                <c:pt idx="16">
                  <c:v>106.182361951444</c:v>
                </c:pt>
                <c:pt idx="17">
                  <c:v>105.9374152165535</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9</c:f>
              <c:strCache>
                <c:ptCount val="18"/>
                <c:pt idx="0">
                  <c:v>8.57</c:v>
                </c:pt>
                <c:pt idx="1">
                  <c:v>8.77</c:v>
                </c:pt>
                <c:pt idx="2">
                  <c:v>8.97</c:v>
                </c:pt>
                <c:pt idx="3">
                  <c:v>9.17</c:v>
                </c:pt>
                <c:pt idx="4">
                  <c:v>9.37</c:v>
                </c:pt>
                <c:pt idx="5">
                  <c:v>9.57</c:v>
                </c:pt>
                <c:pt idx="6">
                  <c:v>9.77</c:v>
                </c:pt>
                <c:pt idx="7">
                  <c:v>9.97</c:v>
                </c:pt>
                <c:pt idx="8">
                  <c:v>10.17</c:v>
                </c:pt>
                <c:pt idx="9">
                  <c:v>10.37</c:v>
                </c:pt>
                <c:pt idx="10">
                  <c:v>10.57</c:v>
                </c:pt>
                <c:pt idx="11">
                  <c:v>10.77</c:v>
                </c:pt>
                <c:pt idx="12">
                  <c:v>10.97</c:v>
                </c:pt>
                <c:pt idx="13">
                  <c:v>11.17</c:v>
                </c:pt>
                <c:pt idx="14">
                  <c:v>11.37</c:v>
                </c:pt>
                <c:pt idx="15">
                  <c:v>11.57</c:v>
                </c:pt>
                <c:pt idx="16">
                  <c:v>11.77</c:v>
                </c:pt>
                <c:pt idx="17">
                  <c:v>11.97</c:v>
                </c:pt>
              </c:strCache>
            </c:strRef>
          </c:cat>
          <c:val>
            <c:numRef>
              <c:f>Sheet1!$E$2:$E$19</c:f>
              <c:numCache>
                <c:formatCode>General</c:formatCode>
                <c:ptCount val="18"/>
                <c:pt idx="0">
                  <c:v>0.6002638546652921</c:v>
                </c:pt>
                <c:pt idx="1">
                  <c:v>0.6093798442966422</c:v>
                </c:pt>
                <c:pt idx="2">
                  <c:v>0.6180893237995041</c:v>
                </c:pt>
                <c:pt idx="3">
                  <c:v>0.6264188914374649</c:v>
                </c:pt>
                <c:pt idx="4">
                  <c:v>0.6343928745444561</c:v>
                </c:pt>
                <c:pt idx="5">
                  <c:v>0.6420335668214789</c:v>
                </c:pt>
                <c:pt idx="6">
                  <c:v>0.6493614364873647</c:v>
                </c:pt>
                <c:pt idx="7">
                  <c:v>0.6563953093762842</c:v>
                </c:pt>
                <c:pt idx="8">
                  <c:v>0.6631525304308312</c:v>
                </c:pt>
                <c:pt idx="9">
                  <c:v>0.6696491065073822</c:v>
                </c:pt>
                <c:pt idx="10">
                  <c:v>0.6758998329689263</c:v>
                </c:pt>
                <c:pt idx="11">
                  <c:v>0.681918406172846</c:v>
                </c:pt>
                <c:pt idx="12">
                  <c:v>0.6877175236537423</c:v>
                </c:pt>
                <c:pt idx="13">
                  <c:v>0.6933089735435589</c:v>
                </c:pt>
                <c:pt idx="14">
                  <c:v>0.6987037145542264</c:v>
                </c:pt>
                <c:pt idx="15">
                  <c:v>0.7039119476647842</c:v>
                </c:pt>
                <c:pt idx="16">
                  <c:v>0.7089431804997072</c:v>
                </c:pt>
                <c:pt idx="17">
                  <c:v>0.713806285253262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3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8</c:f>
              <c:strCache>
                <c:ptCount val="17"/>
                <c:pt idx="0">
                  <c:v>6.77</c:v>
                </c:pt>
                <c:pt idx="1">
                  <c:v>6.97</c:v>
                </c:pt>
                <c:pt idx="2">
                  <c:v>7.17</c:v>
                </c:pt>
                <c:pt idx="3">
                  <c:v>7.37</c:v>
                </c:pt>
                <c:pt idx="4">
                  <c:v>7.57</c:v>
                </c:pt>
                <c:pt idx="5">
                  <c:v>7.77</c:v>
                </c:pt>
                <c:pt idx="6">
                  <c:v>7.97</c:v>
                </c:pt>
                <c:pt idx="7">
                  <c:v>8.17</c:v>
                </c:pt>
                <c:pt idx="8">
                  <c:v>8.37</c:v>
                </c:pt>
                <c:pt idx="9">
                  <c:v>8.57</c:v>
                </c:pt>
                <c:pt idx="10">
                  <c:v>8.77</c:v>
                </c:pt>
                <c:pt idx="11">
                  <c:v>8.97</c:v>
                </c:pt>
                <c:pt idx="12">
                  <c:v>9.17</c:v>
                </c:pt>
                <c:pt idx="13">
                  <c:v>9.37</c:v>
                </c:pt>
                <c:pt idx="14">
                  <c:v>9.57</c:v>
                </c:pt>
                <c:pt idx="15">
                  <c:v>9.77</c:v>
                </c:pt>
                <c:pt idx="16">
                  <c:v>9.97</c:v>
                </c:pt>
              </c:strCache>
            </c:strRef>
          </c:cat>
          <c:val>
            <c:numRef>
              <c:f>Sheet1!$B$2:$B$18</c:f>
              <c:numCache>
                <c:formatCode>General</c:formatCode>
                <c:ptCount val="17"/>
                <c:pt idx="0">
                  <c:v>121.57281169575201</c:v>
                </c:pt>
                <c:pt idx="1">
                  <c:v>116.35211910260368</c:v>
                </c:pt>
                <c:pt idx="2">
                  <c:v>111.37019497650995</c:v>
                </c:pt>
                <c:pt idx="3">
                  <c:v>106.6161024724168</c:v>
                </c:pt>
                <c:pt idx="4">
                  <c:v>102.07933143853143</c:v>
                </c:pt>
                <c:pt idx="5">
                  <c:v>101.03331327533044</c:v>
                </c:pt>
                <c:pt idx="6">
                  <c:v>100.0</c:v>
                </c:pt>
                <c:pt idx="7">
                  <c:v>98.9791720348116</c:v>
                </c:pt>
                <c:pt idx="8">
                  <c:v>97.97061463327756</c:v>
                </c:pt>
                <c:pt idx="9">
                  <c:v>96.97411779130853</c:v>
                </c:pt>
                <c:pt idx="10">
                  <c:v>95.98947615752984</c:v>
                </c:pt>
                <c:pt idx="11">
                  <c:v>95.01648894307755</c:v>
                </c:pt>
                <c:pt idx="12">
                  <c:v>94.30335776716426</c:v>
                </c:pt>
                <c:pt idx="13">
                  <c:v>93.59463008739193</c:v>
                </c:pt>
                <c:pt idx="14">
                  <c:v>92.89028923717217</c:v>
                </c:pt>
                <c:pt idx="15">
                  <c:v>92.19031864886726</c:v>
                </c:pt>
                <c:pt idx="16">
                  <c:v>91.4947018519158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8</c:f>
              <c:strCache>
                <c:ptCount val="17"/>
                <c:pt idx="0">
                  <c:v>6.77</c:v>
                </c:pt>
                <c:pt idx="1">
                  <c:v>6.97</c:v>
                </c:pt>
                <c:pt idx="2">
                  <c:v>7.17</c:v>
                </c:pt>
                <c:pt idx="3">
                  <c:v>7.37</c:v>
                </c:pt>
                <c:pt idx="4">
                  <c:v>7.57</c:v>
                </c:pt>
                <c:pt idx="5">
                  <c:v>7.77</c:v>
                </c:pt>
                <c:pt idx="6">
                  <c:v>7.97</c:v>
                </c:pt>
                <c:pt idx="7">
                  <c:v>8.17</c:v>
                </c:pt>
                <c:pt idx="8">
                  <c:v>8.37</c:v>
                </c:pt>
                <c:pt idx="9">
                  <c:v>8.57</c:v>
                </c:pt>
                <c:pt idx="10">
                  <c:v>8.77</c:v>
                </c:pt>
                <c:pt idx="11">
                  <c:v>8.97</c:v>
                </c:pt>
                <c:pt idx="12">
                  <c:v>9.17</c:v>
                </c:pt>
                <c:pt idx="13">
                  <c:v>9.37</c:v>
                </c:pt>
                <c:pt idx="14">
                  <c:v>9.57</c:v>
                </c:pt>
                <c:pt idx="15">
                  <c:v>9.77</c:v>
                </c:pt>
                <c:pt idx="16">
                  <c:v>9.97</c:v>
                </c:pt>
              </c:strCache>
            </c:strRef>
          </c:cat>
          <c:val>
            <c:numRef>
              <c:f>Sheet1!$C$2:$C$18</c:f>
              <c:numCache>
                <c:formatCode>General</c:formatCode>
                <c:ptCount val="17"/>
                <c:pt idx="0">
                  <c:v>103.70737988429242</c:v>
                </c:pt>
                <c:pt idx="1">
                  <c:v>102.08947197463903</c:v>
                </c:pt>
                <c:pt idx="2">
                  <c:v>100.43302227061336</c:v>
                </c:pt>
                <c:pt idx="3">
                  <c:v>98.7453971309252</c:v>
                </c:pt>
                <c:pt idx="4">
                  <c:v>97.03327367301394</c:v>
                </c:pt>
                <c:pt idx="5">
                  <c:v>98.5367677854241</c:v>
                </c:pt>
                <c:pt idx="6">
                  <c:v>100.0</c:v>
                </c:pt>
                <c:pt idx="7">
                  <c:v>101.42376755569411</c:v>
                </c:pt>
                <c:pt idx="8">
                  <c:v>102.80884732640412</c:v>
                </c:pt>
                <c:pt idx="9">
                  <c:v>104.15599649134188</c:v>
                </c:pt>
                <c:pt idx="10">
                  <c:v>105.46595318317583</c:v>
                </c:pt>
                <c:pt idx="11">
                  <c:v>106.73943711456883</c:v>
                </c:pt>
                <c:pt idx="12">
                  <c:v>108.26468869838514</c:v>
                </c:pt>
                <c:pt idx="13">
                  <c:v>109.75888380605221</c:v>
                </c:pt>
                <c:pt idx="14">
                  <c:v>111.22237877442286</c:v>
                </c:pt>
                <c:pt idx="15">
                  <c:v>112.65552691849567</c:v>
                </c:pt>
                <c:pt idx="16">
                  <c:v>114.0586785748905</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8</c:f>
              <c:strCache>
                <c:ptCount val="17"/>
                <c:pt idx="0">
                  <c:v>6.77</c:v>
                </c:pt>
                <c:pt idx="1">
                  <c:v>6.97</c:v>
                </c:pt>
                <c:pt idx="2">
                  <c:v>7.17</c:v>
                </c:pt>
                <c:pt idx="3">
                  <c:v>7.37</c:v>
                </c:pt>
                <c:pt idx="4">
                  <c:v>7.57</c:v>
                </c:pt>
                <c:pt idx="5">
                  <c:v>7.77</c:v>
                </c:pt>
                <c:pt idx="6">
                  <c:v>7.97</c:v>
                </c:pt>
                <c:pt idx="7">
                  <c:v>8.17</c:v>
                </c:pt>
                <c:pt idx="8">
                  <c:v>8.37</c:v>
                </c:pt>
                <c:pt idx="9">
                  <c:v>8.57</c:v>
                </c:pt>
                <c:pt idx="10">
                  <c:v>8.77</c:v>
                </c:pt>
                <c:pt idx="11">
                  <c:v>8.97</c:v>
                </c:pt>
                <c:pt idx="12">
                  <c:v>9.17</c:v>
                </c:pt>
                <c:pt idx="13">
                  <c:v>9.37</c:v>
                </c:pt>
                <c:pt idx="14">
                  <c:v>9.57</c:v>
                </c:pt>
                <c:pt idx="15">
                  <c:v>9.77</c:v>
                </c:pt>
                <c:pt idx="16">
                  <c:v>9.97</c:v>
                </c:pt>
              </c:strCache>
            </c:strRef>
          </c:cat>
          <c:val>
            <c:numRef>
              <c:f>Sheet1!$D$2:$D$18</c:f>
              <c:numCache>
                <c:formatCode>General</c:formatCode>
                <c:ptCount val="17"/>
                <c:pt idx="0">
                  <c:v>96.14570984694559</c:v>
                </c:pt>
                <c:pt idx="1">
                  <c:v>96.0642732071013</c:v>
                </c:pt>
                <c:pt idx="2">
                  <c:v>95.82337959662928</c:v>
                </c:pt>
                <c:pt idx="3">
                  <c:v>95.43853878322645</c:v>
                </c:pt>
                <c:pt idx="4">
                  <c:v>94.92407401447036</c:v>
                </c:pt>
                <c:pt idx="5">
                  <c:v>97.49266566511264</c:v>
                </c:pt>
                <c:pt idx="6">
                  <c:v>100.0</c:v>
                </c:pt>
                <c:pt idx="7">
                  <c:v>102.44721830899957</c:v>
                </c:pt>
                <c:pt idx="8">
                  <c:v>104.83543490597557</c:v>
                </c:pt>
                <c:pt idx="9">
                  <c:v>107.16573793657234</c:v>
                </c:pt>
                <c:pt idx="10">
                  <c:v>109.43919016364956</c:v>
                </c:pt>
                <c:pt idx="11">
                  <c:v>111.65682973066262</c:v>
                </c:pt>
                <c:pt idx="12">
                  <c:v>114.12340923841838</c:v>
                </c:pt>
                <c:pt idx="13">
                  <c:v>116.54506161025108</c:v>
                </c:pt>
                <c:pt idx="14">
                  <c:v>118.92224294535116</c:v>
                </c:pt>
                <c:pt idx="15">
                  <c:v>121.25540683508483</c:v>
                </c:pt>
                <c:pt idx="16">
                  <c:v>123.54500438261455</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8</c:f>
              <c:strCache>
                <c:ptCount val="17"/>
                <c:pt idx="0">
                  <c:v>6.77</c:v>
                </c:pt>
                <c:pt idx="1">
                  <c:v>6.97</c:v>
                </c:pt>
                <c:pt idx="2">
                  <c:v>7.17</c:v>
                </c:pt>
                <c:pt idx="3">
                  <c:v>7.37</c:v>
                </c:pt>
                <c:pt idx="4">
                  <c:v>7.57</c:v>
                </c:pt>
                <c:pt idx="5">
                  <c:v>7.77</c:v>
                </c:pt>
                <c:pt idx="6">
                  <c:v>7.97</c:v>
                </c:pt>
                <c:pt idx="7">
                  <c:v>8.17</c:v>
                </c:pt>
                <c:pt idx="8">
                  <c:v>8.37</c:v>
                </c:pt>
                <c:pt idx="9">
                  <c:v>8.57</c:v>
                </c:pt>
                <c:pt idx="10">
                  <c:v>8.77</c:v>
                </c:pt>
                <c:pt idx="11">
                  <c:v>8.97</c:v>
                </c:pt>
                <c:pt idx="12">
                  <c:v>9.17</c:v>
                </c:pt>
                <c:pt idx="13">
                  <c:v>9.37</c:v>
                </c:pt>
                <c:pt idx="14">
                  <c:v>9.57</c:v>
                </c:pt>
                <c:pt idx="15">
                  <c:v>9.77</c:v>
                </c:pt>
                <c:pt idx="16">
                  <c:v>9.97</c:v>
                </c:pt>
              </c:strCache>
            </c:strRef>
          </c:cat>
          <c:val>
            <c:numRef>
              <c:f>Sheet1!$E$2:$E$18</c:f>
              <c:numCache>
                <c:formatCode>General</c:formatCode>
                <c:ptCount val="17"/>
                <c:pt idx="0">
                  <c:v>0.6631671519098048</c:v>
                </c:pt>
                <c:pt idx="1">
                  <c:v>0.672832369932479</c:v>
                </c:pt>
                <c:pt idx="2">
                  <c:v>0.6819583847181838</c:v>
                </c:pt>
                <c:pt idx="3">
                  <c:v>0.690589093409685</c:v>
                </c:pt>
                <c:pt idx="4">
                  <c:v>0.6987637540857832</c:v>
                </c:pt>
                <c:pt idx="5">
                  <c:v>0.7065175828094439</c:v>
                </c:pt>
                <c:pt idx="6">
                  <c:v>0.7138822607816032</c:v>
                </c:pt>
                <c:pt idx="7">
                  <c:v>0.7208863670048199</c:v>
                </c:pt>
                <c:pt idx="8">
                  <c:v>0.7275557489162937</c:v>
                </c:pt>
                <c:pt idx="9">
                  <c:v>0.7339138411236147</c:v>
                </c:pt>
                <c:pt idx="10">
                  <c:v>0.7399819405278653</c:v>
                </c:pt>
                <c:pt idx="11">
                  <c:v>0.7457794446409564</c:v>
                </c:pt>
                <c:pt idx="12">
                  <c:v>0.7513240587163991</c:v>
                </c:pt>
                <c:pt idx="13">
                  <c:v>0.7566319763531887</c:v>
                </c:pt>
                <c:pt idx="14">
                  <c:v>0.7617180374534356</c:v>
                </c:pt>
                <c:pt idx="15">
                  <c:v>0.7665958667788515</c:v>
                </c:pt>
                <c:pt idx="16">
                  <c:v>0.771277995830429</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70.0"/>
          <c:max val="15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9</c:f>
              <c:strCache>
                <c:ptCount val="18"/>
                <c:pt idx="0">
                  <c:v>7.57</c:v>
                </c:pt>
                <c:pt idx="1">
                  <c:v>7.77</c:v>
                </c:pt>
                <c:pt idx="2">
                  <c:v>7.97</c:v>
                </c:pt>
                <c:pt idx="3">
                  <c:v>8.17</c:v>
                </c:pt>
                <c:pt idx="4">
                  <c:v>8.37</c:v>
                </c:pt>
                <c:pt idx="5">
                  <c:v>8.57</c:v>
                </c:pt>
                <c:pt idx="6">
                  <c:v>8.77</c:v>
                </c:pt>
                <c:pt idx="7">
                  <c:v>8.97</c:v>
                </c:pt>
                <c:pt idx="8">
                  <c:v>9.17</c:v>
                </c:pt>
                <c:pt idx="9">
                  <c:v>9.37</c:v>
                </c:pt>
                <c:pt idx="10">
                  <c:v>9.57</c:v>
                </c:pt>
                <c:pt idx="11">
                  <c:v>9.77</c:v>
                </c:pt>
                <c:pt idx="12">
                  <c:v>9.97</c:v>
                </c:pt>
                <c:pt idx="13">
                  <c:v>10.17</c:v>
                </c:pt>
                <c:pt idx="14">
                  <c:v>10.37</c:v>
                </c:pt>
                <c:pt idx="15">
                  <c:v>10.57</c:v>
                </c:pt>
                <c:pt idx="16">
                  <c:v>10.77</c:v>
                </c:pt>
                <c:pt idx="17">
                  <c:v>10.97</c:v>
                </c:pt>
              </c:strCache>
            </c:strRef>
          </c:cat>
          <c:val>
            <c:numRef>
              <c:f>Sheet1!$B$2:$B$19</c:f>
              <c:numCache>
                <c:formatCode>General</c:formatCode>
                <c:ptCount val="18"/>
                <c:pt idx="0">
                  <c:v>106.75949760723542</c:v>
                </c:pt>
                <c:pt idx="1">
                  <c:v>105.75524861620033</c:v>
                </c:pt>
                <c:pt idx="2">
                  <c:v>104.76423253086922</c:v>
                </c:pt>
                <c:pt idx="3">
                  <c:v>103.78622779720712</c:v>
                </c:pt>
                <c:pt idx="4">
                  <c:v>102.82101596350954</c:v>
                </c:pt>
                <c:pt idx="5">
                  <c:v>101.8683816864924</c:v>
                </c:pt>
                <c:pt idx="6">
                  <c:v>100.92811273625107</c:v>
                </c:pt>
                <c:pt idx="7">
                  <c:v>100.0</c:v>
                </c:pt>
                <c:pt idx="8">
                  <c:v>99.33305311676052</c:v>
                </c:pt>
                <c:pt idx="9">
                  <c:v>98.67123701503748</c:v>
                </c:pt>
                <c:pt idx="10">
                  <c:v>98.01451144945894</c:v>
                </c:pt>
                <c:pt idx="11">
                  <c:v>97.36283642669135</c:v>
                </c:pt>
                <c:pt idx="12">
                  <c:v>96.71617220503249</c:v>
                </c:pt>
                <c:pt idx="13">
                  <c:v>95.40151999034036</c:v>
                </c:pt>
                <c:pt idx="14">
                  <c:v>94.11362423597713</c:v>
                </c:pt>
                <c:pt idx="15">
                  <c:v>92.8517809187113</c:v>
                </c:pt>
                <c:pt idx="16">
                  <c:v>91.61530613323269</c:v>
                </c:pt>
                <c:pt idx="17">
                  <c:v>90.40353558271258</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9</c:f>
              <c:strCache>
                <c:ptCount val="18"/>
                <c:pt idx="0">
                  <c:v>7.57</c:v>
                </c:pt>
                <c:pt idx="1">
                  <c:v>7.77</c:v>
                </c:pt>
                <c:pt idx="2">
                  <c:v>7.97</c:v>
                </c:pt>
                <c:pt idx="3">
                  <c:v>8.17</c:v>
                </c:pt>
                <c:pt idx="4">
                  <c:v>8.37</c:v>
                </c:pt>
                <c:pt idx="5">
                  <c:v>8.57</c:v>
                </c:pt>
                <c:pt idx="6">
                  <c:v>8.77</c:v>
                </c:pt>
                <c:pt idx="7">
                  <c:v>8.97</c:v>
                </c:pt>
                <c:pt idx="8">
                  <c:v>9.17</c:v>
                </c:pt>
                <c:pt idx="9">
                  <c:v>9.37</c:v>
                </c:pt>
                <c:pt idx="10">
                  <c:v>9.57</c:v>
                </c:pt>
                <c:pt idx="11">
                  <c:v>9.77</c:v>
                </c:pt>
                <c:pt idx="12">
                  <c:v>9.97</c:v>
                </c:pt>
                <c:pt idx="13">
                  <c:v>10.17</c:v>
                </c:pt>
                <c:pt idx="14">
                  <c:v>10.37</c:v>
                </c:pt>
                <c:pt idx="15">
                  <c:v>10.57</c:v>
                </c:pt>
                <c:pt idx="16">
                  <c:v>10.77</c:v>
                </c:pt>
                <c:pt idx="17">
                  <c:v>10.97</c:v>
                </c:pt>
              </c:strCache>
            </c:strRef>
          </c:cat>
          <c:val>
            <c:numRef>
              <c:f>Sheet1!$C$2:$C$19</c:f>
              <c:numCache>
                <c:formatCode>General</c:formatCode>
                <c:ptCount val="18"/>
                <c:pt idx="0">
                  <c:v>90.69214868852222</c:v>
                </c:pt>
                <c:pt idx="1">
                  <c:v>92.12112949413287</c:v>
                </c:pt>
                <c:pt idx="2">
                  <c:v>93.51567724712973</c:v>
                </c:pt>
                <c:pt idx="3">
                  <c:v>94.87661834540812</c:v>
                </c:pt>
                <c:pt idx="4">
                  <c:v>96.20475462817329</c:v>
                </c:pt>
                <c:pt idx="5">
                  <c:v>97.5008641158737</c:v>
                </c:pt>
                <c:pt idx="6">
                  <c:v>98.7657017309513</c:v>
                </c:pt>
                <c:pt idx="7">
                  <c:v>100.0</c:v>
                </c:pt>
                <c:pt idx="8">
                  <c:v>101.4667382763734</c:v>
                </c:pt>
                <c:pt idx="9">
                  <c:v>102.90778140002979</c:v>
                </c:pt>
                <c:pt idx="10">
                  <c:v>104.3235200573834</c:v>
                </c:pt>
                <c:pt idx="11">
                  <c:v>105.7143384755039</c:v>
                </c:pt>
                <c:pt idx="12">
                  <c:v>107.08061454407924</c:v>
                </c:pt>
                <c:pt idx="13">
                  <c:v>107.64391816509347</c:v>
                </c:pt>
                <c:pt idx="14">
                  <c:v>108.1811350058386</c:v>
                </c:pt>
                <c:pt idx="15">
                  <c:v>108.69325314886258</c:v>
                </c:pt>
                <c:pt idx="16">
                  <c:v>109.1812165070765</c:v>
                </c:pt>
                <c:pt idx="17">
                  <c:v>109.64592696606876</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9</c:f>
              <c:strCache>
                <c:ptCount val="18"/>
                <c:pt idx="0">
                  <c:v>7.57</c:v>
                </c:pt>
                <c:pt idx="1">
                  <c:v>7.77</c:v>
                </c:pt>
                <c:pt idx="2">
                  <c:v>7.97</c:v>
                </c:pt>
                <c:pt idx="3">
                  <c:v>8.17</c:v>
                </c:pt>
                <c:pt idx="4">
                  <c:v>8.37</c:v>
                </c:pt>
                <c:pt idx="5">
                  <c:v>8.57</c:v>
                </c:pt>
                <c:pt idx="6">
                  <c:v>8.77</c:v>
                </c:pt>
                <c:pt idx="7">
                  <c:v>8.97</c:v>
                </c:pt>
                <c:pt idx="8">
                  <c:v>9.17</c:v>
                </c:pt>
                <c:pt idx="9">
                  <c:v>9.37</c:v>
                </c:pt>
                <c:pt idx="10">
                  <c:v>9.57</c:v>
                </c:pt>
                <c:pt idx="11">
                  <c:v>9.77</c:v>
                </c:pt>
                <c:pt idx="12">
                  <c:v>9.97</c:v>
                </c:pt>
                <c:pt idx="13">
                  <c:v>10.17</c:v>
                </c:pt>
                <c:pt idx="14">
                  <c:v>10.37</c:v>
                </c:pt>
                <c:pt idx="15">
                  <c:v>10.57</c:v>
                </c:pt>
                <c:pt idx="16">
                  <c:v>10.77</c:v>
                </c:pt>
                <c:pt idx="17">
                  <c:v>10.97</c:v>
                </c:pt>
              </c:strCache>
            </c:strRef>
          </c:cat>
          <c:val>
            <c:numRef>
              <c:f>Sheet1!$D$2:$D$19</c:f>
              <c:numCache>
                <c:formatCode>General</c:formatCode>
                <c:ptCount val="18"/>
                <c:pt idx="0">
                  <c:v>84.20445852216638</c:v>
                </c:pt>
                <c:pt idx="1">
                  <c:v>86.60944431899652</c:v>
                </c:pt>
                <c:pt idx="2">
                  <c:v>88.96315994231732</c:v>
                </c:pt>
                <c:pt idx="3">
                  <c:v>91.2666987923257</c:v>
                </c:pt>
                <c:pt idx="4">
                  <c:v>93.52112662687436</c:v>
                </c:pt>
                <c:pt idx="5">
                  <c:v>95.72748218319197</c:v>
                </c:pt>
                <c:pt idx="6">
                  <c:v>97.88677779430664</c:v>
                </c:pt>
                <c:pt idx="7">
                  <c:v>100.0</c:v>
                </c:pt>
                <c:pt idx="8">
                  <c:v>102.33363750572524</c:v>
                </c:pt>
                <c:pt idx="9">
                  <c:v>104.63124206079965</c:v>
                </c:pt>
                <c:pt idx="10">
                  <c:v>106.89327353886588</c:v>
                </c:pt>
                <c:pt idx="11">
                  <c:v>109.12018627976605</c:v>
                </c:pt>
                <c:pt idx="12">
                  <c:v>111.3124291477862</c:v>
                </c:pt>
                <c:pt idx="13">
                  <c:v>112.64871127126361</c:v>
                </c:pt>
                <c:pt idx="14">
                  <c:v>113.93738001561566</c:v>
                </c:pt>
                <c:pt idx="15">
                  <c:v>115.18007098070949</c:v>
                </c:pt>
                <c:pt idx="16">
                  <c:v>116.37835392650024</c:v>
                </c:pt>
                <c:pt idx="17">
                  <c:v>117.53373558981286</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9</c:f>
              <c:strCache>
                <c:ptCount val="18"/>
                <c:pt idx="0">
                  <c:v>7.57</c:v>
                </c:pt>
                <c:pt idx="1">
                  <c:v>7.77</c:v>
                </c:pt>
                <c:pt idx="2">
                  <c:v>7.97</c:v>
                </c:pt>
                <c:pt idx="3">
                  <c:v>8.17</c:v>
                </c:pt>
                <c:pt idx="4">
                  <c:v>8.37</c:v>
                </c:pt>
                <c:pt idx="5">
                  <c:v>8.57</c:v>
                </c:pt>
                <c:pt idx="6">
                  <c:v>8.77</c:v>
                </c:pt>
                <c:pt idx="7">
                  <c:v>8.97</c:v>
                </c:pt>
                <c:pt idx="8">
                  <c:v>9.17</c:v>
                </c:pt>
                <c:pt idx="9">
                  <c:v>9.37</c:v>
                </c:pt>
                <c:pt idx="10">
                  <c:v>9.57</c:v>
                </c:pt>
                <c:pt idx="11">
                  <c:v>9.77</c:v>
                </c:pt>
                <c:pt idx="12">
                  <c:v>9.97</c:v>
                </c:pt>
                <c:pt idx="13">
                  <c:v>10.17</c:v>
                </c:pt>
                <c:pt idx="14">
                  <c:v>10.37</c:v>
                </c:pt>
                <c:pt idx="15">
                  <c:v>10.57</c:v>
                </c:pt>
                <c:pt idx="16">
                  <c:v>10.77</c:v>
                </c:pt>
                <c:pt idx="17">
                  <c:v>10.97</c:v>
                </c:pt>
              </c:strCache>
            </c:strRef>
          </c:cat>
          <c:val>
            <c:numRef>
              <c:f>Sheet1!$E$2:$E$19</c:f>
              <c:numCache>
                <c:formatCode>General</c:formatCode>
                <c:ptCount val="18"/>
                <c:pt idx="0">
                  <c:v>0.6828862928831775</c:v>
                </c:pt>
                <c:pt idx="1">
                  <c:v>0.6910488078668794</c:v>
                </c:pt>
                <c:pt idx="2">
                  <c:v>0.6988016608689653</c:v>
                </c:pt>
                <c:pt idx="3">
                  <c:v>0.7061749372246822</c:v>
                </c:pt>
                <c:pt idx="4">
                  <c:v>0.7131958467294688</c:v>
                </c:pt>
                <c:pt idx="5">
                  <c:v>0.719889059174522</c:v>
                </c:pt>
                <c:pt idx="6">
                  <c:v>0.7262769939709981</c:v>
                </c:pt>
                <c:pt idx="7">
                  <c:v>0.732380071028501</c:v>
                </c:pt>
                <c:pt idx="8">
                  <c:v>0.7382169288032338</c:v>
                </c:pt>
                <c:pt idx="9">
                  <c:v>0.7438046144210944</c:v>
                </c:pt>
                <c:pt idx="10">
                  <c:v>0.7491587499608834</c:v>
                </c:pt>
                <c:pt idx="11">
                  <c:v>0.7542936783137824</c:v>
                </c:pt>
                <c:pt idx="12">
                  <c:v>0.7592225914870263</c:v>
                </c:pt>
                <c:pt idx="13">
                  <c:v>0.7639576437685008</c:v>
                </c:pt>
                <c:pt idx="14">
                  <c:v>0.7685100517961093</c:v>
                </c:pt>
                <c:pt idx="15">
                  <c:v>0.7728901832663815</c:v>
                </c:pt>
                <c:pt idx="16">
                  <c:v>0.7771076357591136</c:v>
                </c:pt>
                <c:pt idx="17">
                  <c:v>0.7811713069394397</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70.0"/>
          <c:max val="14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4</c:f>
              <c:strCache>
                <c:ptCount val="33"/>
                <c:pt idx="0">
                  <c:v>13.57</c:v>
                </c:pt>
                <c:pt idx="1">
                  <c:v>13.77</c:v>
                </c:pt>
                <c:pt idx="2">
                  <c:v>13.97</c:v>
                </c:pt>
                <c:pt idx="3">
                  <c:v>14.17</c:v>
                </c:pt>
                <c:pt idx="4">
                  <c:v>14.37</c:v>
                </c:pt>
                <c:pt idx="5">
                  <c:v>14.57</c:v>
                </c:pt>
                <c:pt idx="6">
                  <c:v>14.77</c:v>
                </c:pt>
                <c:pt idx="7">
                  <c:v>14.97</c:v>
                </c:pt>
                <c:pt idx="8">
                  <c:v>15.17</c:v>
                </c:pt>
                <c:pt idx="9">
                  <c:v>15.37</c:v>
                </c:pt>
                <c:pt idx="10">
                  <c:v>15.57</c:v>
                </c:pt>
                <c:pt idx="11">
                  <c:v>15.77</c:v>
                </c:pt>
                <c:pt idx="12">
                  <c:v>15.97</c:v>
                </c:pt>
                <c:pt idx="13">
                  <c:v>16.17</c:v>
                </c:pt>
                <c:pt idx="14">
                  <c:v>16.37</c:v>
                </c:pt>
                <c:pt idx="15">
                  <c:v>16.57</c:v>
                </c:pt>
                <c:pt idx="16">
                  <c:v>16.77</c:v>
                </c:pt>
                <c:pt idx="17">
                  <c:v>16.97</c:v>
                </c:pt>
                <c:pt idx="18">
                  <c:v>17.17</c:v>
                </c:pt>
                <c:pt idx="19">
                  <c:v>17.37</c:v>
                </c:pt>
                <c:pt idx="20">
                  <c:v>17.57</c:v>
                </c:pt>
                <c:pt idx="21">
                  <c:v>17.77</c:v>
                </c:pt>
                <c:pt idx="22">
                  <c:v>17.97</c:v>
                </c:pt>
                <c:pt idx="23">
                  <c:v>18.17</c:v>
                </c:pt>
                <c:pt idx="24">
                  <c:v>18.37</c:v>
                </c:pt>
                <c:pt idx="25">
                  <c:v>18.57</c:v>
                </c:pt>
                <c:pt idx="26">
                  <c:v>18.77</c:v>
                </c:pt>
                <c:pt idx="27">
                  <c:v>18.97</c:v>
                </c:pt>
                <c:pt idx="28">
                  <c:v>19.17</c:v>
                </c:pt>
                <c:pt idx="29">
                  <c:v>19.37</c:v>
                </c:pt>
                <c:pt idx="30">
                  <c:v>19.57</c:v>
                </c:pt>
                <c:pt idx="31">
                  <c:v>19.77</c:v>
                </c:pt>
                <c:pt idx="32">
                  <c:v>19.97</c:v>
                </c:pt>
              </c:strCache>
            </c:strRef>
          </c:cat>
          <c:val>
            <c:numRef>
              <c:f>Sheet1!$B$2:$B$34</c:f>
              <c:numCache>
                <c:formatCode>General</c:formatCode>
                <c:ptCount val="33"/>
                <c:pt idx="0">
                  <c:v>111.17411760498044</c:v>
                </c:pt>
                <c:pt idx="1">
                  <c:v>110.23039635446096</c:v>
                </c:pt>
                <c:pt idx="2">
                  <c:v>109.29846900562339</c:v>
                </c:pt>
                <c:pt idx="3">
                  <c:v>108.37813870979937</c:v>
                </c:pt>
                <c:pt idx="4">
                  <c:v>107.46921201672679</c:v>
                </c:pt>
                <c:pt idx="5">
                  <c:v>106.57149885645877</c:v>
                </c:pt>
                <c:pt idx="6">
                  <c:v>105.68481251779002</c:v>
                </c:pt>
                <c:pt idx="7">
                  <c:v>104.80896962350228</c:v>
                </c:pt>
                <c:pt idx="8">
                  <c:v>103.81943149344339</c:v>
                </c:pt>
                <c:pt idx="9">
                  <c:v>102.84402229283576</c:v>
                </c:pt>
                <c:pt idx="10">
                  <c:v>101.88248306605172</c:v>
                </c:pt>
                <c:pt idx="11">
                  <c:v>100.9345591132133</c:v>
                </c:pt>
                <c:pt idx="12">
                  <c:v>100.0</c:v>
                </c:pt>
                <c:pt idx="13">
                  <c:v>98.4350342069052</c:v>
                </c:pt>
                <c:pt idx="14">
                  <c:v>96.91403568635275</c:v>
                </c:pt>
                <c:pt idx="15">
                  <c:v>95.43564781041881</c:v>
                </c:pt>
                <c:pt idx="16">
                  <c:v>93.99853436317433</c:v>
                </c:pt>
                <c:pt idx="17">
                  <c:v>92.60138255741843</c:v>
                </c:pt>
                <c:pt idx="18">
                  <c:v>91.24290523593233</c:v>
                </c:pt>
                <c:pt idx="19">
                  <c:v>89.92184243641745</c:v>
                </c:pt>
                <c:pt idx="20">
                  <c:v>88.63696247012135</c:v>
                </c:pt>
                <c:pt idx="21">
                  <c:v>87.38706263730639</c:v>
                </c:pt>
                <c:pt idx="22">
                  <c:v>86.17096967837745</c:v>
                </c:pt>
                <c:pt idx="23">
                  <c:v>84.98754003793735</c:v>
                </c:pt>
                <c:pt idx="24">
                  <c:v>83.83566000022967</c:v>
                </c:pt>
                <c:pt idx="25">
                  <c:v>82.71424573844843</c:v>
                </c:pt>
                <c:pt idx="26">
                  <c:v>82.13483263445507</c:v>
                </c:pt>
                <c:pt idx="27">
                  <c:v>81.56101804932933</c:v>
                </c:pt>
                <c:pt idx="28">
                  <c:v>80.99273589081886</c:v>
                </c:pt>
                <c:pt idx="29">
                  <c:v>80.42992083670993</c:v>
                </c:pt>
                <c:pt idx="30">
                  <c:v>79.87250833051493</c:v>
                </c:pt>
                <c:pt idx="31">
                  <c:v>79.3204345769188</c:v>
                </c:pt>
                <c:pt idx="32">
                  <c:v>78.77363653699457</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4</c:f>
              <c:strCache>
                <c:ptCount val="33"/>
                <c:pt idx="0">
                  <c:v>13.57</c:v>
                </c:pt>
                <c:pt idx="1">
                  <c:v>13.77</c:v>
                </c:pt>
                <c:pt idx="2">
                  <c:v>13.97</c:v>
                </c:pt>
                <c:pt idx="3">
                  <c:v>14.17</c:v>
                </c:pt>
                <c:pt idx="4">
                  <c:v>14.37</c:v>
                </c:pt>
                <c:pt idx="5">
                  <c:v>14.57</c:v>
                </c:pt>
                <c:pt idx="6">
                  <c:v>14.77</c:v>
                </c:pt>
                <c:pt idx="7">
                  <c:v>14.97</c:v>
                </c:pt>
                <c:pt idx="8">
                  <c:v>15.17</c:v>
                </c:pt>
                <c:pt idx="9">
                  <c:v>15.37</c:v>
                </c:pt>
                <c:pt idx="10">
                  <c:v>15.57</c:v>
                </c:pt>
                <c:pt idx="11">
                  <c:v>15.77</c:v>
                </c:pt>
                <c:pt idx="12">
                  <c:v>15.97</c:v>
                </c:pt>
                <c:pt idx="13">
                  <c:v>16.17</c:v>
                </c:pt>
                <c:pt idx="14">
                  <c:v>16.37</c:v>
                </c:pt>
                <c:pt idx="15">
                  <c:v>16.57</c:v>
                </c:pt>
                <c:pt idx="16">
                  <c:v>16.77</c:v>
                </c:pt>
                <c:pt idx="17">
                  <c:v>16.97</c:v>
                </c:pt>
                <c:pt idx="18">
                  <c:v>17.17</c:v>
                </c:pt>
                <c:pt idx="19">
                  <c:v>17.37</c:v>
                </c:pt>
                <c:pt idx="20">
                  <c:v>17.57</c:v>
                </c:pt>
                <c:pt idx="21">
                  <c:v>17.77</c:v>
                </c:pt>
                <c:pt idx="22">
                  <c:v>17.97</c:v>
                </c:pt>
                <c:pt idx="23">
                  <c:v>18.17</c:v>
                </c:pt>
                <c:pt idx="24">
                  <c:v>18.37</c:v>
                </c:pt>
                <c:pt idx="25">
                  <c:v>18.57</c:v>
                </c:pt>
                <c:pt idx="26">
                  <c:v>18.77</c:v>
                </c:pt>
                <c:pt idx="27">
                  <c:v>18.97</c:v>
                </c:pt>
                <c:pt idx="28">
                  <c:v>19.17</c:v>
                </c:pt>
                <c:pt idx="29">
                  <c:v>19.37</c:v>
                </c:pt>
                <c:pt idx="30">
                  <c:v>19.57</c:v>
                </c:pt>
                <c:pt idx="31">
                  <c:v>19.77</c:v>
                </c:pt>
                <c:pt idx="32">
                  <c:v>19.97</c:v>
                </c:pt>
              </c:strCache>
            </c:strRef>
          </c:cat>
          <c:val>
            <c:numRef>
              <c:f>Sheet1!$C$2:$C$34</c:f>
              <c:numCache>
                <c:formatCode>General</c:formatCode>
                <c:ptCount val="33"/>
                <c:pt idx="0">
                  <c:v>94.7108316589209</c:v>
                </c:pt>
                <c:pt idx="1">
                  <c:v>95.26868915436334</c:v>
                </c:pt>
                <c:pt idx="2">
                  <c:v>95.81329120409741</c:v>
                </c:pt>
                <c:pt idx="3">
                  <c:v>96.34491532186236</c:v>
                </c:pt>
                <c:pt idx="4">
                  <c:v>96.86383167977401</c:v>
                </c:pt>
                <c:pt idx="5">
                  <c:v>97.37030333178554</c:v>
                </c:pt>
                <c:pt idx="6">
                  <c:v>97.86458643117493</c:v>
                </c:pt>
                <c:pt idx="7">
                  <c:v>98.34693044210945</c:v>
                </c:pt>
                <c:pt idx="8">
                  <c:v>98.69892612207558</c:v>
                </c:pt>
                <c:pt idx="9">
                  <c:v>99.03995432683097</c:v>
                </c:pt>
                <c:pt idx="10">
                  <c:v>99.37029618640443</c:v>
                </c:pt>
                <c:pt idx="11">
                  <c:v>99.69022369237769</c:v>
                </c:pt>
                <c:pt idx="12">
                  <c:v>100.0</c:v>
                </c:pt>
                <c:pt idx="13">
                  <c:v>99.65275186118781</c:v>
                </c:pt>
                <c:pt idx="14">
                  <c:v>99.31180749974646</c:v>
                </c:pt>
                <c:pt idx="15">
                  <c:v>98.97739193398803</c:v>
                </c:pt>
                <c:pt idx="16">
                  <c:v>98.64968452940501</c:v>
                </c:pt>
                <c:pt idx="17">
                  <c:v>98.3288234564419</c:v>
                </c:pt>
                <c:pt idx="18">
                  <c:v>98.01490950037477</c:v>
                </c:pt>
                <c:pt idx="19">
                  <c:v>97.70800934622163</c:v>
                </c:pt>
                <c:pt idx="20">
                  <c:v>97.40815844744081</c:v>
                </c:pt>
                <c:pt idx="21">
                  <c:v>97.11536357233337</c:v>
                </c:pt>
                <c:pt idx="22">
                  <c:v>96.82960510705206</c:v>
                </c:pt>
                <c:pt idx="23">
                  <c:v>96.55083917956027</c:v>
                </c:pt>
                <c:pt idx="24">
                  <c:v>96.27899965505918</c:v>
                </c:pt>
                <c:pt idx="25">
                  <c:v>96.01400004075829</c:v>
                </c:pt>
                <c:pt idx="26">
                  <c:v>96.35335264119696</c:v>
                </c:pt>
                <c:pt idx="27">
                  <c:v>96.68496169829436</c:v>
                </c:pt>
                <c:pt idx="28">
                  <c:v>97.00896057073193</c:v>
                </c:pt>
                <c:pt idx="29">
                  <c:v>97.32548007625343</c:v>
                </c:pt>
                <c:pt idx="30">
                  <c:v>97.63464854156254</c:v>
                </c:pt>
                <c:pt idx="31">
                  <c:v>97.93659185133144</c:v>
                </c:pt>
                <c:pt idx="32">
                  <c:v>98.23143349632355</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4</c:f>
              <c:strCache>
                <c:ptCount val="33"/>
                <c:pt idx="0">
                  <c:v>13.57</c:v>
                </c:pt>
                <c:pt idx="1">
                  <c:v>13.77</c:v>
                </c:pt>
                <c:pt idx="2">
                  <c:v>13.97</c:v>
                </c:pt>
                <c:pt idx="3">
                  <c:v>14.17</c:v>
                </c:pt>
                <c:pt idx="4">
                  <c:v>14.37</c:v>
                </c:pt>
                <c:pt idx="5">
                  <c:v>14.57</c:v>
                </c:pt>
                <c:pt idx="6">
                  <c:v>14.77</c:v>
                </c:pt>
                <c:pt idx="7">
                  <c:v>14.97</c:v>
                </c:pt>
                <c:pt idx="8">
                  <c:v>15.17</c:v>
                </c:pt>
                <c:pt idx="9">
                  <c:v>15.37</c:v>
                </c:pt>
                <c:pt idx="10">
                  <c:v>15.57</c:v>
                </c:pt>
                <c:pt idx="11">
                  <c:v>15.77</c:v>
                </c:pt>
                <c:pt idx="12">
                  <c:v>15.97</c:v>
                </c:pt>
                <c:pt idx="13">
                  <c:v>16.17</c:v>
                </c:pt>
                <c:pt idx="14">
                  <c:v>16.37</c:v>
                </c:pt>
                <c:pt idx="15">
                  <c:v>16.57</c:v>
                </c:pt>
                <c:pt idx="16">
                  <c:v>16.77</c:v>
                </c:pt>
                <c:pt idx="17">
                  <c:v>16.97</c:v>
                </c:pt>
                <c:pt idx="18">
                  <c:v>17.17</c:v>
                </c:pt>
                <c:pt idx="19">
                  <c:v>17.37</c:v>
                </c:pt>
                <c:pt idx="20">
                  <c:v>17.57</c:v>
                </c:pt>
                <c:pt idx="21">
                  <c:v>17.77</c:v>
                </c:pt>
                <c:pt idx="22">
                  <c:v>17.97</c:v>
                </c:pt>
                <c:pt idx="23">
                  <c:v>18.17</c:v>
                </c:pt>
                <c:pt idx="24">
                  <c:v>18.37</c:v>
                </c:pt>
                <c:pt idx="25">
                  <c:v>18.57</c:v>
                </c:pt>
                <c:pt idx="26">
                  <c:v>18.77</c:v>
                </c:pt>
                <c:pt idx="27">
                  <c:v>18.97</c:v>
                </c:pt>
                <c:pt idx="28">
                  <c:v>19.17</c:v>
                </c:pt>
                <c:pt idx="29">
                  <c:v>19.37</c:v>
                </c:pt>
                <c:pt idx="30">
                  <c:v>19.57</c:v>
                </c:pt>
                <c:pt idx="31">
                  <c:v>19.77</c:v>
                </c:pt>
                <c:pt idx="32">
                  <c:v>19.97</c:v>
                </c:pt>
              </c:strCache>
            </c:strRef>
          </c:cat>
          <c:val>
            <c:numRef>
              <c:f>Sheet1!$D$2:$D$34</c:f>
              <c:numCache>
                <c:formatCode>General</c:formatCode>
                <c:ptCount val="33"/>
                <c:pt idx="0">
                  <c:v>87.64835935669343</c:v>
                </c:pt>
                <c:pt idx="1">
                  <c:v>88.84770979684085</c:v>
                </c:pt>
                <c:pt idx="2">
                  <c:v>90.02355963854734</c:v>
                </c:pt>
                <c:pt idx="3">
                  <c:v>91.1763638693292</c:v>
                </c:pt>
                <c:pt idx="4">
                  <c:v>92.30656665054501</c:v>
                </c:pt>
                <c:pt idx="5">
                  <c:v>93.41460159567161</c:v>
                </c:pt>
                <c:pt idx="6">
                  <c:v>94.50089204372732</c:v>
                </c:pt>
                <c:pt idx="7">
                  <c:v>95.56585132768896</c:v>
                </c:pt>
                <c:pt idx="8">
                  <c:v>96.49466054608573</c:v>
                </c:pt>
                <c:pt idx="9">
                  <c:v>97.40199218722006</c:v>
                </c:pt>
                <c:pt idx="10">
                  <c:v>98.28834101232418</c:v>
                </c:pt>
                <c:pt idx="11">
                  <c:v>99.1541878553126</c:v>
                </c:pt>
                <c:pt idx="12">
                  <c:v>100.0</c:v>
                </c:pt>
                <c:pt idx="13">
                  <c:v>100.17648796831149</c:v>
                </c:pt>
                <c:pt idx="14">
                  <c:v>100.34307852859408</c:v>
                </c:pt>
                <c:pt idx="15">
                  <c:v>100.5006743153787</c:v>
                </c:pt>
                <c:pt idx="16">
                  <c:v>100.6501044742927</c:v>
                </c:pt>
                <c:pt idx="17">
                  <c:v>100.79212965754382</c:v>
                </c:pt>
                <c:pt idx="18">
                  <c:v>100.92744645247238</c:v>
                </c:pt>
                <c:pt idx="19">
                  <c:v>101.05669134087178</c:v>
                </c:pt>
                <c:pt idx="20">
                  <c:v>101.18044427924244</c:v>
                </c:pt>
                <c:pt idx="21">
                  <c:v>101.29923198061685</c:v>
                </c:pt>
                <c:pt idx="22">
                  <c:v>101.41353096771262</c:v>
                </c:pt>
                <c:pt idx="23">
                  <c:v>101.52377045571185</c:v>
                </c:pt>
                <c:pt idx="24">
                  <c:v>101.63033511135767</c:v>
                </c:pt>
                <c:pt idx="25">
                  <c:v>101.73356772390285</c:v>
                </c:pt>
                <c:pt idx="26">
                  <c:v>102.46946739552638</c:v>
                </c:pt>
                <c:pt idx="27">
                  <c:v>103.19202764588363</c:v>
                </c:pt>
                <c:pt idx="28">
                  <c:v>103.90145938971538</c:v>
                </c:pt>
                <c:pt idx="29">
                  <c:v>104.59796989205716</c:v>
                </c:pt>
                <c:pt idx="30">
                  <c:v>105.2817628303934</c:v>
                </c:pt>
                <c:pt idx="31">
                  <c:v>105.95303835602152</c:v>
                </c:pt>
                <c:pt idx="32">
                  <c:v>106.61199315461197</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4</c:f>
              <c:strCache>
                <c:ptCount val="33"/>
                <c:pt idx="0">
                  <c:v>13.57</c:v>
                </c:pt>
                <c:pt idx="1">
                  <c:v>13.77</c:v>
                </c:pt>
                <c:pt idx="2">
                  <c:v>13.97</c:v>
                </c:pt>
                <c:pt idx="3">
                  <c:v>14.17</c:v>
                </c:pt>
                <c:pt idx="4">
                  <c:v>14.37</c:v>
                </c:pt>
                <c:pt idx="5">
                  <c:v>14.57</c:v>
                </c:pt>
                <c:pt idx="6">
                  <c:v>14.77</c:v>
                </c:pt>
                <c:pt idx="7">
                  <c:v>14.97</c:v>
                </c:pt>
                <c:pt idx="8">
                  <c:v>15.17</c:v>
                </c:pt>
                <c:pt idx="9">
                  <c:v>15.37</c:v>
                </c:pt>
                <c:pt idx="10">
                  <c:v>15.57</c:v>
                </c:pt>
                <c:pt idx="11">
                  <c:v>15.77</c:v>
                </c:pt>
                <c:pt idx="12">
                  <c:v>15.97</c:v>
                </c:pt>
                <c:pt idx="13">
                  <c:v>16.17</c:v>
                </c:pt>
                <c:pt idx="14">
                  <c:v>16.37</c:v>
                </c:pt>
                <c:pt idx="15">
                  <c:v>16.57</c:v>
                </c:pt>
                <c:pt idx="16">
                  <c:v>16.77</c:v>
                </c:pt>
                <c:pt idx="17">
                  <c:v>16.97</c:v>
                </c:pt>
                <c:pt idx="18">
                  <c:v>17.17</c:v>
                </c:pt>
                <c:pt idx="19">
                  <c:v>17.37</c:v>
                </c:pt>
                <c:pt idx="20">
                  <c:v>17.57</c:v>
                </c:pt>
                <c:pt idx="21">
                  <c:v>17.77</c:v>
                </c:pt>
                <c:pt idx="22">
                  <c:v>17.97</c:v>
                </c:pt>
                <c:pt idx="23">
                  <c:v>18.17</c:v>
                </c:pt>
                <c:pt idx="24">
                  <c:v>18.37</c:v>
                </c:pt>
                <c:pt idx="25">
                  <c:v>18.57</c:v>
                </c:pt>
                <c:pt idx="26">
                  <c:v>18.77</c:v>
                </c:pt>
                <c:pt idx="27">
                  <c:v>18.97</c:v>
                </c:pt>
                <c:pt idx="28">
                  <c:v>19.17</c:v>
                </c:pt>
                <c:pt idx="29">
                  <c:v>19.37</c:v>
                </c:pt>
                <c:pt idx="30">
                  <c:v>19.57</c:v>
                </c:pt>
                <c:pt idx="31">
                  <c:v>19.77</c:v>
                </c:pt>
                <c:pt idx="32">
                  <c:v>19.97</c:v>
                </c:pt>
              </c:strCache>
            </c:strRef>
          </c:cat>
          <c:val>
            <c:numRef>
              <c:f>Sheet1!$E$2:$E$34</c:f>
              <c:numCache>
                <c:formatCode>General</c:formatCode>
                <c:ptCount val="33"/>
                <c:pt idx="0">
                  <c:v>0.6598286827426829</c:v>
                </c:pt>
                <c:pt idx="1">
                  <c:v>0.6647694426157013</c:v>
                </c:pt>
                <c:pt idx="2">
                  <c:v>0.6695687347758201</c:v>
                </c:pt>
                <c:pt idx="3">
                  <c:v>0.6742325493873117</c:v>
                </c:pt>
                <c:pt idx="4">
                  <c:v>0.678766543132791</c:v>
                </c:pt>
                <c:pt idx="5">
                  <c:v>0.6831760621014555</c:v>
                </c:pt>
                <c:pt idx="6">
                  <c:v>0.6874661628177525</c:v>
                </c:pt>
                <c:pt idx="7">
                  <c:v>0.6916416315843825</c:v>
                </c:pt>
                <c:pt idx="8">
                  <c:v>0.6957070022952015</c:v>
                </c:pt>
                <c:pt idx="9">
                  <c:v>0.6996665728573979</c:v>
                </c:pt>
                <c:pt idx="10">
                  <c:v>0.7035244203479901</c:v>
                </c:pt>
                <c:pt idx="11">
                  <c:v>0.7072844150170075</c:v>
                </c:pt>
                <c:pt idx="12">
                  <c:v>0.7109502332384601</c:v>
                </c:pt>
                <c:pt idx="13">
                  <c:v>0.7145253695001983</c:v>
                </c:pt>
                <c:pt idx="14">
                  <c:v>0.7180131475148569</c:v>
                </c:pt>
                <c:pt idx="15">
                  <c:v>0.721416730526144</c:v>
                </c:pt>
                <c:pt idx="16">
                  <c:v>0.7247391308776509</c:v>
                </c:pt>
                <c:pt idx="17">
                  <c:v>0.727983218905021</c:v>
                </c:pt>
                <c:pt idx="18">
                  <c:v>0.7311517312066514</c:v>
                </c:pt>
                <c:pt idx="19">
                  <c:v>0.7342472783430171</c:v>
                </c:pt>
                <c:pt idx="20">
                  <c:v>0.7372723520101427</c:v>
                </c:pt>
                <c:pt idx="21">
                  <c:v>0.7402293317286555</c:v>
                </c:pt>
                <c:pt idx="22">
                  <c:v>0.743120491086155</c:v>
                </c:pt>
                <c:pt idx="23">
                  <c:v>0.7459480035673202</c:v>
                </c:pt>
                <c:pt idx="24">
                  <c:v>0.7487139480031686</c:v>
                </c:pt>
                <c:pt idx="25">
                  <c:v>0.7514203136681855</c:v>
                </c:pt>
                <c:pt idx="26">
                  <c:v>0.7540690050515826</c:v>
                </c:pt>
                <c:pt idx="27">
                  <c:v>0.7566618463267374</c:v>
                </c:pt>
                <c:pt idx="28">
                  <c:v>0.7592005855408559</c:v>
                </c:pt>
                <c:pt idx="29">
                  <c:v>0.7616868985450804</c:v>
                </c:pt>
                <c:pt idx="30">
                  <c:v>0.7641223926836079</c:v>
                </c:pt>
                <c:pt idx="31">
                  <c:v>0.7665086102588875</c:v>
                </c:pt>
                <c:pt idx="32">
                  <c:v>0.7688470317885933</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3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2</c:f>
              <c:strCache>
                <c:ptCount val="31"/>
                <c:pt idx="0">
                  <c:v>16.97</c:v>
                </c:pt>
                <c:pt idx="1">
                  <c:v>17.17</c:v>
                </c:pt>
                <c:pt idx="2">
                  <c:v>17.37</c:v>
                </c:pt>
                <c:pt idx="3">
                  <c:v>17.57</c:v>
                </c:pt>
                <c:pt idx="4">
                  <c:v>17.77</c:v>
                </c:pt>
                <c:pt idx="5">
                  <c:v>17.97</c:v>
                </c:pt>
                <c:pt idx="6">
                  <c:v>18.17</c:v>
                </c:pt>
                <c:pt idx="7">
                  <c:v>18.37</c:v>
                </c:pt>
                <c:pt idx="8">
                  <c:v>18.57</c:v>
                </c:pt>
                <c:pt idx="9">
                  <c:v>18.77</c:v>
                </c:pt>
                <c:pt idx="10">
                  <c:v>18.97</c:v>
                </c:pt>
                <c:pt idx="11">
                  <c:v>19.17</c:v>
                </c:pt>
                <c:pt idx="12">
                  <c:v>19.37</c:v>
                </c:pt>
                <c:pt idx="13">
                  <c:v>19.57</c:v>
                </c:pt>
                <c:pt idx="14">
                  <c:v>19.77</c:v>
                </c:pt>
                <c:pt idx="15">
                  <c:v>19.97</c:v>
                </c:pt>
                <c:pt idx="16">
                  <c:v>20.17</c:v>
                </c:pt>
                <c:pt idx="17">
                  <c:v>20.37</c:v>
                </c:pt>
                <c:pt idx="18">
                  <c:v>20.57</c:v>
                </c:pt>
                <c:pt idx="19">
                  <c:v>20.77</c:v>
                </c:pt>
                <c:pt idx="20">
                  <c:v>20.97</c:v>
                </c:pt>
                <c:pt idx="21">
                  <c:v>21.17</c:v>
                </c:pt>
                <c:pt idx="22">
                  <c:v>21.37</c:v>
                </c:pt>
                <c:pt idx="23">
                  <c:v>21.57</c:v>
                </c:pt>
                <c:pt idx="24">
                  <c:v>21.77</c:v>
                </c:pt>
                <c:pt idx="25">
                  <c:v>21.97</c:v>
                </c:pt>
                <c:pt idx="26">
                  <c:v>22.17</c:v>
                </c:pt>
                <c:pt idx="27">
                  <c:v>22.37</c:v>
                </c:pt>
                <c:pt idx="28">
                  <c:v>22.57</c:v>
                </c:pt>
                <c:pt idx="29">
                  <c:v>22.77</c:v>
                </c:pt>
                <c:pt idx="30">
                  <c:v>22.97</c:v>
                </c:pt>
              </c:strCache>
            </c:strRef>
          </c:cat>
          <c:val>
            <c:numRef>
              <c:f>Sheet1!$B$2:$B$32</c:f>
              <c:numCache>
                <c:formatCode>General</c:formatCode>
                <c:ptCount val="31"/>
                <c:pt idx="0">
                  <c:v>114.79805710513604</c:v>
                </c:pt>
                <c:pt idx="1">
                  <c:v>113.50005580388776</c:v>
                </c:pt>
                <c:pt idx="2">
                  <c:v>112.23446477850875</c:v>
                </c:pt>
                <c:pt idx="3">
                  <c:v>111.0000354375686</c:v>
                </c:pt>
                <c:pt idx="4">
                  <c:v>109.79556838069165</c:v>
                </c:pt>
                <c:pt idx="5">
                  <c:v>108.61991277460274</c:v>
                </c:pt>
                <c:pt idx="6">
                  <c:v>107.47196549623825</c:v>
                </c:pt>
                <c:pt idx="7">
                  <c:v>106.3506700882917</c:v>
                </c:pt>
                <c:pt idx="8">
                  <c:v>105.2550155659672</c:v>
                </c:pt>
                <c:pt idx="9">
                  <c:v>104.48138320107437</c:v>
                </c:pt>
                <c:pt idx="10">
                  <c:v>103.71553585954436</c:v>
                </c:pt>
                <c:pt idx="11">
                  <c:v>102.9573849879132</c:v>
                </c:pt>
                <c:pt idx="12">
                  <c:v>102.20684273530807</c:v>
                </c:pt>
                <c:pt idx="13">
                  <c:v>101.46382196702723</c:v>
                </c:pt>
                <c:pt idx="14">
                  <c:v>100.72823627711915</c:v>
                </c:pt>
                <c:pt idx="15">
                  <c:v>100.0</c:v>
                </c:pt>
                <c:pt idx="16">
                  <c:v>99.1254472971679</c:v>
                </c:pt>
                <c:pt idx="17">
                  <c:v>98.26896563834696</c:v>
                </c:pt>
                <c:pt idx="18">
                  <c:v>97.42996910888482</c:v>
                </c:pt>
                <c:pt idx="19">
                  <c:v>96.60789507606071</c:v>
                </c:pt>
                <c:pt idx="20">
                  <c:v>95.8022032170478</c:v>
                </c:pt>
                <c:pt idx="21">
                  <c:v>95.01237457983812</c:v>
                </c:pt>
                <c:pt idx="22">
                  <c:v>94.23791067760298</c:v>
                </c:pt>
                <c:pt idx="23">
                  <c:v>93.47833261663216</c:v>
                </c:pt>
                <c:pt idx="24">
                  <c:v>92.73318025774124</c:v>
                </c:pt>
                <c:pt idx="25">
                  <c:v>92.00201141079762</c:v>
                </c:pt>
                <c:pt idx="26">
                  <c:v>91.2844010618675</c:v>
                </c:pt>
                <c:pt idx="27">
                  <c:v>90.5799406323123</c:v>
                </c:pt>
                <c:pt idx="28">
                  <c:v>89.88823726908278</c:v>
                </c:pt>
                <c:pt idx="29">
                  <c:v>89.20891316535283</c:v>
                </c:pt>
                <c:pt idx="30">
                  <c:v>88.54160491057972</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2</c:f>
              <c:strCache>
                <c:ptCount val="31"/>
                <c:pt idx="0">
                  <c:v>16.97</c:v>
                </c:pt>
                <c:pt idx="1">
                  <c:v>17.17</c:v>
                </c:pt>
                <c:pt idx="2">
                  <c:v>17.37</c:v>
                </c:pt>
                <c:pt idx="3">
                  <c:v>17.57</c:v>
                </c:pt>
                <c:pt idx="4">
                  <c:v>17.77</c:v>
                </c:pt>
                <c:pt idx="5">
                  <c:v>17.97</c:v>
                </c:pt>
                <c:pt idx="6">
                  <c:v>18.17</c:v>
                </c:pt>
                <c:pt idx="7">
                  <c:v>18.37</c:v>
                </c:pt>
                <c:pt idx="8">
                  <c:v>18.57</c:v>
                </c:pt>
                <c:pt idx="9">
                  <c:v>18.77</c:v>
                </c:pt>
                <c:pt idx="10">
                  <c:v>18.97</c:v>
                </c:pt>
                <c:pt idx="11">
                  <c:v>19.17</c:v>
                </c:pt>
                <c:pt idx="12">
                  <c:v>19.37</c:v>
                </c:pt>
                <c:pt idx="13">
                  <c:v>19.57</c:v>
                </c:pt>
                <c:pt idx="14">
                  <c:v>19.77</c:v>
                </c:pt>
                <c:pt idx="15">
                  <c:v>19.97</c:v>
                </c:pt>
                <c:pt idx="16">
                  <c:v>20.17</c:v>
                </c:pt>
                <c:pt idx="17">
                  <c:v>20.37</c:v>
                </c:pt>
                <c:pt idx="18">
                  <c:v>20.57</c:v>
                </c:pt>
                <c:pt idx="19">
                  <c:v>20.77</c:v>
                </c:pt>
                <c:pt idx="20">
                  <c:v>20.97</c:v>
                </c:pt>
                <c:pt idx="21">
                  <c:v>21.17</c:v>
                </c:pt>
                <c:pt idx="22">
                  <c:v>21.37</c:v>
                </c:pt>
                <c:pt idx="23">
                  <c:v>21.57</c:v>
                </c:pt>
                <c:pt idx="24">
                  <c:v>21.77</c:v>
                </c:pt>
                <c:pt idx="25">
                  <c:v>21.97</c:v>
                </c:pt>
                <c:pt idx="26">
                  <c:v>22.17</c:v>
                </c:pt>
                <c:pt idx="27">
                  <c:v>22.37</c:v>
                </c:pt>
                <c:pt idx="28">
                  <c:v>22.57</c:v>
                </c:pt>
                <c:pt idx="29">
                  <c:v>22.77</c:v>
                </c:pt>
                <c:pt idx="30">
                  <c:v>22.97</c:v>
                </c:pt>
              </c:strCache>
            </c:strRef>
          </c:cat>
          <c:val>
            <c:numRef>
              <c:f>Sheet1!$C$2:$C$32</c:f>
              <c:numCache>
                <c:formatCode>General</c:formatCode>
                <c:ptCount val="31"/>
                <c:pt idx="0">
                  <c:v>97.78247076612445</c:v>
                </c:pt>
                <c:pt idx="1">
                  <c:v>97.80117927101422</c:v>
                </c:pt>
                <c:pt idx="2">
                  <c:v>97.82227417864291</c:v>
                </c:pt>
                <c:pt idx="3">
                  <c:v>97.84562645720123</c:v>
                </c:pt>
                <c:pt idx="4">
                  <c:v>97.87110104257279</c:v>
                </c:pt>
                <c:pt idx="5">
                  <c:v>97.89855873002455</c:v>
                </c:pt>
                <c:pt idx="6">
                  <c:v>97.92785781637298</c:v>
                </c:pt>
                <c:pt idx="7">
                  <c:v>97.95885551808081</c:v>
                </c:pt>
                <c:pt idx="8">
                  <c:v>97.991409188254</c:v>
                </c:pt>
                <c:pt idx="9">
                  <c:v>98.30152499378728</c:v>
                </c:pt>
                <c:pt idx="10">
                  <c:v>98.60366811688289</c:v>
                </c:pt>
                <c:pt idx="11">
                  <c:v>98.89799035712554</c:v>
                </c:pt>
                <c:pt idx="12">
                  <c:v>99.18464043721151</c:v>
                </c:pt>
                <c:pt idx="13">
                  <c:v>99.46376406073662</c:v>
                </c:pt>
                <c:pt idx="14">
                  <c:v>99.73550396945676</c:v>
                </c:pt>
                <c:pt idx="15">
                  <c:v>100.0</c:v>
                </c:pt>
                <c:pt idx="16">
                  <c:v>100.1063951144983</c:v>
                </c:pt>
                <c:pt idx="17">
                  <c:v>100.2138254187695</c:v>
                </c:pt>
                <c:pt idx="18">
                  <c:v>100.3222272193365</c:v>
                </c:pt>
                <c:pt idx="19">
                  <c:v>100.43153771008251</c:v>
                </c:pt>
                <c:pt idx="20">
                  <c:v>100.54169511004076</c:v>
                </c:pt>
                <c:pt idx="21">
                  <c:v>100.65263877808451</c:v>
                </c:pt>
                <c:pt idx="22">
                  <c:v>100.76430930731686</c:v>
                </c:pt>
                <c:pt idx="23">
                  <c:v>100.87664860164492</c:v>
                </c:pt>
                <c:pt idx="24">
                  <c:v>100.98959993675626</c:v>
                </c:pt>
                <c:pt idx="25">
                  <c:v>101.10310800744438</c:v>
                </c:pt>
                <c:pt idx="26">
                  <c:v>101.21711896303734</c:v>
                </c:pt>
                <c:pt idx="27">
                  <c:v>101.33158043245099</c:v>
                </c:pt>
                <c:pt idx="28">
                  <c:v>101.44644154024279</c:v>
                </c:pt>
                <c:pt idx="29">
                  <c:v>101.56165291486197</c:v>
                </c:pt>
                <c:pt idx="30">
                  <c:v>101.6771666901598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2</c:f>
              <c:strCache>
                <c:ptCount val="31"/>
                <c:pt idx="0">
                  <c:v>16.97</c:v>
                </c:pt>
                <c:pt idx="1">
                  <c:v>17.17</c:v>
                </c:pt>
                <c:pt idx="2">
                  <c:v>17.37</c:v>
                </c:pt>
                <c:pt idx="3">
                  <c:v>17.57</c:v>
                </c:pt>
                <c:pt idx="4">
                  <c:v>17.77</c:v>
                </c:pt>
                <c:pt idx="5">
                  <c:v>17.97</c:v>
                </c:pt>
                <c:pt idx="6">
                  <c:v>18.17</c:v>
                </c:pt>
                <c:pt idx="7">
                  <c:v>18.37</c:v>
                </c:pt>
                <c:pt idx="8">
                  <c:v>18.57</c:v>
                </c:pt>
                <c:pt idx="9">
                  <c:v>18.77</c:v>
                </c:pt>
                <c:pt idx="10">
                  <c:v>18.97</c:v>
                </c:pt>
                <c:pt idx="11">
                  <c:v>19.17</c:v>
                </c:pt>
                <c:pt idx="12">
                  <c:v>19.37</c:v>
                </c:pt>
                <c:pt idx="13">
                  <c:v>19.57</c:v>
                </c:pt>
                <c:pt idx="14">
                  <c:v>19.77</c:v>
                </c:pt>
                <c:pt idx="15">
                  <c:v>19.97</c:v>
                </c:pt>
                <c:pt idx="16">
                  <c:v>20.17</c:v>
                </c:pt>
                <c:pt idx="17">
                  <c:v>20.37</c:v>
                </c:pt>
                <c:pt idx="18">
                  <c:v>20.57</c:v>
                </c:pt>
                <c:pt idx="19">
                  <c:v>20.77</c:v>
                </c:pt>
                <c:pt idx="20">
                  <c:v>20.97</c:v>
                </c:pt>
                <c:pt idx="21">
                  <c:v>21.17</c:v>
                </c:pt>
                <c:pt idx="22">
                  <c:v>21.37</c:v>
                </c:pt>
                <c:pt idx="23">
                  <c:v>21.57</c:v>
                </c:pt>
                <c:pt idx="24">
                  <c:v>21.77</c:v>
                </c:pt>
                <c:pt idx="25">
                  <c:v>21.97</c:v>
                </c:pt>
                <c:pt idx="26">
                  <c:v>22.17</c:v>
                </c:pt>
                <c:pt idx="27">
                  <c:v>22.37</c:v>
                </c:pt>
                <c:pt idx="28">
                  <c:v>22.57</c:v>
                </c:pt>
                <c:pt idx="29">
                  <c:v>22.77</c:v>
                </c:pt>
                <c:pt idx="30">
                  <c:v>22.97</c:v>
                </c:pt>
              </c:strCache>
            </c:strRef>
          </c:cat>
          <c:val>
            <c:numRef>
              <c:f>Sheet1!$D$2:$D$32</c:f>
              <c:numCache>
                <c:formatCode>General</c:formatCode>
                <c:ptCount val="31"/>
                <c:pt idx="0">
                  <c:v>88.86032335827481</c:v>
                </c:pt>
                <c:pt idx="1">
                  <c:v>89.56721195202411</c:v>
                </c:pt>
                <c:pt idx="2">
                  <c:v>90.26106131570859</c:v>
                </c:pt>
                <c:pt idx="3">
                  <c:v>90.94231035960266</c:v>
                </c:pt>
                <c:pt idx="4">
                  <c:v>91.61136431604132</c:v>
                </c:pt>
                <c:pt idx="5">
                  <c:v>92.26859783892385</c:v>
                </c:pt>
                <c:pt idx="6">
                  <c:v>92.91435785518043</c:v>
                </c:pt>
                <c:pt idx="7">
                  <c:v>93.54896618238229</c:v>
                </c:pt>
                <c:pt idx="8">
                  <c:v>94.17272192637793</c:v>
                </c:pt>
                <c:pt idx="9">
                  <c:v>95.05183746552851</c:v>
                </c:pt>
                <c:pt idx="10">
                  <c:v>95.91496994841224</c:v>
                </c:pt>
                <c:pt idx="11">
                  <c:v>96.76238428873944</c:v>
                </c:pt>
                <c:pt idx="12">
                  <c:v>97.59434083344613</c:v>
                </c:pt>
                <c:pt idx="13">
                  <c:v>98.41109542633404</c:v>
                </c:pt>
                <c:pt idx="14">
                  <c:v>99.212899472002</c:v>
                </c:pt>
                <c:pt idx="15">
                  <c:v>100.0</c:v>
                </c:pt>
                <c:pt idx="16">
                  <c:v>100.61970541769027</c:v>
                </c:pt>
                <c:pt idx="17">
                  <c:v>101.23168877291835</c:v>
                </c:pt>
                <c:pt idx="18">
                  <c:v>101.83615314843912</c:v>
                </c:pt>
                <c:pt idx="19">
                  <c:v>102.43329112310087</c:v>
                </c:pt>
                <c:pt idx="20">
                  <c:v>103.02328546827117</c:v>
                </c:pt>
                <c:pt idx="21">
                  <c:v>103.60630979359588</c:v>
                </c:pt>
                <c:pt idx="22">
                  <c:v>104.18252914595702</c:v>
                </c:pt>
                <c:pt idx="23">
                  <c:v>104.75210056519697</c:v>
                </c:pt>
                <c:pt idx="24">
                  <c:v>105.31517359991828</c:v>
                </c:pt>
                <c:pt idx="25">
                  <c:v>105.8718907863931</c:v>
                </c:pt>
                <c:pt idx="26">
                  <c:v>106.42238809340803</c:v>
                </c:pt>
                <c:pt idx="27">
                  <c:v>106.96679533561746</c:v>
                </c:pt>
                <c:pt idx="28">
                  <c:v>107.50523655780688</c:v>
                </c:pt>
                <c:pt idx="29">
                  <c:v>108.03783039225895</c:v>
                </c:pt>
                <c:pt idx="30">
                  <c:v>108.56469039124596</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2</c:f>
              <c:strCache>
                <c:ptCount val="31"/>
                <c:pt idx="0">
                  <c:v>16.97</c:v>
                </c:pt>
                <c:pt idx="1">
                  <c:v>17.17</c:v>
                </c:pt>
                <c:pt idx="2">
                  <c:v>17.37</c:v>
                </c:pt>
                <c:pt idx="3">
                  <c:v>17.57</c:v>
                </c:pt>
                <c:pt idx="4">
                  <c:v>17.77</c:v>
                </c:pt>
                <c:pt idx="5">
                  <c:v>17.97</c:v>
                </c:pt>
                <c:pt idx="6">
                  <c:v>18.17</c:v>
                </c:pt>
                <c:pt idx="7">
                  <c:v>18.37</c:v>
                </c:pt>
                <c:pt idx="8">
                  <c:v>18.57</c:v>
                </c:pt>
                <c:pt idx="9">
                  <c:v>18.77</c:v>
                </c:pt>
                <c:pt idx="10">
                  <c:v>18.97</c:v>
                </c:pt>
                <c:pt idx="11">
                  <c:v>19.17</c:v>
                </c:pt>
                <c:pt idx="12">
                  <c:v>19.37</c:v>
                </c:pt>
                <c:pt idx="13">
                  <c:v>19.57</c:v>
                </c:pt>
                <c:pt idx="14">
                  <c:v>19.77</c:v>
                </c:pt>
                <c:pt idx="15">
                  <c:v>19.97</c:v>
                </c:pt>
                <c:pt idx="16">
                  <c:v>20.17</c:v>
                </c:pt>
                <c:pt idx="17">
                  <c:v>20.37</c:v>
                </c:pt>
                <c:pt idx="18">
                  <c:v>20.57</c:v>
                </c:pt>
                <c:pt idx="19">
                  <c:v>20.77</c:v>
                </c:pt>
                <c:pt idx="20">
                  <c:v>20.97</c:v>
                </c:pt>
                <c:pt idx="21">
                  <c:v>21.17</c:v>
                </c:pt>
                <c:pt idx="22">
                  <c:v>21.37</c:v>
                </c:pt>
                <c:pt idx="23">
                  <c:v>21.57</c:v>
                </c:pt>
                <c:pt idx="24">
                  <c:v>21.77</c:v>
                </c:pt>
                <c:pt idx="25">
                  <c:v>21.97</c:v>
                </c:pt>
                <c:pt idx="26">
                  <c:v>22.17</c:v>
                </c:pt>
                <c:pt idx="27">
                  <c:v>22.37</c:v>
                </c:pt>
                <c:pt idx="28">
                  <c:v>22.57</c:v>
                </c:pt>
                <c:pt idx="29">
                  <c:v>22.77</c:v>
                </c:pt>
                <c:pt idx="30">
                  <c:v>22.97</c:v>
                </c:pt>
              </c:strCache>
            </c:strRef>
          </c:cat>
          <c:val>
            <c:numRef>
              <c:f>Sheet1!$E$2:$E$32</c:f>
              <c:numCache>
                <c:formatCode>General</c:formatCode>
                <c:ptCount val="31"/>
                <c:pt idx="0">
                  <c:v>0.6084654593637853</c:v>
                </c:pt>
                <c:pt idx="1">
                  <c:v>0.6130261412582082</c:v>
                </c:pt>
                <c:pt idx="2">
                  <c:v>0.6174817988142449</c:v>
                </c:pt>
                <c:pt idx="3">
                  <c:v>0.6218360185204005</c:v>
                </c:pt>
                <c:pt idx="4">
                  <c:v>0.6260922254025569</c:v>
                </c:pt>
                <c:pt idx="5">
                  <c:v>0.630253692009095</c:v>
                </c:pt>
                <c:pt idx="6">
                  <c:v>0.6343235468026107</c:v>
                </c:pt>
                <c:pt idx="7">
                  <c:v>0.6383047820034533</c:v>
                </c:pt>
                <c:pt idx="8">
                  <c:v>0.6422002609264101</c:v>
                </c:pt>
                <c:pt idx="9">
                  <c:v>0.646012724848345</c:v>
                </c:pt>
                <c:pt idx="10">
                  <c:v>0.6497447994414042</c:v>
                </c:pt>
                <c:pt idx="11">
                  <c:v>0.6533990008035178</c:v>
                </c:pt>
                <c:pt idx="12">
                  <c:v>0.6569777411153039</c:v>
                </c:pt>
                <c:pt idx="13">
                  <c:v>0.6604833339500988</c:v>
                </c:pt>
                <c:pt idx="14">
                  <c:v>0.6639179992616812</c:v>
                </c:pt>
                <c:pt idx="15">
                  <c:v>0.6672838680722802</c:v>
                </c:pt>
                <c:pt idx="16">
                  <c:v>0.6705829868816774</c:v>
                </c:pt>
                <c:pt idx="17">
                  <c:v>0.6738173218165652</c:v>
                </c:pt>
                <c:pt idx="18">
                  <c:v>0.6769887625378432</c:v>
                </c:pt>
                <c:pt idx="19">
                  <c:v>0.6800991259221683</c:v>
                </c:pt>
                <c:pt idx="20">
                  <c:v>0.6831501595328295</c:v>
                </c:pt>
                <c:pt idx="21">
                  <c:v>0.6861435448938799</c:v>
                </c:pt>
                <c:pt idx="22">
                  <c:v>0.6890809005804135</c:v>
                </c:pt>
                <c:pt idx="23">
                  <c:v>0.6919637851369232</c:v>
                </c:pt>
                <c:pt idx="24">
                  <c:v>0.6947936998347926</c:v>
                </c:pt>
                <c:pt idx="25">
                  <c:v>0.6975720912791732</c:v>
                </c:pt>
                <c:pt idx="26">
                  <c:v>0.7003003538747602</c:v>
                </c:pt>
                <c:pt idx="27">
                  <c:v>0.7029798321592953</c:v>
                </c:pt>
                <c:pt idx="28">
                  <c:v>0.7056118230130012</c:v>
                </c:pt>
                <c:pt idx="29">
                  <c:v>0.7081975777515783</c:v>
                </c:pt>
                <c:pt idx="30">
                  <c:v>0.7107383041098579</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70.0"/>
          <c:max val="14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364410230249504"/>
          <c:y val="2.7170386339721821E-2"/>
          <c:w val="0.86774252569994759"/>
          <c:h val="0.85363091822778381"/>
        </c:manualLayout>
      </c:layout>
      <c:scatterChart>
        <c:scatterStyle val="lineMarker"/>
        <c:varyColors val="0"/>
        <c:ser>
          <c:idx val="0"/>
          <c:order val="0"/>
          <c:tx>
            <c:strRef>
              <c:f>Sheet1!$B$1</c:f>
              <c:strCache>
                <c:ptCount val="1"/>
                <c:pt idx="0">
                  <c:v>PE up</c:v>
                </c:pt>
              </c:strCache>
            </c:strRef>
          </c:tx>
          <c:spPr>
            <a:ln w="9525" cap="rnd">
              <a:noFill/>
              <a:round/>
            </a:ln>
            <a:effectLst/>
          </c:spPr>
          <c:marker>
            <c:symbol val="circle"/>
            <c:size val="9"/>
            <c:spPr>
              <a:solidFill>
                <a:schemeClr val="tx1"/>
              </a:solidFill>
              <a:ln w="19050">
                <a:solidFill>
                  <a:schemeClr val="bg1"/>
                </a:solidFill>
              </a:ln>
              <a:effectLst/>
            </c:spPr>
          </c:marker>
          <c:dPt>
            <c:idx val="0"/>
            <c:bubble3D val="0"/>
            <c:extLst>
              <c:ext xmlns:c16="http://schemas.microsoft.com/office/drawing/2014/chart" uri="{C3380CC4-5D6E-409C-BE32-E72D297353CC}">
                <c16:uniqueId val="{00000000-B0D5-4750-8C19-9F9BE9CE2B4F}"/>
              </c:ext>
            </c:extLst>
          </c:dPt>
          <c:dPt>
            <c:idx val="1"/>
            <c:bubble3D val="0"/>
            <c:extLst>
              <c:ext xmlns:c16="http://schemas.microsoft.com/office/drawing/2014/chart" uri="{C3380CC4-5D6E-409C-BE32-E72D297353CC}">
                <c16:uniqueId val="{00000001-B0D5-4750-8C19-9F9BE9CE2B4F}"/>
              </c:ext>
            </c:extLst>
          </c:dPt>
          <c:dPt>
            <c:idx val="2"/>
            <c:bubble3D val="0"/>
            <c:extLst>
              <c:ext xmlns:c16="http://schemas.microsoft.com/office/drawing/2014/chart" uri="{C3380CC4-5D6E-409C-BE32-E72D297353CC}">
                <c16:uniqueId val="{00000002-B0D5-4750-8C19-9F9BE9CE2B4F}"/>
              </c:ext>
            </c:extLst>
          </c:dPt>
          <c:dPt>
            <c:idx val="3"/>
            <c:bubble3D val="0"/>
            <c:extLst>
              <c:ext xmlns:c16="http://schemas.microsoft.com/office/drawing/2014/chart" uri="{C3380CC4-5D6E-409C-BE32-E72D297353CC}">
                <c16:uniqueId val="{00000003-B0D5-4750-8C19-9F9BE9CE2B4F}"/>
              </c:ext>
            </c:extLst>
          </c:dPt>
          <c:dPt>
            <c:idx val="4"/>
            <c:bubble3D val="0"/>
            <c:extLst>
              <c:ext xmlns:c16="http://schemas.microsoft.com/office/drawing/2014/chart" uri="{C3380CC4-5D6E-409C-BE32-E72D297353CC}">
                <c16:uniqueId val="{00000004-B0D5-4750-8C19-9F9BE9CE2B4F}"/>
              </c:ext>
            </c:extLst>
          </c:dPt>
          <c:dPt>
            <c:idx val="5"/>
            <c:bubble3D val="0"/>
            <c:extLst>
              <c:ext xmlns:c16="http://schemas.microsoft.com/office/drawing/2014/chart" uri="{C3380CC4-5D6E-409C-BE32-E72D297353CC}">
                <c16:uniqueId val="{00000005-B0D5-4750-8C19-9F9BE9CE2B4F}"/>
              </c:ext>
            </c:extLst>
          </c:dPt>
          <c:dPt>
            <c:idx val="6"/>
            <c:bubble3D val="0"/>
            <c:extLst>
              <c:ext xmlns:c16="http://schemas.microsoft.com/office/drawing/2014/chart" uri="{C3380CC4-5D6E-409C-BE32-E72D297353CC}">
                <c16:uniqueId val="{00000006-B0D5-4750-8C19-9F9BE9CE2B4F}"/>
              </c:ext>
            </c:extLst>
          </c:dPt>
          <c:dPt>
            <c:idx val="7"/>
            <c:bubble3D val="0"/>
            <c:extLst>
              <c:ext xmlns:c16="http://schemas.microsoft.com/office/drawing/2014/chart" uri="{C3380CC4-5D6E-409C-BE32-E72D297353CC}">
                <c16:uniqueId val="{00000007-B0D5-4750-8C19-9F9BE9CE2B4F}"/>
              </c:ext>
            </c:extLst>
          </c:dPt>
          <c:dPt>
            <c:idx val="9"/>
            <c:bubble3D val="0"/>
            <c:extLst>
              <c:ext xmlns:c16="http://schemas.microsoft.com/office/drawing/2014/chart" uri="{C3380CC4-5D6E-409C-BE32-E72D297353CC}">
                <c16:uniqueId val="{0000000C-B0D5-4750-8C19-9F9BE9CE2B4F}"/>
              </c:ext>
            </c:extLst>
          </c:dPt>
          <c:dPt>
            <c:idx val="12"/>
            <c:bubble3D val="0"/>
            <c:extLst>
              <c:ext xmlns:c16="http://schemas.microsoft.com/office/drawing/2014/chart" uri="{C3380CC4-5D6E-409C-BE32-E72D297353CC}">
                <c16:uniqueId val="{00000009-B0D5-4750-8C19-9F9BE9CE2B4F}"/>
              </c:ext>
            </c:extLst>
          </c:dPt>
          <c:dPt>
            <c:idx val="13"/>
            <c:bubble3D val="0"/>
            <c:extLst>
              <c:ext xmlns:c16="http://schemas.microsoft.com/office/drawing/2014/chart" uri="{C3380CC4-5D6E-409C-BE32-E72D297353CC}">
                <c16:uniqueId val="{0000000A-B0D5-4750-8C19-9F9BE9CE2B4F}"/>
              </c:ext>
            </c:extLst>
          </c:dPt>
          <c:dPt>
            <c:idx val="14"/>
            <c:bubble3D val="0"/>
            <c:extLst>
              <c:ext xmlns:c16="http://schemas.microsoft.com/office/drawing/2014/chart" uri="{C3380CC4-5D6E-409C-BE32-E72D297353CC}">
                <c16:uniqueId val="{0000000B-B0D5-4750-8C19-9F9BE9CE2B4F}"/>
              </c:ext>
            </c:extLst>
          </c:dPt>
          <c:dPt>
            <c:idx val="16"/>
            <c:bubble3D val="0"/>
            <c:extLst>
              <c:ext xmlns:c16="http://schemas.microsoft.com/office/drawing/2014/chart" uri="{C3380CC4-5D6E-409C-BE32-E72D297353CC}">
                <c16:uniqueId val="{00000012-B0D5-4750-8C19-9F9BE9CE2B4F}"/>
              </c:ext>
            </c:extLst>
          </c:dPt>
          <c:dLbls>
            <c:dLbl>
              <c:idx val="0"/>
              <c:tx>
                <c:rich>
                  <a:bodyPr/>
                  <a:lstStyle/>
                  <a:p>
                    <a:r>
                      <a:t>Schick</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B0D5-4750-8C19-9F9BE9CE2B4F}"/>
                </c:ext>
              </c:extLst>
            </c:dLbl>
            <c:dLbl>
              <c:idx val="1"/>
              <c:tx>
                <c:rich>
                  <a:bodyPr/>
                  <a:lstStyle/>
                  <a:p>
                    <a:r>
                      <a:t>Equate</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B0D5-4750-8C19-9F9BE9CE2B4F}"/>
                </c:ext>
              </c:extLst>
            </c:dLbl>
            <c:dLbl>
              <c:idx val="2"/>
              <c:tx>
                <c:rich>
                  <a:bodyPr/>
                  <a:lstStyle/>
                  <a:p>
                    <a:r>
                      <a:t>Gillette</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B0D5-4750-8C19-9F9BE9CE2B4F}"/>
                </c:ext>
              </c:extLst>
            </c:dLbl>
            <c:dLbl>
              <c:idx val="3"/>
              <c:tx>
                <c:rich>
                  <a:bodyPr/>
                  <a:lstStyle/>
                  <a:p>
                    <a:r>
                      <a:t>Bic</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B0D5-4750-8C19-9F9BE9CE2B4F}"/>
                </c:ext>
              </c:extLst>
            </c:dLbl>
            <c:dLbl>
              <c:idx val="4"/>
              <c:tx>
                <c:rich>
                  <a:bodyPr/>
                  <a:lstStyle/>
                  <a:p>
                    <a:r>
                      <a:rPr lang="en-US"/>
                      <a:t>Galaxy</a:t>
                    </a:r>
                  </a:p>
                </c:rich>
              </c:tx>
              <c:dLblPos val="t"/>
              <c:showLegendKey val="0"/>
              <c:showVal val="0"/>
              <c:showCatName val="0"/>
              <c:showSerName val="0"/>
              <c:showPercent val="0"/>
              <c:showBubbleSize val="0"/>
              <c:extLst>
                <c:ext xmlns:c15="http://schemas.microsoft.com/office/drawing/2012/chart" uri="{CE6537A1-D6FC-4f65-9D91-7224C49458BB}">
                  <c15:layout>
                    <c:manualLayout>
                      <c:w val="5.6451516574947062E-2"/>
                      <c:h val="5.3314955203308069E-2"/>
                    </c:manualLayout>
                  </c15:layout>
                  <c15:showDataLabelsRange val="1"/>
                </c:ext>
                <c:ext xmlns:c16="http://schemas.microsoft.com/office/drawing/2014/chart" uri="{C3380CC4-5D6E-409C-BE32-E72D297353CC}">
                  <c16:uniqueId val="{00000004-B0D5-4750-8C19-9F9BE9CE2B4F}"/>
                </c:ext>
              </c:extLst>
            </c:dLbl>
            <c:dLbl>
              <c:idx val="5"/>
              <c:tx>
                <c:rich>
                  <a:bodyPr/>
                  <a:lstStyle/>
                  <a:p>
                    <a:r>
                      <a:rPr lang="en-US"/>
                      <a:t>Godiva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B0D5-4750-8C19-9F9BE9CE2B4F}"/>
                </c:ext>
              </c:extLst>
            </c:dLbl>
            <c:dLbl>
              <c:idx val="6"/>
              <c:tx>
                <c:rich>
                  <a:bodyPr/>
                  <a:lstStyle/>
                  <a:p>
                    <a:r>
                      <a:rPr lang="en-US"/>
                      <a:t>Hershey'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B0D5-4750-8C19-9F9BE9CE2B4F}"/>
                </c:ext>
              </c:extLst>
            </c:dLbl>
            <c:dLbl>
              <c:idx val="7"/>
              <c:tx>
                <c:rich>
                  <a:bodyPr/>
                  <a:lstStyle/>
                  <a:p>
                    <a:r>
                      <a:rPr lang="en-US"/>
                      <a:t>Hershey's Kisse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B0D5-4750-8C19-9F9BE9CE2B4F}"/>
                </c:ext>
              </c:extLst>
            </c:dLbl>
            <c:dLbl>
              <c:idx val="8"/>
              <c:tx>
                <c:rich>
                  <a:bodyPr/>
                  <a:lstStyle/>
                  <a:p>
                    <a:r>
                      <a:rPr lang="en-US"/>
                      <a:t>Reese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D362-4FD3-9AF9-43BE4338AF3D}"/>
                </c:ext>
              </c:extLst>
            </c:dLbl>
            <c:dLbl>
              <c:idx val="9"/>
              <c:tx>
                <c:rich>
                  <a:bodyPr/>
                  <a:lstStyle/>
                  <a:p>
                    <a:r>
                      <a:rPr lang="en-US"/>
                      <a:t>Kinder</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B0D5-4750-8C19-9F9BE9CE2B4F}"/>
                </c:ext>
              </c:extLst>
            </c:dLbl>
            <c:dLbl>
              <c:idx val="10"/>
              <c:tx>
                <c:rich>
                  <a:bodyPr/>
                  <a:lstStyle/>
                  <a:p>
                    <a:r>
                      <a:rPr lang="en-US"/>
                      <a:t>Kit Kat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D362-4FD3-9AF9-43BE4338AF3D}"/>
                </c:ext>
              </c:extLst>
            </c:dLbl>
            <c:dLbl>
              <c:idx val="11"/>
              <c:tx>
                <c:rich>
                  <a:bodyPr/>
                  <a:lstStyle/>
                  <a:p>
                    <a:r>
                      <a:rPr lang="en-US"/>
                      <a:t>M&amp;M'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D362-4FD3-9AF9-43BE4338AF3D}"/>
                </c:ext>
              </c:extLst>
            </c:dLbl>
            <c:dLbl>
              <c:idx val="12"/>
              <c:tx>
                <c:rich>
                  <a:bodyPr/>
                  <a:lstStyle/>
                  <a:p>
                    <a:r>
                      <a:rPr lang="en-US"/>
                      <a:t>Mackintosh</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B0D5-4750-8C19-9F9BE9CE2B4F}"/>
                </c:ext>
              </c:extLst>
            </c:dLbl>
            <c:dLbl>
              <c:idx val="13"/>
              <c:tx>
                <c:rich>
                  <a:bodyPr/>
                  <a:lstStyle/>
                  <a:p>
                    <a:r>
                      <a:rPr lang="en-US"/>
                      <a:t>Maltese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0D5-4750-8C19-9F9BE9CE2B4F}"/>
                </c:ext>
              </c:extLst>
            </c:dLbl>
            <c:dLbl>
              <c:idx val="14"/>
              <c:tx>
                <c:rich>
                  <a:bodyPr/>
                  <a:lstStyle/>
                  <a:p>
                    <a:r>
                      <a:rPr lang="en-US"/>
                      <a:t>Ma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B0D5-4750-8C19-9F9BE9CE2B4F}"/>
                </c:ext>
              </c:extLst>
            </c:dLbl>
            <c:dLbl>
              <c:idx val="15"/>
              <c:tx>
                <c:rich>
                  <a:bodyPr/>
                  <a:lstStyle/>
                  <a:p>
                    <a:r>
                      <a:rPr lang="en-US"/>
                      <a:t>Snickers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2704-469A-BFAC-FD9CF5DB2713}"/>
                </c:ext>
              </c:extLst>
            </c:dLbl>
            <c:dLbl>
              <c:idx val="16"/>
              <c:tx>
                <c:rich>
                  <a:bodyPr/>
                  <a:lstStyle/>
                  <a:p>
                    <a:r>
                      <a:rPr lang="en-US"/>
                      <a:t>Tiffany</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B0D5-4750-8C19-9F9BE9CE2B4F}"/>
                </c:ext>
              </c:extLst>
            </c:dLbl>
            <c:dLbl>
              <c:idx val="17"/>
              <c:tx>
                <c:rich>
                  <a:bodyPr/>
                  <a:lstStyle/>
                  <a:p>
                    <a:r>
                      <a:rPr lang="en-US"/>
                      <a:t>Toblerone</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2704-469A-BFAC-FD9CF5DB2713}"/>
                </c:ext>
              </c:extLst>
            </c:dLbl>
            <c:dLbl>
              <c:idx val="18"/>
              <c:tx>
                <c:rich>
                  <a:bodyPr/>
                  <a:lstStyle/>
                  <a:p>
                    <a:r>
                      <a:rPr lang="en-US"/>
                      <a:t>Twix</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2704-469A-BFAC-FD9CF5DB2713}"/>
                </c:ext>
              </c:extLst>
            </c:dLbl>
            <c:spPr>
              <a:noFill/>
              <a:ln>
                <a:noFill/>
              </a:ln>
              <a:effectLst/>
            </c:spPr>
            <c:txPr>
              <a:bodyPr rot="0" spcFirstLastPara="1" vertOverflow="ellipsis" vert="horz" wrap="non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0"/>
              </c:ext>
            </c:extLst>
          </c:dLbls>
          <c:xVal>
            <c:numRef>
              <c:f>Sheet1!$A$2:$A$5</c:f>
              <c:numCache>
                <c:formatCode>General</c:formatCode>
                <c:ptCount val="4"/>
                <c:pt idx="0">
                  <c:v>-0.8279727264994117</c:v>
                </c:pt>
                <c:pt idx="1">
                  <c:v>-0.16466784913380908</c:v>
                </c:pt>
                <c:pt idx="2">
                  <c:v>-0.7523330973864419</c:v>
                </c:pt>
                <c:pt idx="3">
                  <c:v>-0.4566461578336188</c:v>
                </c:pt>
              </c:numCache>
            </c:numRef>
          </c:xVal>
          <c:yVal>
            <c:numRef>
              <c:f>Sheet1!$B$2:$B$5</c:f>
              <c:numCache>
                <c:formatCode>General</c:formatCode>
                <c:ptCount val="4"/>
                <c:pt idx="0">
                  <c:v>-1.152006514055162</c:v>
                </c:pt>
                <c:pt idx="1">
                  <c:v>-0.202928375687319</c:v>
                </c:pt>
                <c:pt idx="2">
                  <c:v>-0.637824611626706</c:v>
                </c:pt>
                <c:pt idx="3">
                  <c:v>-0.4279086077489828</c:v>
                </c:pt>
              </c:numCache>
            </c:numRef>
          </c:yVal>
          <c:smooth val="0"/>
          <c:extLst>
            <c:ext xmlns:c15="http://schemas.microsoft.com/office/drawing/2012/chart" uri="{02D57815-91ED-43cb-92C2-25804820EDAC}">
              <c15:datalabelsRange>
                <c15:f>Sheet1!$C$2:$C$16</c15:f>
                <c15:dlblRangeCache>
                  <c:ptCount val="15"/>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15:dlblRangeCache>
              </c15:datalabelsRange>
            </c:ext>
            <c:ext xmlns:c16="http://schemas.microsoft.com/office/drawing/2014/chart" uri="{C3380CC4-5D6E-409C-BE32-E72D297353CC}">
              <c16:uniqueId val="{0000000E-B0D5-4750-8C19-9F9BE9CE2B4F}"/>
            </c:ext>
          </c:extLst>
        </c:ser>
        <c:dLbls>
          <c:dLblPos val="t"/>
          <c:showLegendKey val="0"/>
          <c:showVal val="1"/>
          <c:showCatName val="0"/>
          <c:showSerName val="0"/>
          <c:showPercent val="0"/>
          <c:showBubbleSize val="0"/>
        </c:dLbls>
        <c:axId val="1923850352"/>
        <c:axId val="1923855760"/>
      </c:scatterChart>
      <c:valAx>
        <c:axId val="1923850352"/>
        <c:scaling>
          <c:orientation val="maxMin"/>
          <c:max val="0"/>
        </c:scaling>
        <c:delete val="0"/>
        <c:axPos val="t"/>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5760"/>
        <c:crossesAt val="-1"/>
        <c:crossBetween val="midCat"/>
      </c:valAx>
      <c:valAx>
        <c:axId val="1923855760"/>
        <c:scaling>
          <c:orientation val="maxMin"/>
        </c:scaling>
        <c:delete val="0"/>
        <c:axPos val="r"/>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0352"/>
        <c:crossesAt val="-1"/>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arrys Razor (6.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ollar Shave Club Razor (2.0%)</c:v>
                </c:pt>
                <c:pt idx="1">
                  <c:v>Gillette Razor (13.9%)</c:v>
                </c:pt>
                <c:pt idx="2">
                  <c:v>Bic Dispo (16.9%)</c:v>
                </c:pt>
                <c:pt idx="3">
                  <c:v>Gillette Dispo (17.5%)</c:v>
                </c:pt>
                <c:pt idx="4">
                  <c:v>Dollar Shave Club Blade (0.9%)</c:v>
                </c:pt>
                <c:pt idx="5">
                  <c:v>Equate Dispo (19.1%)</c:v>
                </c:pt>
                <c:pt idx="6">
                  <c:v>Gillette Blade (7.3%)</c:v>
                </c:pt>
                <c:pt idx="7">
                  <c:v>Schick Razor (2.1%)</c:v>
                </c:pt>
                <c:pt idx="8">
                  <c:v>Van Der Hagen Razor (0.8%)</c:v>
                </c:pt>
                <c:pt idx="9">
                  <c:v>Schick Dispo (8.1%)</c:v>
                </c:pt>
              </c:strCache>
            </c:strRef>
          </c:cat>
          <c:val>
            <c:numRef>
              <c:f>Sheet1!$B$2:$B$11</c:f>
              <c:numCache>
                <c:formatCode>General</c:formatCode>
                <c:ptCount val="10"/>
                <c:pt idx="0">
                  <c:v>0.22450171249891548</c:v>
                </c:pt>
                <c:pt idx="1">
                  <c:v>0.15408130583162064</c:v>
                </c:pt>
                <c:pt idx="2">
                  <c:v>0.13798243661659623</c:v>
                </c:pt>
                <c:pt idx="3">
                  <c:v>0.10141263868923234</c:v>
                </c:pt>
                <c:pt idx="4">
                  <c:v>0.08853519874569828</c:v>
                </c:pt>
                <c:pt idx="5">
                  <c:v>0.08166632367286944</c:v>
                </c:pt>
                <c:pt idx="6">
                  <c:v>0.054922352398763405</c:v>
                </c:pt>
                <c:pt idx="7">
                  <c:v>0.03396297182343818</c:v>
                </c:pt>
                <c:pt idx="8">
                  <c:v>0.029732470590973427</c:v>
                </c:pt>
                <c:pt idx="9">
                  <c:v>0.02957532393218645</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Dollar Shave Club Razor (2.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quate Dispo (19.1%)</c:v>
                </c:pt>
                <c:pt idx="1">
                  <c:v>Bic Dispo (16.9%)</c:v>
                </c:pt>
                <c:pt idx="2">
                  <c:v>Harrys Razor (6.2%)</c:v>
                </c:pt>
                <c:pt idx="3">
                  <c:v>Gillette Dispo (17.5%)</c:v>
                </c:pt>
                <c:pt idx="4">
                  <c:v>Gillette Razor (13.9%)</c:v>
                </c:pt>
                <c:pt idx="5">
                  <c:v>Harrys Blade (5.0%)</c:v>
                </c:pt>
                <c:pt idx="6">
                  <c:v>Schick Dispo (8.1%)</c:v>
                </c:pt>
                <c:pt idx="7">
                  <c:v>Equate Razor (1.1%)</c:v>
                </c:pt>
                <c:pt idx="8">
                  <c:v>Schick Razor (2.1%)</c:v>
                </c:pt>
                <c:pt idx="9">
                  <c:v>Gillette Blade (7.3%)</c:v>
                </c:pt>
              </c:strCache>
            </c:strRef>
          </c:cat>
          <c:val>
            <c:numRef>
              <c:f>Sheet1!$B$2:$B$11</c:f>
              <c:numCache>
                <c:formatCode>General</c:formatCode>
                <c:ptCount val="10"/>
                <c:pt idx="0">
                  <c:v>0.29320366944723786</c:v>
                </c:pt>
                <c:pt idx="1">
                  <c:v>0.23244675100722922</c:v>
                </c:pt>
                <c:pt idx="2">
                  <c:v>0.11940172951628468</c:v>
                </c:pt>
                <c:pt idx="3">
                  <c:v>0.07576391231571299</c:v>
                </c:pt>
                <c:pt idx="4">
                  <c:v>0.07099368854831466</c:v>
                </c:pt>
                <c:pt idx="5">
                  <c:v>0.07016570937570323</c:v>
                </c:pt>
                <c:pt idx="6">
                  <c:v>0.044367316995666053</c:v>
                </c:pt>
                <c:pt idx="7">
                  <c:v>0.033342454256228844</c:v>
                </c:pt>
                <c:pt idx="8">
                  <c:v>0.029729372318452213</c:v>
                </c:pt>
                <c:pt idx="9">
                  <c:v>0.02802586911287657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Dollar Shave Club Razor (2.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Bic Dispo (16.9%)</c:v>
                </c:pt>
                <c:pt idx="1">
                  <c:v>Equate Dispo (19.1%)</c:v>
                </c:pt>
                <c:pt idx="2">
                  <c:v>Harrys Razor (6.2%)</c:v>
                </c:pt>
                <c:pt idx="3">
                  <c:v>Gillette Dispo (17.5%)</c:v>
                </c:pt>
                <c:pt idx="4">
                  <c:v>Gillette Razor (13.9%)</c:v>
                </c:pt>
                <c:pt idx="5">
                  <c:v>Harrys Blade (5.0%)</c:v>
                </c:pt>
                <c:pt idx="6">
                  <c:v>Schick Razor (2.1%)</c:v>
                </c:pt>
                <c:pt idx="7">
                  <c:v>Schick Dispo (8.1%)</c:v>
                </c:pt>
                <c:pt idx="8">
                  <c:v>Gillette Blade (7.3%)</c:v>
                </c:pt>
                <c:pt idx="9">
                  <c:v>Equate Razor (1.1%)</c:v>
                </c:pt>
              </c:strCache>
            </c:strRef>
          </c:cat>
          <c:val>
            <c:numRef>
              <c:f>Sheet1!$B$2:$B$11</c:f>
              <c:numCache>
                <c:formatCode>General</c:formatCode>
                <c:ptCount val="10"/>
                <c:pt idx="0">
                  <c:v>0.22371109115257393</c:v>
                </c:pt>
                <c:pt idx="1">
                  <c:v>0.1989296090227841</c:v>
                </c:pt>
                <c:pt idx="2">
                  <c:v>0.1558348951033619</c:v>
                </c:pt>
                <c:pt idx="3">
                  <c:v>0.10580331557528999</c:v>
                </c:pt>
                <c:pt idx="4">
                  <c:v>0.10372310143406699</c:v>
                </c:pt>
                <c:pt idx="5">
                  <c:v>0.08512689425573976</c:v>
                </c:pt>
                <c:pt idx="6">
                  <c:v>0.04427998488721922</c:v>
                </c:pt>
                <c:pt idx="7">
                  <c:v>0.044121365667203136</c:v>
                </c:pt>
                <c:pt idx="8">
                  <c:v>0.04057085532453141</c:v>
                </c:pt>
                <c:pt idx="9">
                  <c:v>0.03164621998928235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Van Der Hagen Razor (0.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arrys Razor (6.2%)</c:v>
                </c:pt>
                <c:pt idx="1">
                  <c:v>Harrys Blade (5.0%)</c:v>
                </c:pt>
                <c:pt idx="2">
                  <c:v>Bic Dispo (16.9%)</c:v>
                </c:pt>
                <c:pt idx="3">
                  <c:v>Gillette Razor (13.9%)</c:v>
                </c:pt>
                <c:pt idx="4">
                  <c:v>Gillette Dispo (17.5%)</c:v>
                </c:pt>
                <c:pt idx="5">
                  <c:v>Equate Dispo (19.1%)</c:v>
                </c:pt>
                <c:pt idx="6">
                  <c:v>Schick Dispo (8.1%)</c:v>
                </c:pt>
                <c:pt idx="7">
                  <c:v>Dollar Shave Club Razor (2.0%)</c:v>
                </c:pt>
                <c:pt idx="8">
                  <c:v>Gillette Blade (7.3%)</c:v>
                </c:pt>
                <c:pt idx="9">
                  <c:v>Schick Razor (2.1%)</c:v>
                </c:pt>
              </c:strCache>
            </c:strRef>
          </c:cat>
          <c:val>
            <c:numRef>
              <c:f>Sheet1!$B$2:$B$11</c:f>
              <c:numCache>
                <c:formatCode>General</c:formatCode>
                <c:ptCount val="10"/>
                <c:pt idx="0">
                  <c:v>0.23719995922862896</c:v>
                </c:pt>
                <c:pt idx="1">
                  <c:v>0.1690912594766125</c:v>
                </c:pt>
                <c:pt idx="2">
                  <c:v>0.16501470390987802</c:v>
                </c:pt>
                <c:pt idx="3">
                  <c:v>0.13049328266969257</c:v>
                </c:pt>
                <c:pt idx="4">
                  <c:v>0.11333765738849735</c:v>
                </c:pt>
                <c:pt idx="5">
                  <c:v>0.07653103176938406</c:v>
                </c:pt>
                <c:pt idx="6">
                  <c:v>0.05620156686311446</c:v>
                </c:pt>
                <c:pt idx="7">
                  <c:v>0.0465463251346715</c:v>
                </c:pt>
                <c:pt idx="8">
                  <c:v>0.04351276298665554</c:v>
                </c:pt>
                <c:pt idx="9">
                  <c:v>0.026031161455113406</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Van Der Hagen Razor (0.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arrys Razor (6.2%)</c:v>
                </c:pt>
                <c:pt idx="1">
                  <c:v>Gillette Razor (13.9%)</c:v>
                </c:pt>
                <c:pt idx="2">
                  <c:v>Harrys Blade (5.0%)</c:v>
                </c:pt>
                <c:pt idx="3">
                  <c:v>Bic Dispo (16.9%)</c:v>
                </c:pt>
                <c:pt idx="4">
                  <c:v>Gillette Dispo (17.5%)</c:v>
                </c:pt>
                <c:pt idx="5">
                  <c:v>Gillette Blade (7.3%)</c:v>
                </c:pt>
                <c:pt idx="6">
                  <c:v>Schick Dispo (8.1%)</c:v>
                </c:pt>
                <c:pt idx="7">
                  <c:v>Equate Dispo (19.1%)</c:v>
                </c:pt>
                <c:pt idx="8">
                  <c:v>Dollar Shave Club Razor (2.0%)</c:v>
                </c:pt>
                <c:pt idx="9">
                  <c:v>Equate Blade (1.4%)</c:v>
                </c:pt>
              </c:strCache>
            </c:strRef>
          </c:cat>
          <c:val>
            <c:numRef>
              <c:f>Sheet1!$B$2:$B$11</c:f>
              <c:numCache>
                <c:formatCode>General</c:formatCode>
                <c:ptCount val="10"/>
                <c:pt idx="0">
                  <c:v>0.2447164733719432</c:v>
                </c:pt>
                <c:pt idx="1">
                  <c:v>0.2057466503445271</c:v>
                </c:pt>
                <c:pt idx="2">
                  <c:v>0.1663296958428477</c:v>
                </c:pt>
                <c:pt idx="3">
                  <c:v>0.12877923155345955</c:v>
                </c:pt>
                <c:pt idx="4">
                  <c:v>0.11004071922679905</c:v>
                </c:pt>
                <c:pt idx="5">
                  <c:v>0.06303321261674925</c:v>
                </c:pt>
                <c:pt idx="6">
                  <c:v>0.04275143641893626</c:v>
                </c:pt>
                <c:pt idx="7">
                  <c:v>0.04229121635122384</c:v>
                </c:pt>
                <c:pt idx="8">
                  <c:v>0.04194771628216458</c:v>
                </c:pt>
                <c:pt idx="9">
                  <c:v>0.033300421773987295</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Schick Blade (1.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chick Dispo (8.1%)</c:v>
                </c:pt>
                <c:pt idx="1">
                  <c:v>Gillette Dispo (17.5%)</c:v>
                </c:pt>
                <c:pt idx="2">
                  <c:v>Equate Dispo (19.1%)</c:v>
                </c:pt>
                <c:pt idx="3">
                  <c:v>Bic Dispo (16.9%)</c:v>
                </c:pt>
                <c:pt idx="4">
                  <c:v>Gillette Razor (13.9%)</c:v>
                </c:pt>
                <c:pt idx="5">
                  <c:v>Dollar Shave Club Razor (2.0%)</c:v>
                </c:pt>
                <c:pt idx="6">
                  <c:v>Gillette Blade (7.3%)</c:v>
                </c:pt>
                <c:pt idx="7">
                  <c:v>Harrys Razor (6.2%)</c:v>
                </c:pt>
                <c:pt idx="8">
                  <c:v>Equate Razor (1.1%)</c:v>
                </c:pt>
                <c:pt idx="9">
                  <c:v>Harrys Blade (5.0%)</c:v>
                </c:pt>
              </c:strCache>
            </c:strRef>
          </c:cat>
          <c:val>
            <c:numRef>
              <c:f>Sheet1!$B$2:$B$11</c:f>
              <c:numCache>
                <c:formatCode>General</c:formatCode>
                <c:ptCount val="10"/>
                <c:pt idx="0">
                  <c:v>0.0032723693768271006</c:v>
                </c:pt>
                <c:pt idx="1">
                  <c:v>0.0025669874400114394</c:v>
                </c:pt>
                <c:pt idx="2">
                  <c:v>0.0024816899550904317</c:v>
                </c:pt>
                <c:pt idx="3">
                  <c:v>0.002259559041273766</c:v>
                </c:pt>
                <c:pt idx="4">
                  <c:v>0.0014804092477767104</c:v>
                </c:pt>
                <c:pt idx="5">
                  <c:v>0.00039323087361029196</c:v>
                </c:pt>
                <c:pt idx="6">
                  <c:v>0.0003829711634059407</c:v>
                </c:pt>
                <c:pt idx="7">
                  <c:v>0.00035504172554491663</c:v>
                </c:pt>
                <c:pt idx="8">
                  <c:v>0.0003341300237028575</c:v>
                </c:pt>
                <c:pt idx="9">
                  <c:v>0.00017609429797659794</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Schick Blade (1.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chick Dispo (8.1%)</c:v>
                </c:pt>
                <c:pt idx="1">
                  <c:v>Gillette Dispo (17.5%)</c:v>
                </c:pt>
                <c:pt idx="2">
                  <c:v>Equate Dispo (19.1%)</c:v>
                </c:pt>
                <c:pt idx="3">
                  <c:v>Bic Dispo (16.9%)</c:v>
                </c:pt>
                <c:pt idx="4">
                  <c:v>Gillette Razor (13.9%)</c:v>
                </c:pt>
                <c:pt idx="5">
                  <c:v>Dollar Shave Club Razor (2.0%)</c:v>
                </c:pt>
                <c:pt idx="6">
                  <c:v>Gillette Blade (7.3%)</c:v>
                </c:pt>
                <c:pt idx="7">
                  <c:v>Harrys Razor (6.2%)</c:v>
                </c:pt>
                <c:pt idx="8">
                  <c:v>Equate Razor (1.1%)</c:v>
                </c:pt>
                <c:pt idx="9">
                  <c:v>Harrys Blade (5.0%)</c:v>
                </c:pt>
              </c:strCache>
            </c:strRef>
          </c:cat>
          <c:val>
            <c:numRef>
              <c:f>Sheet1!$B$2:$B$11</c:f>
              <c:numCache>
                <c:formatCode>General</c:formatCode>
                <c:ptCount val="10"/>
                <c:pt idx="0">
                  <c:v>0.0034130816551052935</c:v>
                </c:pt>
                <c:pt idx="1">
                  <c:v>0.002677506334676777</c:v>
                </c:pt>
                <c:pt idx="2">
                  <c:v>0.002587957367413343</c:v>
                </c:pt>
                <c:pt idx="3">
                  <c:v>0.0023565532536791397</c:v>
                </c:pt>
                <c:pt idx="4">
                  <c:v>0.0015451387550810252</c:v>
                </c:pt>
                <c:pt idx="5">
                  <c:v>0.0004103785354418525</c:v>
                </c:pt>
                <c:pt idx="6">
                  <c:v>0.00039970272604185976</c:v>
                </c:pt>
                <c:pt idx="7">
                  <c:v>0.0003705520578491057</c:v>
                </c:pt>
                <c:pt idx="8">
                  <c:v>0.0003487256901458478</c:v>
                </c:pt>
                <c:pt idx="9">
                  <c:v>0.00018375176876512663</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Equate Blade (1.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Gillette Blade (7.3%)</c:v>
                </c:pt>
                <c:pt idx="1">
                  <c:v>Gillette Dispo (17.5%)</c:v>
                </c:pt>
                <c:pt idx="2">
                  <c:v>Bic Dispo (16.9%)</c:v>
                </c:pt>
                <c:pt idx="3">
                  <c:v>Equate Dispo (19.1%)</c:v>
                </c:pt>
                <c:pt idx="4">
                  <c:v>Schick Dispo (8.1%)</c:v>
                </c:pt>
                <c:pt idx="5">
                  <c:v>Harrys Razor (6.2%)</c:v>
                </c:pt>
                <c:pt idx="6">
                  <c:v>Harrys Blade (5.0%)</c:v>
                </c:pt>
                <c:pt idx="7">
                  <c:v>Schick Razor (2.1%)</c:v>
                </c:pt>
                <c:pt idx="8">
                  <c:v>Dollar Shave Club Razor (2.0%)</c:v>
                </c:pt>
                <c:pt idx="9">
                  <c:v>Van Der Hagen Razor (0.8%)</c:v>
                </c:pt>
              </c:strCache>
            </c:strRef>
          </c:cat>
          <c:val>
            <c:numRef>
              <c:f>Sheet1!$B$2:$B$11</c:f>
              <c:numCache>
                <c:formatCode>General</c:formatCode>
                <c:ptCount val="10"/>
                <c:pt idx="0">
                  <c:v>0.5150698417765078</c:v>
                </c:pt>
                <c:pt idx="1">
                  <c:v>0.002003419128766749</c:v>
                </c:pt>
                <c:pt idx="2">
                  <c:v>0.0018031144422565278</c:v>
                </c:pt>
                <c:pt idx="3">
                  <c:v>0.0015656321571085772</c:v>
                </c:pt>
                <c:pt idx="4">
                  <c:v>0.0006965107820931811</c:v>
                </c:pt>
                <c:pt idx="5">
                  <c:v>0.000476714076298113</c:v>
                </c:pt>
                <c:pt idx="6">
                  <c:v>0.0003151749232283836</c:v>
                </c:pt>
                <c:pt idx="7">
                  <c:v>0.0002990055145959722</c:v>
                </c:pt>
                <c:pt idx="8">
                  <c:v>0.00025315474320486105</c:v>
                </c:pt>
                <c:pt idx="9">
                  <c:v>0.0001408260991905401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Equate Blade (1.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Gillette Blade (7.3%)</c:v>
                </c:pt>
                <c:pt idx="1">
                  <c:v>Gillette Dispo (17.5%)</c:v>
                </c:pt>
                <c:pt idx="2">
                  <c:v>Bic Dispo (16.9%)</c:v>
                </c:pt>
                <c:pt idx="3">
                  <c:v>Equate Dispo (19.1%)</c:v>
                </c:pt>
                <c:pt idx="4">
                  <c:v>Schick Dispo (8.1%)</c:v>
                </c:pt>
                <c:pt idx="5">
                  <c:v>Harrys Razor (6.2%)</c:v>
                </c:pt>
                <c:pt idx="6">
                  <c:v>Harrys Blade (5.0%)</c:v>
                </c:pt>
                <c:pt idx="7">
                  <c:v>Schick Razor (2.1%)</c:v>
                </c:pt>
                <c:pt idx="8">
                  <c:v>Dollar Shave Club Razor (2.0%)</c:v>
                </c:pt>
                <c:pt idx="9">
                  <c:v>Van Der Hagen Razor (0.8%)</c:v>
                </c:pt>
              </c:strCache>
            </c:strRef>
          </c:cat>
          <c:val>
            <c:numRef>
              <c:f>Sheet1!$B$2:$B$11</c:f>
              <c:numCache>
                <c:formatCode>General</c:formatCode>
                <c:ptCount val="10"/>
                <c:pt idx="0">
                  <c:v>0.48461546149182594</c:v>
                </c:pt>
                <c:pt idx="1">
                  <c:v>0.002128992183633398</c:v>
                </c:pt>
                <c:pt idx="2">
                  <c:v>0.00191552505639825</c:v>
                </c:pt>
                <c:pt idx="3">
                  <c:v>0.001662897623239126</c:v>
                </c:pt>
                <c:pt idx="4">
                  <c:v>0.0007400196520058454</c:v>
                </c:pt>
                <c:pt idx="5">
                  <c:v>0.0005067231451770616</c:v>
                </c:pt>
                <c:pt idx="6">
                  <c:v>0.0003349833106551278</c:v>
                </c:pt>
                <c:pt idx="7">
                  <c:v>0.0003178064820296026</c:v>
                </c:pt>
                <c:pt idx="8">
                  <c:v>0.0002690673491988006</c:v>
                </c:pt>
                <c:pt idx="9">
                  <c:v>0.00014969780138259287</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Gillette Blade (7.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quate Blade (1.4%)</c:v>
                </c:pt>
                <c:pt idx="1">
                  <c:v>Gillette Dispo (17.5%)</c:v>
                </c:pt>
                <c:pt idx="2">
                  <c:v>Bic Dispo (16.9%)</c:v>
                </c:pt>
                <c:pt idx="3">
                  <c:v>Schick Dispo (8.1%)</c:v>
                </c:pt>
                <c:pt idx="4">
                  <c:v>Equate Dispo (19.1%)</c:v>
                </c:pt>
                <c:pt idx="5">
                  <c:v>Harrys Razor (6.2%)</c:v>
                </c:pt>
                <c:pt idx="6">
                  <c:v>Harrys Blade (5.0%)</c:v>
                </c:pt>
                <c:pt idx="7">
                  <c:v>Schick Razor (2.1%)</c:v>
                </c:pt>
                <c:pt idx="8">
                  <c:v>Dollar Shave Club Razor (2.0%)</c:v>
                </c:pt>
                <c:pt idx="9">
                  <c:v>Equate Razor (1.1%)</c:v>
                </c:pt>
              </c:strCache>
            </c:strRef>
          </c:cat>
          <c:val>
            <c:numRef>
              <c:f>Sheet1!$B$2:$B$11</c:f>
              <c:numCache>
                <c:formatCode>General</c:formatCode>
                <c:ptCount val="10"/>
                <c:pt idx="0">
                  <c:v>0.22722392362801994</c:v>
                </c:pt>
                <c:pt idx="1">
                  <c:v>0.0020806177739113975</c:v>
                </c:pt>
                <c:pt idx="2">
                  <c:v>0.0010379413116044774</c:v>
                </c:pt>
                <c:pt idx="3">
                  <c:v>0.0006031999095095358</c:v>
                </c:pt>
                <c:pt idx="4">
                  <c:v>0.00049980803398876</c:v>
                </c:pt>
                <c:pt idx="5">
                  <c:v>0.00036786452143894646</c:v>
                </c:pt>
                <c:pt idx="6">
                  <c:v>0.00023043073712534292</c:v>
                </c:pt>
                <c:pt idx="7">
                  <c:v>0.00020911043905569608</c:v>
                </c:pt>
                <c:pt idx="8">
                  <c:v>0.00019926369186741428</c:v>
                </c:pt>
                <c:pt idx="9">
                  <c:v>0.00016839613391432694</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364410230249504"/>
          <c:y val="2.7170386339721821E-2"/>
          <c:w val="0.86774252569994759"/>
          <c:h val="0.85363091822778381"/>
        </c:manualLayout>
      </c:layout>
      <c:scatterChart>
        <c:scatterStyle val="lineMarker"/>
        <c:varyColors val="0"/>
        <c:ser>
          <c:idx val="0"/>
          <c:order val="0"/>
          <c:tx>
            <c:strRef>
              <c:f>Sheet1!$B$1</c:f>
              <c:strCache>
                <c:ptCount val="1"/>
                <c:pt idx="0">
                  <c:v>PE up</c:v>
                </c:pt>
              </c:strCache>
            </c:strRef>
          </c:tx>
          <c:spPr>
            <a:ln w="9525" cap="rnd">
              <a:noFill/>
              <a:round/>
            </a:ln>
            <a:effectLst/>
          </c:spPr>
          <c:marker>
            <c:symbol val="circle"/>
            <c:size val="9"/>
            <c:spPr>
              <a:solidFill>
                <a:schemeClr val="tx1"/>
              </a:solidFill>
              <a:ln w="19050">
                <a:solidFill>
                  <a:schemeClr val="bg1"/>
                </a:solidFill>
              </a:ln>
              <a:effectLst/>
            </c:spPr>
          </c:marker>
          <c:dPt>
            <c:idx val="0"/>
            <c:bubble3D val="0"/>
            <c:extLst>
              <c:ext xmlns:c16="http://schemas.microsoft.com/office/drawing/2014/chart" uri="{C3380CC4-5D6E-409C-BE32-E72D297353CC}">
                <c16:uniqueId val="{00000000-B0D5-4750-8C19-9F9BE9CE2B4F}"/>
              </c:ext>
            </c:extLst>
          </c:dPt>
          <c:dPt>
            <c:idx val="1"/>
            <c:bubble3D val="0"/>
            <c:extLst>
              <c:ext xmlns:c16="http://schemas.microsoft.com/office/drawing/2014/chart" uri="{C3380CC4-5D6E-409C-BE32-E72D297353CC}">
                <c16:uniqueId val="{00000001-B0D5-4750-8C19-9F9BE9CE2B4F}"/>
              </c:ext>
            </c:extLst>
          </c:dPt>
          <c:dPt>
            <c:idx val="2"/>
            <c:bubble3D val="0"/>
            <c:extLst>
              <c:ext xmlns:c16="http://schemas.microsoft.com/office/drawing/2014/chart" uri="{C3380CC4-5D6E-409C-BE32-E72D297353CC}">
                <c16:uniqueId val="{00000002-B0D5-4750-8C19-9F9BE9CE2B4F}"/>
              </c:ext>
            </c:extLst>
          </c:dPt>
          <c:dPt>
            <c:idx val="3"/>
            <c:bubble3D val="0"/>
            <c:extLst>
              <c:ext xmlns:c16="http://schemas.microsoft.com/office/drawing/2014/chart" uri="{C3380CC4-5D6E-409C-BE32-E72D297353CC}">
                <c16:uniqueId val="{00000003-B0D5-4750-8C19-9F9BE9CE2B4F}"/>
              </c:ext>
            </c:extLst>
          </c:dPt>
          <c:dPt>
            <c:idx val="4"/>
            <c:bubble3D val="0"/>
            <c:extLst>
              <c:ext xmlns:c16="http://schemas.microsoft.com/office/drawing/2014/chart" uri="{C3380CC4-5D6E-409C-BE32-E72D297353CC}">
                <c16:uniqueId val="{00000004-B0D5-4750-8C19-9F9BE9CE2B4F}"/>
              </c:ext>
            </c:extLst>
          </c:dPt>
          <c:dPt>
            <c:idx val="5"/>
            <c:bubble3D val="0"/>
            <c:extLst>
              <c:ext xmlns:c16="http://schemas.microsoft.com/office/drawing/2014/chart" uri="{C3380CC4-5D6E-409C-BE32-E72D297353CC}">
                <c16:uniqueId val="{00000005-B0D5-4750-8C19-9F9BE9CE2B4F}"/>
              </c:ext>
            </c:extLst>
          </c:dPt>
          <c:dPt>
            <c:idx val="6"/>
            <c:bubble3D val="0"/>
            <c:extLst>
              <c:ext xmlns:c16="http://schemas.microsoft.com/office/drawing/2014/chart" uri="{C3380CC4-5D6E-409C-BE32-E72D297353CC}">
                <c16:uniqueId val="{00000006-B0D5-4750-8C19-9F9BE9CE2B4F}"/>
              </c:ext>
            </c:extLst>
          </c:dPt>
          <c:dPt>
            <c:idx val="7"/>
            <c:bubble3D val="0"/>
            <c:extLst>
              <c:ext xmlns:c16="http://schemas.microsoft.com/office/drawing/2014/chart" uri="{C3380CC4-5D6E-409C-BE32-E72D297353CC}">
                <c16:uniqueId val="{00000007-B0D5-4750-8C19-9F9BE9CE2B4F}"/>
              </c:ext>
            </c:extLst>
          </c:dPt>
          <c:dPt>
            <c:idx val="9"/>
            <c:bubble3D val="0"/>
            <c:extLst>
              <c:ext xmlns:c16="http://schemas.microsoft.com/office/drawing/2014/chart" uri="{C3380CC4-5D6E-409C-BE32-E72D297353CC}">
                <c16:uniqueId val="{0000000C-B0D5-4750-8C19-9F9BE9CE2B4F}"/>
              </c:ext>
            </c:extLst>
          </c:dPt>
          <c:dPt>
            <c:idx val="12"/>
            <c:bubble3D val="0"/>
            <c:extLst>
              <c:ext xmlns:c16="http://schemas.microsoft.com/office/drawing/2014/chart" uri="{C3380CC4-5D6E-409C-BE32-E72D297353CC}">
                <c16:uniqueId val="{00000009-B0D5-4750-8C19-9F9BE9CE2B4F}"/>
              </c:ext>
            </c:extLst>
          </c:dPt>
          <c:dPt>
            <c:idx val="13"/>
            <c:bubble3D val="0"/>
            <c:extLst>
              <c:ext xmlns:c16="http://schemas.microsoft.com/office/drawing/2014/chart" uri="{C3380CC4-5D6E-409C-BE32-E72D297353CC}">
                <c16:uniqueId val="{0000000A-B0D5-4750-8C19-9F9BE9CE2B4F}"/>
              </c:ext>
            </c:extLst>
          </c:dPt>
          <c:dPt>
            <c:idx val="14"/>
            <c:bubble3D val="0"/>
            <c:extLst>
              <c:ext xmlns:c16="http://schemas.microsoft.com/office/drawing/2014/chart" uri="{C3380CC4-5D6E-409C-BE32-E72D297353CC}">
                <c16:uniqueId val="{0000000B-B0D5-4750-8C19-9F9BE9CE2B4F}"/>
              </c:ext>
            </c:extLst>
          </c:dPt>
          <c:dPt>
            <c:idx val="16"/>
            <c:bubble3D val="0"/>
            <c:extLst>
              <c:ext xmlns:c16="http://schemas.microsoft.com/office/drawing/2014/chart" uri="{C3380CC4-5D6E-409C-BE32-E72D297353CC}">
                <c16:uniqueId val="{00000012-B0D5-4750-8C19-9F9BE9CE2B4F}"/>
              </c:ext>
            </c:extLst>
          </c:dPt>
          <c:dLbls>
            <c:dLbl>
              <c:idx val="0"/>
              <c:tx>
                <c:rich>
                  <a:bodyPr/>
                  <a:lstStyle/>
                  <a:p>
                    <a:r>
                      <a:t>Schick</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B0D5-4750-8C19-9F9BE9CE2B4F}"/>
                </c:ext>
              </c:extLst>
            </c:dLbl>
            <c:dLbl>
              <c:idx val="1"/>
              <c:tx>
                <c:rich>
                  <a:bodyPr/>
                  <a:lstStyle/>
                  <a:p>
                    <a:r>
                      <a:t>Equate</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B0D5-4750-8C19-9F9BE9CE2B4F}"/>
                </c:ext>
              </c:extLst>
            </c:dLbl>
            <c:dLbl>
              <c:idx val="2"/>
              <c:tx>
                <c:rich>
                  <a:bodyPr/>
                  <a:lstStyle/>
                  <a:p>
                    <a:r>
                      <a:t>Gillette</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B0D5-4750-8C19-9F9BE9CE2B4F}"/>
                </c:ext>
              </c:extLst>
            </c:dLbl>
            <c:dLbl>
              <c:idx val="3"/>
              <c:tx>
                <c:rich>
                  <a:bodyPr/>
                  <a:lstStyle/>
                  <a:p>
                    <a:r>
                      <a:t>Harry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B0D5-4750-8C19-9F9BE9CE2B4F}"/>
                </c:ext>
              </c:extLst>
            </c:dLbl>
            <c:dLbl>
              <c:idx val="4"/>
              <c:tx>
                <c:rich>
                  <a:bodyPr/>
                  <a:lstStyle/>
                  <a:p>
                    <a:r>
                      <a:t>Dollar Shave Club</a:t>
                    </a:r>
                  </a:p>
                </c:rich>
              </c:tx>
              <c:dLblPos val="t"/>
              <c:showLegendKey val="0"/>
              <c:showVal val="0"/>
              <c:showCatName val="0"/>
              <c:showSerName val="0"/>
              <c:showPercent val="0"/>
              <c:showBubbleSize val="0"/>
              <c:extLst>
                <c:ext xmlns:c15="http://schemas.microsoft.com/office/drawing/2012/chart" uri="{CE6537A1-D6FC-4f65-9D91-7224C49458BB}">
                  <c15:layout>
                    <c:manualLayout>
                      <c:w val="5.6451516574947062E-2"/>
                      <c:h val="5.3314955203308069E-2"/>
                    </c:manualLayout>
                  </c15:layout>
                  <c15:showDataLabelsRange val="1"/>
                </c:ext>
                <c:ext xmlns:c16="http://schemas.microsoft.com/office/drawing/2014/chart" uri="{C3380CC4-5D6E-409C-BE32-E72D297353CC}">
                  <c16:uniqueId val="{00000004-B0D5-4750-8C19-9F9BE9CE2B4F}"/>
                </c:ext>
              </c:extLst>
            </c:dLbl>
            <c:dLbl>
              <c:idx val="5"/>
              <c:tx>
                <c:rich>
                  <a:bodyPr/>
                  <a:lstStyle/>
                  <a:p>
                    <a:r>
                      <a:t>Van Der Hagen</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B0D5-4750-8C19-9F9BE9CE2B4F}"/>
                </c:ext>
              </c:extLst>
            </c:dLbl>
            <c:dLbl>
              <c:idx val="6"/>
              <c:tx>
                <c:rich>
                  <a:bodyPr/>
                  <a:lstStyle/>
                  <a:p>
                    <a:r>
                      <a:rPr lang="en-US"/>
                      <a:t>Hershey'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B0D5-4750-8C19-9F9BE9CE2B4F}"/>
                </c:ext>
              </c:extLst>
            </c:dLbl>
            <c:dLbl>
              <c:idx val="7"/>
              <c:tx>
                <c:rich>
                  <a:bodyPr/>
                  <a:lstStyle/>
                  <a:p>
                    <a:r>
                      <a:rPr lang="en-US"/>
                      <a:t>Hershey's Kisse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B0D5-4750-8C19-9F9BE9CE2B4F}"/>
                </c:ext>
              </c:extLst>
            </c:dLbl>
            <c:dLbl>
              <c:idx val="8"/>
              <c:tx>
                <c:rich>
                  <a:bodyPr/>
                  <a:lstStyle/>
                  <a:p>
                    <a:r>
                      <a:rPr lang="en-US"/>
                      <a:t>Reese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D362-4FD3-9AF9-43BE4338AF3D}"/>
                </c:ext>
              </c:extLst>
            </c:dLbl>
            <c:dLbl>
              <c:idx val="9"/>
              <c:tx>
                <c:rich>
                  <a:bodyPr/>
                  <a:lstStyle/>
                  <a:p>
                    <a:r>
                      <a:rPr lang="en-US"/>
                      <a:t>Kinder</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B0D5-4750-8C19-9F9BE9CE2B4F}"/>
                </c:ext>
              </c:extLst>
            </c:dLbl>
            <c:dLbl>
              <c:idx val="10"/>
              <c:tx>
                <c:rich>
                  <a:bodyPr/>
                  <a:lstStyle/>
                  <a:p>
                    <a:r>
                      <a:rPr lang="en-US"/>
                      <a:t>Kit Kat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D362-4FD3-9AF9-43BE4338AF3D}"/>
                </c:ext>
              </c:extLst>
            </c:dLbl>
            <c:dLbl>
              <c:idx val="11"/>
              <c:tx>
                <c:rich>
                  <a:bodyPr/>
                  <a:lstStyle/>
                  <a:p>
                    <a:r>
                      <a:rPr lang="en-US"/>
                      <a:t>M&amp;M'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D362-4FD3-9AF9-43BE4338AF3D}"/>
                </c:ext>
              </c:extLst>
            </c:dLbl>
            <c:dLbl>
              <c:idx val="12"/>
              <c:tx>
                <c:rich>
                  <a:bodyPr/>
                  <a:lstStyle/>
                  <a:p>
                    <a:r>
                      <a:rPr lang="en-US"/>
                      <a:t>Mackintosh</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B0D5-4750-8C19-9F9BE9CE2B4F}"/>
                </c:ext>
              </c:extLst>
            </c:dLbl>
            <c:dLbl>
              <c:idx val="13"/>
              <c:tx>
                <c:rich>
                  <a:bodyPr/>
                  <a:lstStyle/>
                  <a:p>
                    <a:r>
                      <a:rPr lang="en-US"/>
                      <a:t>Maltese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0D5-4750-8C19-9F9BE9CE2B4F}"/>
                </c:ext>
              </c:extLst>
            </c:dLbl>
            <c:dLbl>
              <c:idx val="14"/>
              <c:tx>
                <c:rich>
                  <a:bodyPr/>
                  <a:lstStyle/>
                  <a:p>
                    <a:r>
                      <a:rPr lang="en-US"/>
                      <a:t>Ma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B0D5-4750-8C19-9F9BE9CE2B4F}"/>
                </c:ext>
              </c:extLst>
            </c:dLbl>
            <c:dLbl>
              <c:idx val="15"/>
              <c:tx>
                <c:rich>
                  <a:bodyPr/>
                  <a:lstStyle/>
                  <a:p>
                    <a:r>
                      <a:rPr lang="en-US"/>
                      <a:t>Snickers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2704-469A-BFAC-FD9CF5DB2713}"/>
                </c:ext>
              </c:extLst>
            </c:dLbl>
            <c:dLbl>
              <c:idx val="16"/>
              <c:tx>
                <c:rich>
                  <a:bodyPr/>
                  <a:lstStyle/>
                  <a:p>
                    <a:r>
                      <a:rPr lang="en-US"/>
                      <a:t>Tiffany</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B0D5-4750-8C19-9F9BE9CE2B4F}"/>
                </c:ext>
              </c:extLst>
            </c:dLbl>
            <c:dLbl>
              <c:idx val="17"/>
              <c:tx>
                <c:rich>
                  <a:bodyPr/>
                  <a:lstStyle/>
                  <a:p>
                    <a:r>
                      <a:rPr lang="en-US"/>
                      <a:t>Toblerone</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2704-469A-BFAC-FD9CF5DB2713}"/>
                </c:ext>
              </c:extLst>
            </c:dLbl>
            <c:dLbl>
              <c:idx val="18"/>
              <c:tx>
                <c:rich>
                  <a:bodyPr/>
                  <a:lstStyle/>
                  <a:p>
                    <a:r>
                      <a:rPr lang="en-US"/>
                      <a:t>Twix</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2704-469A-BFAC-FD9CF5DB2713}"/>
                </c:ext>
              </c:extLst>
            </c:dLbl>
            <c:spPr>
              <a:noFill/>
              <a:ln>
                <a:noFill/>
              </a:ln>
              <a:effectLst/>
            </c:spPr>
            <c:txPr>
              <a:bodyPr rot="0" spcFirstLastPara="1" vertOverflow="ellipsis" vert="horz" wrap="non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0"/>
              </c:ext>
            </c:extLst>
          </c:dLbls>
          <c:xVal>
            <c:numRef>
              <c:f>Sheet1!$A$2:$A$7</c:f>
              <c:numCache>
                <c:formatCode>General</c:formatCode>
                <c:ptCount val="6"/>
                <c:pt idx="0">
                  <c:v>-0.41722825444411493</c:v>
                </c:pt>
                <c:pt idx="1">
                  <c:v>-1.1109924222915777</c:v>
                </c:pt>
                <c:pt idx="2">
                  <c:v>-0.41438224508638155</c:v>
                </c:pt>
                <c:pt idx="3">
                  <c:v>-0.4379357942381187</c:v>
                </c:pt>
                <c:pt idx="4">
                  <c:v>-0.97260547540819</c:v>
                </c:pt>
                <c:pt idx="5">
                  <c:v>-0.351559095751539</c:v>
                </c:pt>
              </c:numCache>
            </c:numRef>
          </c:xVal>
          <c:yVal>
            <c:numRef>
              <c:f>Sheet1!$B$2:$B$7</c:f>
              <c:numCache>
                <c:formatCode>General</c:formatCode>
                <c:ptCount val="6"/>
                <c:pt idx="0">
                  <c:v>-1.2679346378378265</c:v>
                </c:pt>
                <c:pt idx="1">
                  <c:v>-0.8277326663136292</c:v>
                </c:pt>
                <c:pt idx="2">
                  <c:v>-0.38393006316894</c:v>
                </c:pt>
                <c:pt idx="3">
                  <c:v>-0.36912763310545094</c:v>
                </c:pt>
                <c:pt idx="4">
                  <c:v>-0.7288489656116754</c:v>
                </c:pt>
                <c:pt idx="5">
                  <c:v>-0.23484618082110975</c:v>
                </c:pt>
              </c:numCache>
            </c:numRef>
          </c:yVal>
          <c:smooth val="0"/>
          <c:extLst>
            <c:ext xmlns:c15="http://schemas.microsoft.com/office/drawing/2012/chart" uri="{02D57815-91ED-43cb-92C2-25804820EDAC}">
              <c15:datalabelsRange>
                <c15:f>Sheet1!$C$2:$C$16</c15:f>
                <c15:dlblRangeCache>
                  <c:ptCount val="15"/>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15:dlblRangeCache>
              </c15:datalabelsRange>
            </c:ext>
            <c:ext xmlns:c16="http://schemas.microsoft.com/office/drawing/2014/chart" uri="{C3380CC4-5D6E-409C-BE32-E72D297353CC}">
              <c16:uniqueId val="{0000000E-B0D5-4750-8C19-9F9BE9CE2B4F}"/>
            </c:ext>
          </c:extLst>
        </c:ser>
        <c:dLbls>
          <c:dLblPos val="t"/>
          <c:showLegendKey val="0"/>
          <c:showVal val="1"/>
          <c:showCatName val="0"/>
          <c:showSerName val="0"/>
          <c:showPercent val="0"/>
          <c:showBubbleSize val="0"/>
        </c:dLbls>
        <c:axId val="1923850352"/>
        <c:axId val="1923855760"/>
      </c:scatterChart>
      <c:valAx>
        <c:axId val="1923850352"/>
        <c:scaling>
          <c:orientation val="maxMin"/>
          <c:max val="0"/>
        </c:scaling>
        <c:delete val="0"/>
        <c:axPos val="t"/>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5760"/>
        <c:crossesAt val="-1"/>
        <c:crossBetween val="midCat"/>
      </c:valAx>
      <c:valAx>
        <c:axId val="1923855760"/>
        <c:scaling>
          <c:orientation val="maxMin"/>
        </c:scaling>
        <c:delete val="0"/>
        <c:axPos val="r"/>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0352"/>
        <c:crossesAt val="-1"/>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Gillette Blade (7.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quate Blade (1.4%)</c:v>
                </c:pt>
                <c:pt idx="1">
                  <c:v>Gillette Dispo (17.5%)</c:v>
                </c:pt>
                <c:pt idx="2">
                  <c:v>Bic Dispo (16.9%)</c:v>
                </c:pt>
                <c:pt idx="3">
                  <c:v>Schick Dispo (8.1%)</c:v>
                </c:pt>
                <c:pt idx="4">
                  <c:v>Equate Dispo (19.1%)</c:v>
                </c:pt>
                <c:pt idx="5">
                  <c:v>Harrys Razor (6.2%)</c:v>
                </c:pt>
                <c:pt idx="6">
                  <c:v>Harrys Blade (5.0%)</c:v>
                </c:pt>
                <c:pt idx="7">
                  <c:v>Schick Razor (2.1%)</c:v>
                </c:pt>
                <c:pt idx="8">
                  <c:v>Dollar Shave Club Razor (2.0%)</c:v>
                </c:pt>
                <c:pt idx="9">
                  <c:v>Equate Razor (1.1%)</c:v>
                </c:pt>
              </c:strCache>
            </c:strRef>
          </c:cat>
          <c:val>
            <c:numRef>
              <c:f>Sheet1!$B$2:$B$11</c:f>
              <c:numCache>
                <c:formatCode>General</c:formatCode>
                <c:ptCount val="10"/>
                <c:pt idx="0">
                  <c:v>0.20612139885943723</c:v>
                </c:pt>
                <c:pt idx="1">
                  <c:v>0.0027079223295581557</c:v>
                </c:pt>
                <c:pt idx="2">
                  <c:v>0.0013505498473016765</c:v>
                </c:pt>
                <c:pt idx="3">
                  <c:v>0.0007849199003299556</c:v>
                </c:pt>
                <c:pt idx="4">
                  <c:v>0.0006501899781512796</c:v>
                </c:pt>
                <c:pt idx="5">
                  <c:v>0.0004790625226234725</c:v>
                </c:pt>
                <c:pt idx="6">
                  <c:v>0.0003000398464882936</c:v>
                </c:pt>
                <c:pt idx="7">
                  <c:v>0.00027230735754363365</c:v>
                </c:pt>
                <c:pt idx="8">
                  <c:v>0.0002594783343194445</c:v>
                </c:pt>
                <c:pt idx="9">
                  <c:v>0.00021931135968100677</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arrys Blade (5.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Bic Dispo (16.9%)</c:v>
                </c:pt>
                <c:pt idx="1">
                  <c:v>Gillette Razor (13.9%)</c:v>
                </c:pt>
                <c:pt idx="2">
                  <c:v>Gillette Dispo (17.5%)</c:v>
                </c:pt>
                <c:pt idx="3">
                  <c:v>Dollar Shave Club Razor (2.0%)</c:v>
                </c:pt>
                <c:pt idx="4">
                  <c:v>Equate Dispo (19.1%)</c:v>
                </c:pt>
                <c:pt idx="5">
                  <c:v>Dollar Shave Club Blade (0.9%)</c:v>
                </c:pt>
                <c:pt idx="6">
                  <c:v>Gillette Blade (7.3%)</c:v>
                </c:pt>
                <c:pt idx="7">
                  <c:v>Van Der Hagen Razor (0.8%)</c:v>
                </c:pt>
                <c:pt idx="8">
                  <c:v>Schick Dispo (8.1%)</c:v>
                </c:pt>
                <c:pt idx="9">
                  <c:v>Van Der Hagen Blade (1.2%)</c:v>
                </c:pt>
              </c:strCache>
            </c:strRef>
          </c:cat>
          <c:val>
            <c:numRef>
              <c:f>Sheet1!$B$2:$B$11</c:f>
              <c:numCache>
                <c:formatCode>General</c:formatCode>
                <c:ptCount val="10"/>
                <c:pt idx="0">
                  <c:v>0.0013160125471434532</c:v>
                </c:pt>
                <c:pt idx="1">
                  <c:v>0.0011777128147583934</c:v>
                </c:pt>
                <c:pt idx="2">
                  <c:v>0.0010816680925633043</c:v>
                </c:pt>
                <c:pt idx="3">
                  <c:v>0.0010357245078349785</c:v>
                </c:pt>
                <c:pt idx="4">
                  <c:v>0.0005869894392733271</c:v>
                </c:pt>
                <c:pt idx="5">
                  <c:v>0.0004755484746106574</c:v>
                </c:pt>
                <c:pt idx="6">
                  <c:v>0.0004700771403247604</c:v>
                </c:pt>
                <c:pt idx="7">
                  <c:v>0.00026270653120711354</c:v>
                </c:pt>
                <c:pt idx="8">
                  <c:v>0.0002624417764111132</c:v>
                </c:pt>
                <c:pt idx="9">
                  <c:v>0.0001723039212898477</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arrys Blade (5.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Bic Dispo (16.9%)</c:v>
                </c:pt>
                <c:pt idx="1">
                  <c:v>Gillette Razor (13.9%)</c:v>
                </c:pt>
                <c:pt idx="2">
                  <c:v>Gillette Dispo (17.5%)</c:v>
                </c:pt>
                <c:pt idx="3">
                  <c:v>Dollar Shave Club Razor (2.0%)</c:v>
                </c:pt>
                <c:pt idx="4">
                  <c:v>Equate Dispo (19.1%)</c:v>
                </c:pt>
                <c:pt idx="5">
                  <c:v>Dollar Shave Club Blade (0.9%)</c:v>
                </c:pt>
                <c:pt idx="6">
                  <c:v>Gillette Blade (7.3%)</c:v>
                </c:pt>
                <c:pt idx="7">
                  <c:v>Van Der Hagen Razor (0.8%)</c:v>
                </c:pt>
                <c:pt idx="8">
                  <c:v>Schick Dispo (8.1%)</c:v>
                </c:pt>
                <c:pt idx="9">
                  <c:v>Van Der Hagen Blade (1.2%)</c:v>
                </c:pt>
              </c:strCache>
            </c:strRef>
          </c:cat>
          <c:val>
            <c:numRef>
              <c:f>Sheet1!$B$2:$B$11</c:f>
              <c:numCache>
                <c:formatCode>General</c:formatCode>
                <c:ptCount val="10"/>
                <c:pt idx="0">
                  <c:v>0.000537423070096792</c:v>
                </c:pt>
                <c:pt idx="1">
                  <c:v>0.00048117208937936207</c:v>
                </c:pt>
                <c:pt idx="2">
                  <c:v>0.00044179433126045875</c:v>
                </c:pt>
                <c:pt idx="3">
                  <c:v>0.0004231764619666399</c:v>
                </c:pt>
                <c:pt idx="4">
                  <c:v>0.0002396263727403273</c:v>
                </c:pt>
                <c:pt idx="5">
                  <c:v>0.0001943014124933407</c:v>
                </c:pt>
                <c:pt idx="6">
                  <c:v>0.0001920606593545193</c:v>
                </c:pt>
                <c:pt idx="7">
                  <c:v>0.00010733842592757161</c:v>
                </c:pt>
                <c:pt idx="8">
                  <c:v>0.0001071724628433532</c:v>
                </c:pt>
                <c:pt idx="9">
                  <c:v>7.039344744589638e-05</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Dollar Shave Club Blade (0.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Bic Dispo (16.9%)</c:v>
                </c:pt>
                <c:pt idx="1">
                  <c:v>Equate Dispo (19.1%)</c:v>
                </c:pt>
                <c:pt idx="2">
                  <c:v>Harrys Razor (6.2%)</c:v>
                </c:pt>
                <c:pt idx="3">
                  <c:v>Gillette Dispo (17.5%)</c:v>
                </c:pt>
                <c:pt idx="4">
                  <c:v>Gillette Razor (13.9%)</c:v>
                </c:pt>
                <c:pt idx="5">
                  <c:v>Harrys Blade (5.0%)</c:v>
                </c:pt>
                <c:pt idx="6">
                  <c:v>Schick Dispo (8.1%)</c:v>
                </c:pt>
                <c:pt idx="7">
                  <c:v>Gillette Blade (7.3%)</c:v>
                </c:pt>
                <c:pt idx="8">
                  <c:v>Schick Razor (2.1%)</c:v>
                </c:pt>
                <c:pt idx="9">
                  <c:v>Equate Razor (1.1%)</c:v>
                </c:pt>
              </c:strCache>
            </c:strRef>
          </c:cat>
          <c:val>
            <c:numRef>
              <c:f>Sheet1!$B$2:$B$11</c:f>
              <c:numCache>
                <c:formatCode>General</c:formatCode>
                <c:ptCount val="10"/>
                <c:pt idx="0">
                  <c:v>0.008408123320102259</c:v>
                </c:pt>
                <c:pt idx="1">
                  <c:v>0.0057552281436126715</c:v>
                </c:pt>
                <c:pt idx="2">
                  <c:v>0.00511040766922238</c:v>
                </c:pt>
                <c:pt idx="3">
                  <c:v>0.004974131458012617</c:v>
                </c:pt>
                <c:pt idx="4">
                  <c:v>0.003059463577056884</c:v>
                </c:pt>
                <c:pt idx="5">
                  <c:v>0.002982221697794878</c:v>
                </c:pt>
                <c:pt idx="6">
                  <c:v>0.0016126551314592234</c:v>
                </c:pt>
                <c:pt idx="7">
                  <c:v>0.0010309588190275205</c:v>
                </c:pt>
                <c:pt idx="8">
                  <c:v>0.0008591711111272764</c:v>
                </c:pt>
                <c:pt idx="9">
                  <c:v>0.000621426446551917</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Dollar Shave Club Blade (0.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Bic Dispo (16.9%)</c:v>
                </c:pt>
                <c:pt idx="1">
                  <c:v>Equate Dispo (19.1%)</c:v>
                </c:pt>
                <c:pt idx="2">
                  <c:v>Harrys Razor (6.2%)</c:v>
                </c:pt>
                <c:pt idx="3">
                  <c:v>Gillette Dispo (17.5%)</c:v>
                </c:pt>
                <c:pt idx="4">
                  <c:v>Gillette Razor (13.9%)</c:v>
                </c:pt>
                <c:pt idx="5">
                  <c:v>Harrys Blade (5.0%)</c:v>
                </c:pt>
                <c:pt idx="6">
                  <c:v>Schick Dispo (8.1%)</c:v>
                </c:pt>
                <c:pt idx="7">
                  <c:v>Gillette Blade (7.3%)</c:v>
                </c:pt>
                <c:pt idx="8">
                  <c:v>Schick Razor (2.1%)</c:v>
                </c:pt>
                <c:pt idx="9">
                  <c:v>Equate Razor (1.1%)</c:v>
                </c:pt>
              </c:strCache>
            </c:strRef>
          </c:cat>
          <c:val>
            <c:numRef>
              <c:f>Sheet1!$B$2:$B$11</c:f>
              <c:numCache>
                <c:formatCode>General</c:formatCode>
                <c:ptCount val="10"/>
                <c:pt idx="0">
                  <c:v>0.009713154129268733</c:v>
                </c:pt>
                <c:pt idx="1">
                  <c:v>0.00664790877273456</c:v>
                </c:pt>
                <c:pt idx="2">
                  <c:v>0.005907445732624234</c:v>
                </c:pt>
                <c:pt idx="3">
                  <c:v>0.005747058311727234</c:v>
                </c:pt>
                <c:pt idx="4">
                  <c:v>0.003536623570673957</c:v>
                </c:pt>
                <c:pt idx="5">
                  <c:v>0.0034472597345398363</c:v>
                </c:pt>
                <c:pt idx="6">
                  <c:v>0.0018629527832580196</c:v>
                </c:pt>
                <c:pt idx="7">
                  <c:v>0.0011917417810283601</c:v>
                </c:pt>
                <c:pt idx="8">
                  <c:v>0.000993111277734869</c:v>
                </c:pt>
                <c:pt idx="9">
                  <c:v>0.0007183166796257991</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Van Der Hagen Blade (1.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Gillette Razor (13.9%)</c:v>
                </c:pt>
                <c:pt idx="1">
                  <c:v>Bic Dispo (16.9%)</c:v>
                </c:pt>
                <c:pt idx="2">
                  <c:v>Harrys Razor (6.2%)</c:v>
                </c:pt>
                <c:pt idx="3">
                  <c:v>Gillette Dispo (17.5%)</c:v>
                </c:pt>
                <c:pt idx="4">
                  <c:v>Harrys Blade (5.0%)</c:v>
                </c:pt>
                <c:pt idx="5">
                  <c:v>Gillette Blade (7.3%)</c:v>
                </c:pt>
                <c:pt idx="6">
                  <c:v>Equate Dispo (19.1%)</c:v>
                </c:pt>
                <c:pt idx="7">
                  <c:v>Schick Dispo (8.1%)</c:v>
                </c:pt>
                <c:pt idx="8">
                  <c:v>Equate Blade (1.4%)</c:v>
                </c:pt>
                <c:pt idx="9">
                  <c:v>Dollar Shave Club Razor (2.0%)</c:v>
                </c:pt>
              </c:strCache>
            </c:strRef>
          </c:cat>
          <c:val>
            <c:numRef>
              <c:f>Sheet1!$B$2:$B$11</c:f>
              <c:numCache>
                <c:formatCode>General</c:formatCode>
                <c:ptCount val="10"/>
                <c:pt idx="0">
                  <c:v>0.0006193434295301309</c:v>
                </c:pt>
                <c:pt idx="1">
                  <c:v>0.0005271868208817951</c:v>
                </c:pt>
                <c:pt idx="2">
                  <c:v>0.000516348061304332</c:v>
                </c:pt>
                <c:pt idx="3">
                  <c:v>0.00035917443143016</c:v>
                </c:pt>
                <c:pt idx="4">
                  <c:v>0.00031009454378847607</c:v>
                </c:pt>
                <c:pt idx="5">
                  <c:v>0.00019614915069592328</c:v>
                </c:pt>
                <c:pt idx="6">
                  <c:v>0.0001361373425164872</c:v>
                </c:pt>
                <c:pt idx="7">
                  <c:v>0.00012158016980889652</c:v>
                </c:pt>
                <c:pt idx="8">
                  <c:v>0.00012011988213244091</c:v>
                </c:pt>
                <c:pt idx="9">
                  <c:v>9.026009251141444e-0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Van Der Hagen Blade (1.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Gillette Razor (13.9%)</c:v>
                </c:pt>
                <c:pt idx="1">
                  <c:v>Bic Dispo (16.9%)</c:v>
                </c:pt>
                <c:pt idx="2">
                  <c:v>Harrys Razor (6.2%)</c:v>
                </c:pt>
                <c:pt idx="3">
                  <c:v>Gillette Dispo (17.5%)</c:v>
                </c:pt>
                <c:pt idx="4">
                  <c:v>Harrys Blade (5.0%)</c:v>
                </c:pt>
                <c:pt idx="5">
                  <c:v>Gillette Blade (7.3%)</c:v>
                </c:pt>
                <c:pt idx="6">
                  <c:v>Equate Dispo (19.1%)</c:v>
                </c:pt>
                <c:pt idx="7">
                  <c:v>Schick Dispo (8.1%)</c:v>
                </c:pt>
                <c:pt idx="8">
                  <c:v>Equate Blade (1.4%)</c:v>
                </c:pt>
                <c:pt idx="9">
                  <c:v>Dollar Shave Club Razor (2.0%)</c:v>
                </c:pt>
              </c:strCache>
            </c:strRef>
          </c:cat>
          <c:val>
            <c:numRef>
              <c:f>Sheet1!$B$2:$B$11</c:f>
              <c:numCache>
                <c:formatCode>General</c:formatCode>
                <c:ptCount val="10"/>
                <c:pt idx="0">
                  <c:v>0.000609263508066279</c:v>
                </c:pt>
                <c:pt idx="1">
                  <c:v>0.0005185333917166926</c:v>
                </c:pt>
                <c:pt idx="2">
                  <c:v>0.000507938533685599</c:v>
                </c:pt>
                <c:pt idx="3">
                  <c:v>0.00035329480037645666</c:v>
                </c:pt>
                <c:pt idx="4">
                  <c:v>0.0003050441801868675</c:v>
                </c:pt>
                <c:pt idx="5">
                  <c:v>0.00019295654264590536</c:v>
                </c:pt>
                <c:pt idx="6">
                  <c:v>0.00013390075186369162</c:v>
                </c:pt>
                <c:pt idx="7">
                  <c:v>0.0001195836844997479</c:v>
                </c:pt>
                <c:pt idx="8">
                  <c:v>0.00011816680879230058</c:v>
                </c:pt>
                <c:pt idx="9">
                  <c:v>8.87885193511101e-05</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Schick Xtreme 2 Sensitive Disposable Razors 12 Pack (2.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quate 2 Blade Disposable Razors 12 Pack (5.7%)</c:v>
                </c:pt>
                <c:pt idx="1">
                  <c:v>Equate 2 Blade Disposable Razors 5 Pack (5.5%)</c:v>
                </c:pt>
                <c:pt idx="2">
                  <c:v>Schick Xtreme 3 Sensitive Disposable Razors 4 Pack (2.8%)</c:v>
                </c:pt>
                <c:pt idx="3">
                  <c:v>Bic Men Sensitive Single Blade Disposable Razors 12 Pack (5.7%)</c:v>
                </c:pt>
                <c:pt idx="4">
                  <c:v>Equate Speed 3 Disposable Razors 4 Pack (2.3%)</c:v>
                </c:pt>
                <c:pt idx="5">
                  <c:v>Equate Caliber 5 Disposable Razors 3 Pack (2.2%)</c:v>
                </c:pt>
                <c:pt idx="6">
                  <c:v>Equate Caliber 3 Disposable Razors 3 Pack (1.4%)</c:v>
                </c:pt>
                <c:pt idx="7">
                  <c:v>None Razors (12.2%)</c:v>
                </c:pt>
                <c:pt idx="8">
                  <c:v>Equate Speed 3 Disposable Razors 8 Pack (1.9%)</c:v>
                </c:pt>
                <c:pt idx="9">
                  <c:v>Gillette Sensor 2 Plus Disposable Razors 10 Pack (2.2%)</c:v>
                </c:pt>
              </c:strCache>
            </c:strRef>
          </c:cat>
          <c:val>
            <c:numRef>
              <c:f>Sheet1!$B$2:$B$11</c:f>
              <c:numCache>
                <c:formatCode>General</c:formatCode>
                <c:ptCount val="10"/>
                <c:pt idx="0">
                  <c:v>0.14733982461159736</c:v>
                </c:pt>
                <c:pt idx="1">
                  <c:v>0.1472373693363875</c:v>
                </c:pt>
                <c:pt idx="2">
                  <c:v>0.08690405184784153</c:v>
                </c:pt>
                <c:pt idx="3">
                  <c:v>0.07699867998608968</c:v>
                </c:pt>
                <c:pt idx="4">
                  <c:v>0.06721554528321524</c:v>
                </c:pt>
                <c:pt idx="5">
                  <c:v>0.048072719954797914</c:v>
                </c:pt>
                <c:pt idx="6">
                  <c:v>0.038247280590387484</c:v>
                </c:pt>
                <c:pt idx="7">
                  <c:v>0.0344315173398015</c:v>
                </c:pt>
                <c:pt idx="8">
                  <c:v>0.03176644608229471</c:v>
                </c:pt>
                <c:pt idx="9">
                  <c:v>0.03142428439786804</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Schick Xtreme 2 Sensitive Disposable Razors 12 Pack (2.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chick Xtreme 3 Sensitive Disposable Razors 4 Pack (2.8%)</c:v>
                </c:pt>
                <c:pt idx="1">
                  <c:v>Equate 2 Blade Disposable Razors 12 Pack (5.7%)</c:v>
                </c:pt>
                <c:pt idx="2">
                  <c:v>Equate 2 Blade Disposable Razors 5 Pack (5.5%)</c:v>
                </c:pt>
                <c:pt idx="3">
                  <c:v>Equate Speed 3 Disposable Razors 4 Pack (2.3%)</c:v>
                </c:pt>
                <c:pt idx="4">
                  <c:v>Bic Men Sensitive Single Blade Disposable Razors 12 Pack (5.7%)</c:v>
                </c:pt>
                <c:pt idx="5">
                  <c:v>Equate Speed 3 Disposable Razors 8 Pack (1.9%)</c:v>
                </c:pt>
                <c:pt idx="6">
                  <c:v>Equate Caliber 5 Disposable Razors 3 Pack (2.2%)</c:v>
                </c:pt>
                <c:pt idx="7">
                  <c:v>Equate Caliber 3 Disposable Razors 3 Pack (1.4%)</c:v>
                </c:pt>
                <c:pt idx="8">
                  <c:v>Schick Xtreme 3 Sensitive Disposable Razors 8 Pack (1.7%)</c:v>
                </c:pt>
                <c:pt idx="9">
                  <c:v>None Razors (12.2%)</c:v>
                </c:pt>
              </c:strCache>
            </c:strRef>
          </c:cat>
          <c:val>
            <c:numRef>
              <c:f>Sheet1!$B$2:$B$11</c:f>
              <c:numCache>
                <c:formatCode>General</c:formatCode>
                <c:ptCount val="10"/>
                <c:pt idx="0">
                  <c:v>0.16331423172078668</c:v>
                </c:pt>
                <c:pt idx="1">
                  <c:v>0.08494563762300708</c:v>
                </c:pt>
                <c:pt idx="2">
                  <c:v>0.08395031209132008</c:v>
                </c:pt>
                <c:pt idx="3">
                  <c:v>0.0813711827104952</c:v>
                </c:pt>
                <c:pt idx="4">
                  <c:v>0.06683328062429537</c:v>
                </c:pt>
                <c:pt idx="5">
                  <c:v>0.052992793714578774</c:v>
                </c:pt>
                <c:pt idx="6">
                  <c:v>0.05022993305394137</c:v>
                </c:pt>
                <c:pt idx="7">
                  <c:v>0.036044726251284624</c:v>
                </c:pt>
                <c:pt idx="8">
                  <c:v>0.03492194205287296</c:v>
                </c:pt>
                <c:pt idx="9">
                  <c:v>0.03280592770960259</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Schick Xtreme 2 Sensitive Disposable Razors 24 Pack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chick Xtreme 2 Sensitive Disposable Razors 12 Pack (2.7%)</c:v>
                </c:pt>
                <c:pt idx="1">
                  <c:v>Schick Xtreme 3 Sensitive Disposable Razors 4 Pack (2.8%)</c:v>
                </c:pt>
                <c:pt idx="2">
                  <c:v>Gillette Sensor 2 Pivot Head Disposable Razors 12 Pack (2.2%)</c:v>
                </c:pt>
                <c:pt idx="3">
                  <c:v>Gillette Sensor 2 Plus Disposable Razors 10 Pack (2.2%)</c:v>
                </c:pt>
                <c:pt idx="4">
                  <c:v>Bic Men Sensitive Single Blade Disposable Razors 12 Pack (5.7%)</c:v>
                </c:pt>
                <c:pt idx="5">
                  <c:v>Equate 2 Blade Disposable Razors 12 Pack (5.7%)</c:v>
                </c:pt>
                <c:pt idx="6">
                  <c:v>Equate 2 Blade Disposable Razors 5 Pack (5.5%)</c:v>
                </c:pt>
                <c:pt idx="7">
                  <c:v>Schick Xtreme 3 Sensitive Disposable Razors 8 Pack (1.7%)</c:v>
                </c:pt>
                <c:pt idx="8">
                  <c:v>Schick Xtreme 3 Sensitive Disposable Razors 12 Pack (0.9%)</c:v>
                </c:pt>
                <c:pt idx="9">
                  <c:v>None Razors (12.2%)</c:v>
                </c:pt>
              </c:strCache>
            </c:strRef>
          </c:cat>
          <c:val>
            <c:numRef>
              <c:f>Sheet1!$B$2:$B$11</c:f>
              <c:numCache>
                <c:formatCode>General</c:formatCode>
                <c:ptCount val="10"/>
                <c:pt idx="0">
                  <c:v>0.23336135364012453</c:v>
                </c:pt>
                <c:pt idx="1">
                  <c:v>0.0911405786875092</c:v>
                </c:pt>
                <c:pt idx="2">
                  <c:v>0.07254120828003695</c:v>
                </c:pt>
                <c:pt idx="3">
                  <c:v>0.05781487574594802</c:v>
                </c:pt>
                <c:pt idx="4">
                  <c:v>0.05504006313221757</c:v>
                </c:pt>
                <c:pt idx="5">
                  <c:v>0.05454066994349877</c:v>
                </c:pt>
                <c:pt idx="6">
                  <c:v>0.04742988925921545</c:v>
                </c:pt>
                <c:pt idx="7">
                  <c:v>0.040939231357976454</c:v>
                </c:pt>
                <c:pt idx="8">
                  <c:v>0.028168898282477116</c:v>
                </c:pt>
                <c:pt idx="9">
                  <c:v>0.022910062829441094</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364410230249504"/>
          <c:y val="2.7170386339721821E-2"/>
          <c:w val="0.86774252569994759"/>
          <c:h val="0.85363091822778381"/>
        </c:manualLayout>
      </c:layout>
      <c:scatterChart>
        <c:scatterStyle val="lineMarker"/>
        <c:varyColors val="0"/>
        <c:ser>
          <c:idx val="0"/>
          <c:order val="0"/>
          <c:tx>
            <c:strRef>
              <c:f>Sheet1!$B$1</c:f>
              <c:strCache>
                <c:ptCount val="1"/>
                <c:pt idx="0">
                  <c:v>PE up</c:v>
                </c:pt>
              </c:strCache>
            </c:strRef>
          </c:tx>
          <c:spPr>
            <a:ln w="9525" cap="rnd">
              <a:noFill/>
              <a:round/>
            </a:ln>
            <a:effectLst/>
          </c:spPr>
          <c:marker>
            <c:symbol val="circle"/>
            <c:size val="9"/>
            <c:spPr>
              <a:solidFill>
                <a:schemeClr val="tx1"/>
              </a:solidFill>
              <a:ln w="19050">
                <a:solidFill>
                  <a:schemeClr val="bg1"/>
                </a:solidFill>
              </a:ln>
              <a:effectLst/>
            </c:spPr>
          </c:marker>
          <c:dPt>
            <c:idx val="0"/>
            <c:bubble3D val="0"/>
            <c:extLst>
              <c:ext xmlns:c16="http://schemas.microsoft.com/office/drawing/2014/chart" uri="{C3380CC4-5D6E-409C-BE32-E72D297353CC}">
                <c16:uniqueId val="{00000000-B0D5-4750-8C19-9F9BE9CE2B4F}"/>
              </c:ext>
            </c:extLst>
          </c:dPt>
          <c:dPt>
            <c:idx val="1"/>
            <c:bubble3D val="0"/>
            <c:extLst>
              <c:ext xmlns:c16="http://schemas.microsoft.com/office/drawing/2014/chart" uri="{C3380CC4-5D6E-409C-BE32-E72D297353CC}">
                <c16:uniqueId val="{00000001-B0D5-4750-8C19-9F9BE9CE2B4F}"/>
              </c:ext>
            </c:extLst>
          </c:dPt>
          <c:dPt>
            <c:idx val="2"/>
            <c:bubble3D val="0"/>
            <c:extLst>
              <c:ext xmlns:c16="http://schemas.microsoft.com/office/drawing/2014/chart" uri="{C3380CC4-5D6E-409C-BE32-E72D297353CC}">
                <c16:uniqueId val="{00000002-B0D5-4750-8C19-9F9BE9CE2B4F}"/>
              </c:ext>
            </c:extLst>
          </c:dPt>
          <c:dPt>
            <c:idx val="3"/>
            <c:bubble3D val="0"/>
            <c:extLst>
              <c:ext xmlns:c16="http://schemas.microsoft.com/office/drawing/2014/chart" uri="{C3380CC4-5D6E-409C-BE32-E72D297353CC}">
                <c16:uniqueId val="{00000003-B0D5-4750-8C19-9F9BE9CE2B4F}"/>
              </c:ext>
            </c:extLst>
          </c:dPt>
          <c:dPt>
            <c:idx val="4"/>
            <c:bubble3D val="0"/>
            <c:extLst>
              <c:ext xmlns:c16="http://schemas.microsoft.com/office/drawing/2014/chart" uri="{C3380CC4-5D6E-409C-BE32-E72D297353CC}">
                <c16:uniqueId val="{00000004-B0D5-4750-8C19-9F9BE9CE2B4F}"/>
              </c:ext>
            </c:extLst>
          </c:dPt>
          <c:dPt>
            <c:idx val="5"/>
            <c:bubble3D val="0"/>
            <c:extLst>
              <c:ext xmlns:c16="http://schemas.microsoft.com/office/drawing/2014/chart" uri="{C3380CC4-5D6E-409C-BE32-E72D297353CC}">
                <c16:uniqueId val="{00000005-B0D5-4750-8C19-9F9BE9CE2B4F}"/>
              </c:ext>
            </c:extLst>
          </c:dPt>
          <c:dPt>
            <c:idx val="6"/>
            <c:bubble3D val="0"/>
            <c:extLst>
              <c:ext xmlns:c16="http://schemas.microsoft.com/office/drawing/2014/chart" uri="{C3380CC4-5D6E-409C-BE32-E72D297353CC}">
                <c16:uniqueId val="{00000006-B0D5-4750-8C19-9F9BE9CE2B4F}"/>
              </c:ext>
            </c:extLst>
          </c:dPt>
          <c:dPt>
            <c:idx val="7"/>
            <c:bubble3D val="0"/>
            <c:extLst>
              <c:ext xmlns:c16="http://schemas.microsoft.com/office/drawing/2014/chart" uri="{C3380CC4-5D6E-409C-BE32-E72D297353CC}">
                <c16:uniqueId val="{00000007-B0D5-4750-8C19-9F9BE9CE2B4F}"/>
              </c:ext>
            </c:extLst>
          </c:dPt>
          <c:dPt>
            <c:idx val="9"/>
            <c:bubble3D val="0"/>
            <c:extLst>
              <c:ext xmlns:c16="http://schemas.microsoft.com/office/drawing/2014/chart" uri="{C3380CC4-5D6E-409C-BE32-E72D297353CC}">
                <c16:uniqueId val="{0000000C-B0D5-4750-8C19-9F9BE9CE2B4F}"/>
              </c:ext>
            </c:extLst>
          </c:dPt>
          <c:dPt>
            <c:idx val="12"/>
            <c:bubble3D val="0"/>
            <c:extLst>
              <c:ext xmlns:c16="http://schemas.microsoft.com/office/drawing/2014/chart" uri="{C3380CC4-5D6E-409C-BE32-E72D297353CC}">
                <c16:uniqueId val="{00000009-B0D5-4750-8C19-9F9BE9CE2B4F}"/>
              </c:ext>
            </c:extLst>
          </c:dPt>
          <c:dPt>
            <c:idx val="13"/>
            <c:bubble3D val="0"/>
            <c:extLst>
              <c:ext xmlns:c16="http://schemas.microsoft.com/office/drawing/2014/chart" uri="{C3380CC4-5D6E-409C-BE32-E72D297353CC}">
                <c16:uniqueId val="{0000000A-B0D5-4750-8C19-9F9BE9CE2B4F}"/>
              </c:ext>
            </c:extLst>
          </c:dPt>
          <c:dPt>
            <c:idx val="14"/>
            <c:bubble3D val="0"/>
            <c:extLst>
              <c:ext xmlns:c16="http://schemas.microsoft.com/office/drawing/2014/chart" uri="{C3380CC4-5D6E-409C-BE32-E72D297353CC}">
                <c16:uniqueId val="{0000000B-B0D5-4750-8C19-9F9BE9CE2B4F}"/>
              </c:ext>
            </c:extLst>
          </c:dPt>
          <c:dPt>
            <c:idx val="16"/>
            <c:bubble3D val="0"/>
            <c:extLst>
              <c:ext xmlns:c16="http://schemas.microsoft.com/office/drawing/2014/chart" uri="{C3380CC4-5D6E-409C-BE32-E72D297353CC}">
                <c16:uniqueId val="{00000012-B0D5-4750-8C19-9F9BE9CE2B4F}"/>
              </c:ext>
            </c:extLst>
          </c:dPt>
          <c:dLbls>
            <c:dLbl>
              <c:idx val="0"/>
              <c:tx>
                <c:rich>
                  <a:bodyPr/>
                  <a:lstStyle/>
                  <a:p>
                    <a:r>
                      <a:t>Schick</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B0D5-4750-8C19-9F9BE9CE2B4F}"/>
                </c:ext>
              </c:extLst>
            </c:dLbl>
            <c:dLbl>
              <c:idx val="1"/>
              <c:tx>
                <c:rich>
                  <a:bodyPr/>
                  <a:lstStyle/>
                  <a:p>
                    <a:r>
                      <a:t>Equate</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B0D5-4750-8C19-9F9BE9CE2B4F}"/>
                </c:ext>
              </c:extLst>
            </c:dLbl>
            <c:dLbl>
              <c:idx val="2"/>
              <c:tx>
                <c:rich>
                  <a:bodyPr/>
                  <a:lstStyle/>
                  <a:p>
                    <a:r>
                      <a:t>Gillette</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B0D5-4750-8C19-9F9BE9CE2B4F}"/>
                </c:ext>
              </c:extLst>
            </c:dLbl>
            <c:dLbl>
              <c:idx val="3"/>
              <c:tx>
                <c:rich>
                  <a:bodyPr/>
                  <a:lstStyle/>
                  <a:p>
                    <a:r>
                      <a:t>Harry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B0D5-4750-8C19-9F9BE9CE2B4F}"/>
                </c:ext>
              </c:extLst>
            </c:dLbl>
            <c:dLbl>
              <c:idx val="4"/>
              <c:tx>
                <c:rich>
                  <a:bodyPr/>
                  <a:lstStyle/>
                  <a:p>
                    <a:r>
                      <a:t>Dollar Shave Club</a:t>
                    </a:r>
                  </a:p>
                </c:rich>
              </c:tx>
              <c:dLblPos val="t"/>
              <c:showLegendKey val="0"/>
              <c:showVal val="0"/>
              <c:showCatName val="0"/>
              <c:showSerName val="0"/>
              <c:showPercent val="0"/>
              <c:showBubbleSize val="0"/>
              <c:extLst>
                <c:ext xmlns:c15="http://schemas.microsoft.com/office/drawing/2012/chart" uri="{CE6537A1-D6FC-4f65-9D91-7224C49458BB}">
                  <c15:layout>
                    <c:manualLayout>
                      <c:w val="5.6451516574947062E-2"/>
                      <c:h val="5.3314955203308069E-2"/>
                    </c:manualLayout>
                  </c15:layout>
                  <c15:showDataLabelsRange val="1"/>
                </c:ext>
                <c:ext xmlns:c16="http://schemas.microsoft.com/office/drawing/2014/chart" uri="{C3380CC4-5D6E-409C-BE32-E72D297353CC}">
                  <c16:uniqueId val="{00000004-B0D5-4750-8C19-9F9BE9CE2B4F}"/>
                </c:ext>
              </c:extLst>
            </c:dLbl>
            <c:dLbl>
              <c:idx val="5"/>
              <c:tx>
                <c:rich>
                  <a:bodyPr/>
                  <a:lstStyle/>
                  <a:p>
                    <a:r>
                      <a:t>Van Der Hagen</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B0D5-4750-8C19-9F9BE9CE2B4F}"/>
                </c:ext>
              </c:extLst>
            </c:dLbl>
            <c:dLbl>
              <c:idx val="6"/>
              <c:tx>
                <c:rich>
                  <a:bodyPr/>
                  <a:lstStyle/>
                  <a:p>
                    <a:r>
                      <a:rPr lang="en-US"/>
                      <a:t>Hershey'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B0D5-4750-8C19-9F9BE9CE2B4F}"/>
                </c:ext>
              </c:extLst>
            </c:dLbl>
            <c:dLbl>
              <c:idx val="7"/>
              <c:tx>
                <c:rich>
                  <a:bodyPr/>
                  <a:lstStyle/>
                  <a:p>
                    <a:r>
                      <a:rPr lang="en-US"/>
                      <a:t>Hershey's Kisse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B0D5-4750-8C19-9F9BE9CE2B4F}"/>
                </c:ext>
              </c:extLst>
            </c:dLbl>
            <c:dLbl>
              <c:idx val="8"/>
              <c:tx>
                <c:rich>
                  <a:bodyPr/>
                  <a:lstStyle/>
                  <a:p>
                    <a:r>
                      <a:rPr lang="en-US"/>
                      <a:t>Reese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D362-4FD3-9AF9-43BE4338AF3D}"/>
                </c:ext>
              </c:extLst>
            </c:dLbl>
            <c:dLbl>
              <c:idx val="9"/>
              <c:tx>
                <c:rich>
                  <a:bodyPr/>
                  <a:lstStyle/>
                  <a:p>
                    <a:r>
                      <a:rPr lang="en-US"/>
                      <a:t>Kinder</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B0D5-4750-8C19-9F9BE9CE2B4F}"/>
                </c:ext>
              </c:extLst>
            </c:dLbl>
            <c:dLbl>
              <c:idx val="10"/>
              <c:tx>
                <c:rich>
                  <a:bodyPr/>
                  <a:lstStyle/>
                  <a:p>
                    <a:r>
                      <a:rPr lang="en-US"/>
                      <a:t>Kit Kat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D362-4FD3-9AF9-43BE4338AF3D}"/>
                </c:ext>
              </c:extLst>
            </c:dLbl>
            <c:dLbl>
              <c:idx val="11"/>
              <c:tx>
                <c:rich>
                  <a:bodyPr/>
                  <a:lstStyle/>
                  <a:p>
                    <a:r>
                      <a:rPr lang="en-US"/>
                      <a:t>M&amp;M'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D362-4FD3-9AF9-43BE4338AF3D}"/>
                </c:ext>
              </c:extLst>
            </c:dLbl>
            <c:dLbl>
              <c:idx val="12"/>
              <c:tx>
                <c:rich>
                  <a:bodyPr/>
                  <a:lstStyle/>
                  <a:p>
                    <a:r>
                      <a:rPr lang="en-US"/>
                      <a:t>Mackintosh</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B0D5-4750-8C19-9F9BE9CE2B4F}"/>
                </c:ext>
              </c:extLst>
            </c:dLbl>
            <c:dLbl>
              <c:idx val="13"/>
              <c:tx>
                <c:rich>
                  <a:bodyPr/>
                  <a:lstStyle/>
                  <a:p>
                    <a:r>
                      <a:rPr lang="en-US"/>
                      <a:t>Maltese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0D5-4750-8C19-9F9BE9CE2B4F}"/>
                </c:ext>
              </c:extLst>
            </c:dLbl>
            <c:dLbl>
              <c:idx val="14"/>
              <c:tx>
                <c:rich>
                  <a:bodyPr/>
                  <a:lstStyle/>
                  <a:p>
                    <a:r>
                      <a:rPr lang="en-US"/>
                      <a:t>Ma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B0D5-4750-8C19-9F9BE9CE2B4F}"/>
                </c:ext>
              </c:extLst>
            </c:dLbl>
            <c:dLbl>
              <c:idx val="15"/>
              <c:tx>
                <c:rich>
                  <a:bodyPr/>
                  <a:lstStyle/>
                  <a:p>
                    <a:r>
                      <a:rPr lang="en-US"/>
                      <a:t>Snickers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2704-469A-BFAC-FD9CF5DB2713}"/>
                </c:ext>
              </c:extLst>
            </c:dLbl>
            <c:dLbl>
              <c:idx val="16"/>
              <c:tx>
                <c:rich>
                  <a:bodyPr/>
                  <a:lstStyle/>
                  <a:p>
                    <a:r>
                      <a:rPr lang="en-US"/>
                      <a:t>Tiffany</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B0D5-4750-8C19-9F9BE9CE2B4F}"/>
                </c:ext>
              </c:extLst>
            </c:dLbl>
            <c:dLbl>
              <c:idx val="17"/>
              <c:tx>
                <c:rich>
                  <a:bodyPr/>
                  <a:lstStyle/>
                  <a:p>
                    <a:r>
                      <a:rPr lang="en-US"/>
                      <a:t>Toblerone</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2704-469A-BFAC-FD9CF5DB2713}"/>
                </c:ext>
              </c:extLst>
            </c:dLbl>
            <c:dLbl>
              <c:idx val="18"/>
              <c:tx>
                <c:rich>
                  <a:bodyPr/>
                  <a:lstStyle/>
                  <a:p>
                    <a:r>
                      <a:rPr lang="en-US"/>
                      <a:t>Twix</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2704-469A-BFAC-FD9CF5DB2713}"/>
                </c:ext>
              </c:extLst>
            </c:dLbl>
            <c:spPr>
              <a:noFill/>
              <a:ln>
                <a:noFill/>
              </a:ln>
              <a:effectLst/>
            </c:spPr>
            <c:txPr>
              <a:bodyPr rot="0" spcFirstLastPara="1" vertOverflow="ellipsis" vert="horz" wrap="non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0"/>
              </c:ext>
            </c:extLst>
          </c:dLbls>
          <c:xVal>
            <c:numRef>
              <c:f>Sheet1!$A$2:$A$7</c:f>
              <c:numCache>
                <c:formatCode>General</c:formatCode>
                <c:ptCount val="6"/>
                <c:pt idx="0">
                  <c:v>-0.37914986068510365</c:v>
                </c:pt>
                <c:pt idx="1">
                  <c:v>-0.45988348508424276</c:v>
                </c:pt>
                <c:pt idx="2">
                  <c:v>-0.48547360744653784</c:v>
                </c:pt>
                <c:pt idx="3">
                  <c:v>-0.1667770976935357</c:v>
                </c:pt>
                <c:pt idx="4">
                  <c:v>-0.14248303967598658</c:v>
                </c:pt>
                <c:pt idx="5">
                  <c:v>-0.06334917176881337</c:v>
                </c:pt>
              </c:numCache>
            </c:numRef>
          </c:xVal>
          <c:yVal>
            <c:numRef>
              <c:f>Sheet1!$B$2:$B$7</c:f>
              <c:numCache>
                <c:formatCode>General</c:formatCode>
                <c:ptCount val="6"/>
                <c:pt idx="0">
                  <c:v>-0.36318392883819334</c:v>
                </c:pt>
                <c:pt idx="1">
                  <c:v>-0.4325956474974422</c:v>
                </c:pt>
                <c:pt idx="2">
                  <c:v>-0.37269314104717466</c:v>
                </c:pt>
                <c:pt idx="3">
                  <c:v>-0.4081648518005464</c:v>
                </c:pt>
                <c:pt idx="4">
                  <c:v>-0.12323583840873109</c:v>
                </c:pt>
                <c:pt idx="5">
                  <c:v>-0.06439562615817371</c:v>
                </c:pt>
              </c:numCache>
            </c:numRef>
          </c:yVal>
          <c:smooth val="0"/>
          <c:extLst>
            <c:ext xmlns:c15="http://schemas.microsoft.com/office/drawing/2012/chart" uri="{02D57815-91ED-43cb-92C2-25804820EDAC}">
              <c15:datalabelsRange>
                <c15:f>Sheet1!$C$2:$C$16</c15:f>
                <c15:dlblRangeCache>
                  <c:ptCount val="15"/>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15:dlblRangeCache>
              </c15:datalabelsRange>
            </c:ext>
            <c:ext xmlns:c16="http://schemas.microsoft.com/office/drawing/2014/chart" uri="{C3380CC4-5D6E-409C-BE32-E72D297353CC}">
              <c16:uniqueId val="{0000000E-B0D5-4750-8C19-9F9BE9CE2B4F}"/>
            </c:ext>
          </c:extLst>
        </c:ser>
        <c:dLbls>
          <c:dLblPos val="t"/>
          <c:showLegendKey val="0"/>
          <c:showVal val="1"/>
          <c:showCatName val="0"/>
          <c:showSerName val="0"/>
          <c:showPercent val="0"/>
          <c:showBubbleSize val="0"/>
        </c:dLbls>
        <c:axId val="1923850352"/>
        <c:axId val="1923855760"/>
      </c:scatterChart>
      <c:valAx>
        <c:axId val="1923850352"/>
        <c:scaling>
          <c:orientation val="maxMin"/>
          <c:max val="0"/>
        </c:scaling>
        <c:delete val="0"/>
        <c:axPos val="t"/>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5760"/>
        <c:crossesAt val="-1"/>
        <c:crossBetween val="midCat"/>
      </c:valAx>
      <c:valAx>
        <c:axId val="1923855760"/>
        <c:scaling>
          <c:orientation val="maxMin"/>
        </c:scaling>
        <c:delete val="0"/>
        <c:axPos val="r"/>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0352"/>
        <c:crossesAt val="-1"/>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Schick Xtreme 2 Sensitive Disposable Razors 24 Pack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chick Xtreme 2 Sensitive Disposable Razors 12 Pack (2.7%)</c:v>
                </c:pt>
                <c:pt idx="1">
                  <c:v>Schick Xtreme 3 Sensitive Disposable Razors 4 Pack (2.8%)</c:v>
                </c:pt>
                <c:pt idx="2">
                  <c:v>Bic Men Sensitive Single Blade Disposable Razors 12 Pack (5.7%)</c:v>
                </c:pt>
                <c:pt idx="3">
                  <c:v>Gillette Sensor 2 Pivot Head Disposable Razors 12 Pack (2.2%)</c:v>
                </c:pt>
                <c:pt idx="4">
                  <c:v>Equate 2 Blade Disposable Razors 12 Pack (5.7%)</c:v>
                </c:pt>
                <c:pt idx="5">
                  <c:v>Equate 2 Blade Disposable Razors 5 Pack (5.5%)</c:v>
                </c:pt>
                <c:pt idx="6">
                  <c:v>Gillette Sensor 2 Plus Disposable Razors 10 Pack (2.2%)</c:v>
                </c:pt>
                <c:pt idx="7">
                  <c:v>Schick Xtreme 3 Sensitive Disposable Razors 8 Pack (1.7%)</c:v>
                </c:pt>
                <c:pt idx="8">
                  <c:v>Schick Xtreme 3 Sensitive Disposable Razors 12 Pack (0.9%)</c:v>
                </c:pt>
                <c:pt idx="9">
                  <c:v>Bic Men Sensitive Twin Blade Disposable Razors 10 Pack (1.3%)</c:v>
                </c:pt>
              </c:strCache>
            </c:strRef>
          </c:cat>
          <c:val>
            <c:numRef>
              <c:f>Sheet1!$B$2:$B$11</c:f>
              <c:numCache>
                <c:formatCode>General</c:formatCode>
                <c:ptCount val="10"/>
                <c:pt idx="0">
                  <c:v>0.20332764220636132</c:v>
                </c:pt>
                <c:pt idx="1">
                  <c:v>0.08975945672717744</c:v>
                </c:pt>
                <c:pt idx="2">
                  <c:v>0.06709472496865033</c:v>
                </c:pt>
                <c:pt idx="3">
                  <c:v>0.0644889678133478</c:v>
                </c:pt>
                <c:pt idx="4">
                  <c:v>0.05758642979300605</c:v>
                </c:pt>
                <c:pt idx="5">
                  <c:v>0.04752566095448796</c:v>
                </c:pt>
                <c:pt idx="6">
                  <c:v>0.04676663156381032</c:v>
                </c:pt>
                <c:pt idx="7">
                  <c:v>0.04529026821847023</c:v>
                </c:pt>
                <c:pt idx="8">
                  <c:v>0.03338112586526614</c:v>
                </c:pt>
                <c:pt idx="9">
                  <c:v>0.0312872939501379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Schick Xtreme 5 Sensitive Disposable Razors 2 Pack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chick Xtreme 3 Sensitive Disposable Razors 4 Pack (2.8%)</c:v>
                </c:pt>
                <c:pt idx="1">
                  <c:v>Equate Speed 3 Disposable Razors 4 Pack (2.3%)</c:v>
                </c:pt>
                <c:pt idx="2">
                  <c:v>None Razors (12.2%)</c:v>
                </c:pt>
                <c:pt idx="3">
                  <c:v>Schick Xtreme 2 Sensitive Disposable Razors 12 Pack (2.7%)</c:v>
                </c:pt>
                <c:pt idx="4">
                  <c:v>Equate 2 Blade Disposable Razors 5 Pack (5.5%)</c:v>
                </c:pt>
                <c:pt idx="5">
                  <c:v>Bic Men Sensitive Single Blade Disposable Razors 12 Pack (5.7%)</c:v>
                </c:pt>
                <c:pt idx="6">
                  <c:v>Equate Caliber 5 Disposable Razors 3 Pack (2.2%)</c:v>
                </c:pt>
                <c:pt idx="7">
                  <c:v>Equate 2 Blade Disposable Razors 12 Pack (5.7%)</c:v>
                </c:pt>
                <c:pt idx="8">
                  <c:v>Bic Comfort 3 Sensitive Skin Disposable Razors 4 Pack (2.0%)</c:v>
                </c:pt>
                <c:pt idx="9">
                  <c:v>Gillette Mach 3 Sensitive Skin Disposable Razors 3 Pack (2.4%)</c:v>
                </c:pt>
              </c:strCache>
            </c:strRef>
          </c:cat>
          <c:val>
            <c:numRef>
              <c:f>Sheet1!$B$2:$B$11</c:f>
              <c:numCache>
                <c:formatCode>General</c:formatCode>
                <c:ptCount val="10"/>
                <c:pt idx="0">
                  <c:v>0.10949133835034391</c:v>
                </c:pt>
                <c:pt idx="1">
                  <c:v>0.0679628429394188</c:v>
                </c:pt>
                <c:pt idx="2">
                  <c:v>0.059998046840583234</c:v>
                </c:pt>
                <c:pt idx="3">
                  <c:v>0.0592363892731014</c:v>
                </c:pt>
                <c:pt idx="4">
                  <c:v>0.05742965792625658</c:v>
                </c:pt>
                <c:pt idx="5">
                  <c:v>0.05500898090684532</c:v>
                </c:pt>
                <c:pt idx="6">
                  <c:v>0.05203974310648236</c:v>
                </c:pt>
                <c:pt idx="7">
                  <c:v>0.04982009731880151</c:v>
                </c:pt>
                <c:pt idx="8">
                  <c:v>0.04583695847310092</c:v>
                </c:pt>
                <c:pt idx="9">
                  <c:v>0.044574167888640076</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Schick Xtreme 5 Sensitive Disposable Razors 2 Pack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chick Xtreme 3 Sensitive Disposable Razors 4 Pack (2.8%)</c:v>
                </c:pt>
                <c:pt idx="1">
                  <c:v>Schick Xtreme 2 Sensitive Disposable Razors 12 Pack (2.7%)</c:v>
                </c:pt>
                <c:pt idx="2">
                  <c:v>Equate Speed 3 Disposable Razors 4 Pack (2.3%)</c:v>
                </c:pt>
                <c:pt idx="3">
                  <c:v>Gillette Mach 3 Sensitive Skin Disposable Razors 3 Pack (2.4%)</c:v>
                </c:pt>
                <c:pt idx="4">
                  <c:v>Bic Flex 4 Sensitive Skin Disposable Razors 3 Pack (1.7%)</c:v>
                </c:pt>
                <c:pt idx="5">
                  <c:v>Equate Caliber 5 Disposable Razors 3 Pack (2.2%)</c:v>
                </c:pt>
                <c:pt idx="6">
                  <c:v>None Razors (12.2%)</c:v>
                </c:pt>
                <c:pt idx="7">
                  <c:v>Bic Men Sensitive Single Blade Disposable Razors 12 Pack (5.7%)</c:v>
                </c:pt>
                <c:pt idx="8">
                  <c:v>Equate Speed 3 Disposable Razors 8 Pack (1.9%)</c:v>
                </c:pt>
                <c:pt idx="9">
                  <c:v>Bic Comfort 3 Sensitive Skin Disposable Razors 4 Pack (2.0%)</c:v>
                </c:pt>
              </c:strCache>
            </c:strRef>
          </c:cat>
          <c:val>
            <c:numRef>
              <c:f>Sheet1!$B$2:$B$11</c:f>
              <c:numCache>
                <c:formatCode>General</c:formatCode>
                <c:ptCount val="10"/>
                <c:pt idx="0">
                  <c:v>0.1584044272096789</c:v>
                </c:pt>
                <c:pt idx="1">
                  <c:v>0.09612218636436576</c:v>
                </c:pt>
                <c:pt idx="2">
                  <c:v>0.06816035806020593</c:v>
                </c:pt>
                <c:pt idx="3">
                  <c:v>0.06332671171109035</c:v>
                </c:pt>
                <c:pt idx="4">
                  <c:v>0.04682589441598263</c:v>
                </c:pt>
                <c:pt idx="5">
                  <c:v>0.04643076351068313</c:v>
                </c:pt>
                <c:pt idx="6">
                  <c:v>0.04375583015206341</c:v>
                </c:pt>
                <c:pt idx="7">
                  <c:v>0.041921233089245315</c:v>
                </c:pt>
                <c:pt idx="8">
                  <c:v>0.036258882393372695</c:v>
                </c:pt>
                <c:pt idx="9">
                  <c:v>0.03595090841102467</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Schick Xtreme 5 Sensitive Disposable Razors 4 Pack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chick Xtreme 3 Sensitive Disposable Razors 4 Pack (2.8%)</c:v>
                </c:pt>
                <c:pt idx="1">
                  <c:v>Schick Xtreme 2 Sensitive Disposable Razors 12 Pack (2.7%)</c:v>
                </c:pt>
                <c:pt idx="2">
                  <c:v>Schick Xtreme 3 Sensitive Disposable Razors 8 Pack (1.7%)</c:v>
                </c:pt>
                <c:pt idx="3">
                  <c:v>Gillette Mach 3 Sensitive Skin Disposable Razors 3 Pack (2.4%)</c:v>
                </c:pt>
                <c:pt idx="4">
                  <c:v>Equate Speed 3 Disposable Razors 4 Pack (2.3%)</c:v>
                </c:pt>
                <c:pt idx="5">
                  <c:v>Schick Hydro 5 Blade Sensitive 1 Handle + 3 Cartridges (2.0%)</c:v>
                </c:pt>
                <c:pt idx="6">
                  <c:v>Gillette Sensor 3 Sensitive Disposable Razors 4 Pack (2.3%)</c:v>
                </c:pt>
                <c:pt idx="7">
                  <c:v>None Razors (12.2%)</c:v>
                </c:pt>
                <c:pt idx="8">
                  <c:v>Bic Flex 4 Sensitive Skin Disposable Razors 3 Pack (1.7%)</c:v>
                </c:pt>
                <c:pt idx="9">
                  <c:v>Equate Caliber 5 Disposable Razors 3 Pack (2.2%)</c:v>
                </c:pt>
              </c:strCache>
            </c:strRef>
          </c:cat>
          <c:val>
            <c:numRef>
              <c:f>Sheet1!$B$2:$B$11</c:f>
              <c:numCache>
                <c:formatCode>General</c:formatCode>
                <c:ptCount val="10"/>
                <c:pt idx="0">
                  <c:v>0.13287899060904398</c:v>
                </c:pt>
                <c:pt idx="1">
                  <c:v>0.07359862132411031</c:v>
                </c:pt>
                <c:pt idx="2">
                  <c:v>0.06045703204297074</c:v>
                </c:pt>
                <c:pt idx="3">
                  <c:v>0.05196866215445328</c:v>
                </c:pt>
                <c:pt idx="4">
                  <c:v>0.04565061687832584</c:v>
                </c:pt>
                <c:pt idx="5">
                  <c:v>0.04241781694855268</c:v>
                </c:pt>
                <c:pt idx="6">
                  <c:v>0.04117150365242682</c:v>
                </c:pt>
                <c:pt idx="7">
                  <c:v>0.038161390920297626</c:v>
                </c:pt>
                <c:pt idx="8">
                  <c:v>0.035147078157988294</c:v>
                </c:pt>
                <c:pt idx="9">
                  <c:v>0.03335826431557421</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Schick Xtreme 5 Sensitive Disposable Razors 4 Pack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chick Xtreme 3 Sensitive Disposable Razors 4 Pack (2.8%)</c:v>
                </c:pt>
                <c:pt idx="1">
                  <c:v>Schick Xtreme 3 Sensitive Disposable Razors 8 Pack (1.7%)</c:v>
                </c:pt>
                <c:pt idx="2">
                  <c:v>Schick Xtreme 2 Sensitive Disposable Razors 12 Pack (2.7%)</c:v>
                </c:pt>
                <c:pt idx="3">
                  <c:v>Schick Hydro 5 Blade Sensitive 1 Handle + 3 Cartridges (2.0%)</c:v>
                </c:pt>
                <c:pt idx="4">
                  <c:v>None Razors (12.2%)</c:v>
                </c:pt>
                <c:pt idx="5">
                  <c:v>Gillette Mach 3 Sensitive Skin Disposable Razors 3 Pack (2.4%)</c:v>
                </c:pt>
                <c:pt idx="6">
                  <c:v>Gillette Sensor 3 Sensitive Disposable Razors 4 Pack (2.3%)</c:v>
                </c:pt>
                <c:pt idx="7">
                  <c:v>Equate Speed 3 Disposable Razors 4 Pack (2.3%)</c:v>
                </c:pt>
                <c:pt idx="8">
                  <c:v>Bic Flex 4 Sensitive Skin Disposable Razors 3 Pack (1.7%)</c:v>
                </c:pt>
                <c:pt idx="9">
                  <c:v>Equate 2 Blade Disposable Razors 12 Pack (5.7%)</c:v>
                </c:pt>
              </c:strCache>
            </c:strRef>
          </c:cat>
          <c:val>
            <c:numRef>
              <c:f>Sheet1!$B$2:$B$11</c:f>
              <c:numCache>
                <c:formatCode>General</c:formatCode>
                <c:ptCount val="10"/>
                <c:pt idx="0">
                  <c:v>0.10987624571931266</c:v>
                </c:pt>
                <c:pt idx="1">
                  <c:v>0.06970405151081871</c:v>
                </c:pt>
                <c:pt idx="2">
                  <c:v>0.05766875516534276</c:v>
                </c:pt>
                <c:pt idx="3">
                  <c:v>0.053284367467936335</c:v>
                </c:pt>
                <c:pt idx="4">
                  <c:v>0.04810532332257451</c:v>
                </c:pt>
                <c:pt idx="5">
                  <c:v>0.042036718323609036</c:v>
                </c:pt>
                <c:pt idx="6">
                  <c:v>0.0367462819741781</c:v>
                </c:pt>
                <c:pt idx="7">
                  <c:v>0.03258701754262706</c:v>
                </c:pt>
                <c:pt idx="8">
                  <c:v>0.03249403126649729</c:v>
                </c:pt>
                <c:pt idx="9">
                  <c:v>0.03231446094716227</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Schick Xtreme 5 Sensitive Disposable Razors 8 Pack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chick Xtreme 3 Sensitive Disposable Razors 4 Pack (2.8%)</c:v>
                </c:pt>
                <c:pt idx="1">
                  <c:v>Schick Xtreme 3 Sensitive Disposable Razors 8 Pack (1.7%)</c:v>
                </c:pt>
                <c:pt idx="2">
                  <c:v>Schick Xtreme 2 Sensitive Disposable Razors 12 Pack (2.7%)</c:v>
                </c:pt>
                <c:pt idx="3">
                  <c:v>Schick Xtreme 3 Sensitive Disposable Razors 12 Pack (0.9%)</c:v>
                </c:pt>
                <c:pt idx="4">
                  <c:v>None Razors (12.2%)</c:v>
                </c:pt>
                <c:pt idx="5">
                  <c:v>Gillette Sensor 3 Sensitive Disposable Razors 12 Pack (1.6%)</c:v>
                </c:pt>
                <c:pt idx="6">
                  <c:v>Equate 2 Blade Disposable Razors 12 Pack (5.7%)</c:v>
                </c:pt>
                <c:pt idx="7">
                  <c:v>Gillette Mach 3 Sensitive Skin Disposable Razors 3 Pack (2.4%)</c:v>
                </c:pt>
                <c:pt idx="8">
                  <c:v>Gillette Sensor 3 Sensitive Disposable Razors 4 Pack (2.3%)</c:v>
                </c:pt>
                <c:pt idx="9">
                  <c:v>Gillette Sensor 3 Disposable Razors 12 Pack (1.6%)</c:v>
                </c:pt>
              </c:strCache>
            </c:strRef>
          </c:cat>
          <c:val>
            <c:numRef>
              <c:f>Sheet1!$B$2:$B$11</c:f>
              <c:numCache>
                <c:formatCode>General</c:formatCode>
                <c:ptCount val="10"/>
                <c:pt idx="0">
                  <c:v>0.105804563099734</c:v>
                </c:pt>
                <c:pt idx="1">
                  <c:v>0.09307720805858091</c:v>
                </c:pt>
                <c:pt idx="2">
                  <c:v>0.07827453672769014</c:v>
                </c:pt>
                <c:pt idx="3">
                  <c:v>0.058065754701642755</c:v>
                </c:pt>
                <c:pt idx="4">
                  <c:v>0.04193979691926123</c:v>
                </c:pt>
                <c:pt idx="5">
                  <c:v>0.04175531843920092</c:v>
                </c:pt>
                <c:pt idx="6">
                  <c:v>0.03927197332907877</c:v>
                </c:pt>
                <c:pt idx="7">
                  <c:v>0.033488803455787725</c:v>
                </c:pt>
                <c:pt idx="8">
                  <c:v>0.02919633503233604</c:v>
                </c:pt>
                <c:pt idx="9">
                  <c:v>0.028525978025319556</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Schick Xtreme 5 Sensitive Disposable Razors 8 Pack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chick Xtreme 3 Sensitive Disposable Razors 4 Pack (2.8%)</c:v>
                </c:pt>
                <c:pt idx="1">
                  <c:v>Schick Xtreme 3 Sensitive Disposable Razors 8 Pack (1.7%)</c:v>
                </c:pt>
                <c:pt idx="2">
                  <c:v>Schick Xtreme 2 Sensitive Disposable Razors 12 Pack (2.7%)</c:v>
                </c:pt>
                <c:pt idx="3">
                  <c:v>Schick Xtreme 3 Sensitive Disposable Razors 12 Pack (0.9%)</c:v>
                </c:pt>
                <c:pt idx="4">
                  <c:v>None Razors (12.2%)</c:v>
                </c:pt>
                <c:pt idx="5">
                  <c:v>Gillette Sensor 3 Sensitive Disposable Razors 12 Pack (1.6%)</c:v>
                </c:pt>
                <c:pt idx="6">
                  <c:v>Schick Hydro 5 Blade Sensitive 1 Handle + 3 Cartridges (2.0%)</c:v>
                </c:pt>
                <c:pt idx="7">
                  <c:v>Gillette Mach 3 Sensitive Skin Disposable Razors 3 Pack (2.4%)</c:v>
                </c:pt>
                <c:pt idx="8">
                  <c:v>Gillette Sensor 3 Disposable Razors 12 Pack (1.6%)</c:v>
                </c:pt>
                <c:pt idx="9">
                  <c:v>Gillette Sensor 3 Sensitive Disposable Razors 8 Pack (1.8%)</c:v>
                </c:pt>
              </c:strCache>
            </c:strRef>
          </c:cat>
          <c:val>
            <c:numRef>
              <c:f>Sheet1!$B$2:$B$11</c:f>
              <c:numCache>
                <c:formatCode>General</c:formatCode>
                <c:ptCount val="10"/>
                <c:pt idx="0">
                  <c:v>0.09774959271585537</c:v>
                </c:pt>
                <c:pt idx="1">
                  <c:v>0.0958485031511414</c:v>
                </c:pt>
                <c:pt idx="2">
                  <c:v>0.07414970388463676</c:v>
                </c:pt>
                <c:pt idx="3">
                  <c:v>0.05664727957025495</c:v>
                </c:pt>
                <c:pt idx="4">
                  <c:v>0.04638017240952417</c:v>
                </c:pt>
                <c:pt idx="5">
                  <c:v>0.041874991665449696</c:v>
                </c:pt>
                <c:pt idx="6">
                  <c:v>0.036696569859532915</c:v>
                </c:pt>
                <c:pt idx="7">
                  <c:v>0.03388315739176117</c:v>
                </c:pt>
                <c:pt idx="8">
                  <c:v>0.030295007801491414</c:v>
                </c:pt>
                <c:pt idx="9">
                  <c:v>0.02911984311984108</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Schick Xtreme 3 Sensitive Disposable Razors 4 Pack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quate Speed 3 Disposable Razors 4 Pack (2.3%)</c:v>
                </c:pt>
                <c:pt idx="1">
                  <c:v>Equate 2 Blade Disposable Razors 5 Pack (5.5%)</c:v>
                </c:pt>
                <c:pt idx="2">
                  <c:v>Equate 2 Blade Disposable Razors 12 Pack (5.7%)</c:v>
                </c:pt>
                <c:pt idx="3">
                  <c:v>Schick Xtreme 2 Sensitive Disposable Razors 12 Pack (2.7%)</c:v>
                </c:pt>
                <c:pt idx="4">
                  <c:v>Equate Caliber 5 Disposable Razors 3 Pack (2.2%)</c:v>
                </c:pt>
                <c:pt idx="5">
                  <c:v>Bic Comfort 3 Sensitive Skin Disposable Razors 4 Pack (2.0%)</c:v>
                </c:pt>
                <c:pt idx="6">
                  <c:v>Equate Caliber 3 Disposable Razors 3 Pack (1.4%)</c:v>
                </c:pt>
                <c:pt idx="7">
                  <c:v>Gillette Mach 3 Sensitive Skin Disposable Razors 3 Pack (2.4%)</c:v>
                </c:pt>
                <c:pt idx="8">
                  <c:v>Bic Men Sensitive Single Blade Disposable Razors 12 Pack (5.7%)</c:v>
                </c:pt>
                <c:pt idx="9">
                  <c:v>Bic Flex 4 Sensitive Skin Disposable Razors 3 Pack (1.7%)</c:v>
                </c:pt>
              </c:strCache>
            </c:strRef>
          </c:cat>
          <c:val>
            <c:numRef>
              <c:f>Sheet1!$B$2:$B$11</c:f>
              <c:numCache>
                <c:formatCode>General</c:formatCode>
                <c:ptCount val="10"/>
                <c:pt idx="0">
                  <c:v>0.08637930477320964</c:v>
                </c:pt>
                <c:pt idx="1">
                  <c:v>0.08413338829513672</c:v>
                </c:pt>
                <c:pt idx="2">
                  <c:v>0.08100340295709522</c:v>
                </c:pt>
                <c:pt idx="3">
                  <c:v>0.06501027659657843</c:v>
                </c:pt>
                <c:pt idx="4">
                  <c:v>0.0615088363675255</c:v>
                </c:pt>
                <c:pt idx="5">
                  <c:v>0.05921776272692039</c:v>
                </c:pt>
                <c:pt idx="6">
                  <c:v>0.0570360074039998</c:v>
                </c:pt>
                <c:pt idx="7">
                  <c:v>0.0449462269343537</c:v>
                </c:pt>
                <c:pt idx="8">
                  <c:v>0.04232357186214684</c:v>
                </c:pt>
                <c:pt idx="9">
                  <c:v>0.042204267801298184</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Schick Xtreme 3 Sensitive Disposable Razors 4 Pack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chick Xtreme 2 Sensitive Disposable Razors 12 Pack (2.7%)</c:v>
                </c:pt>
                <c:pt idx="1">
                  <c:v>Equate Speed 3 Disposable Razors 4 Pack (2.3%)</c:v>
                </c:pt>
                <c:pt idx="2">
                  <c:v>Gillette Mach 3 Sensitive Skin Disposable Razors 3 Pack (2.4%)</c:v>
                </c:pt>
                <c:pt idx="3">
                  <c:v>Equate Caliber 5 Disposable Razors 3 Pack (2.2%)</c:v>
                </c:pt>
                <c:pt idx="4">
                  <c:v>Equate 2 Blade Disposable Razors 12 Pack (5.7%)</c:v>
                </c:pt>
                <c:pt idx="5">
                  <c:v>Equate 2 Blade Disposable Razors 5 Pack (5.5%)</c:v>
                </c:pt>
                <c:pt idx="6">
                  <c:v>Bic Flex 4 Sensitive Skin Disposable Razors 3 Pack (1.7%)</c:v>
                </c:pt>
                <c:pt idx="7">
                  <c:v>Schick Xtreme 3 Sensitive Disposable Razors 8 Pack (1.7%)</c:v>
                </c:pt>
                <c:pt idx="8">
                  <c:v>Bic Comfort 3 Sensitive Skin Disposable Razors 4 Pack (2.0%)</c:v>
                </c:pt>
                <c:pt idx="9">
                  <c:v>Equate Caliber 3 Disposable Razors 3 Pack (1.4%)</c:v>
                </c:pt>
              </c:strCache>
            </c:strRef>
          </c:cat>
          <c:val>
            <c:numRef>
              <c:f>Sheet1!$B$2:$B$11</c:f>
              <c:numCache>
                <c:formatCode>General</c:formatCode>
                <c:ptCount val="10"/>
                <c:pt idx="0">
                  <c:v>0.11368442940416866</c:v>
                </c:pt>
                <c:pt idx="1">
                  <c:v>0.08770933785695394</c:v>
                </c:pt>
                <c:pt idx="2">
                  <c:v>0.0683426544806551</c:v>
                </c:pt>
                <c:pt idx="3">
                  <c:v>0.05909880317750795</c:v>
                </c:pt>
                <c:pt idx="4">
                  <c:v>0.05334655329112719</c:v>
                </c:pt>
                <c:pt idx="5">
                  <c:v>0.05162174698438114</c:v>
                </c:pt>
                <c:pt idx="6">
                  <c:v>0.05027728351229986</c:v>
                </c:pt>
                <c:pt idx="7">
                  <c:v>0.04951172063767436</c:v>
                </c:pt>
                <c:pt idx="8">
                  <c:v>0.04808375392739482</c:v>
                </c:pt>
                <c:pt idx="9">
                  <c:v>0.0450326195694503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Schick Xtreme 3 Sensitive Disposable Razors 8 Pack (1.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chick Xtreme 3 Sensitive Disposable Razors 4 Pack (2.8%)</c:v>
                </c:pt>
                <c:pt idx="1">
                  <c:v>Schick Xtreme 2 Sensitive Disposable Razors 12 Pack (2.7%)</c:v>
                </c:pt>
                <c:pt idx="2">
                  <c:v>Gillette Mach 3 Sensitive Skin Disposable Razors 3 Pack (2.4%)</c:v>
                </c:pt>
                <c:pt idx="3">
                  <c:v>Equate Speed 3 Disposable Razors 4 Pack (2.3%)</c:v>
                </c:pt>
                <c:pt idx="4">
                  <c:v>Bic Flex 4 Sensitive Skin Disposable Razors 3 Pack (1.7%)</c:v>
                </c:pt>
                <c:pt idx="5">
                  <c:v>Gillette Sensor 3 Sensitive Disposable Razors 4 Pack (2.3%)</c:v>
                </c:pt>
                <c:pt idx="6">
                  <c:v>Schick Hydro 5 Blade Sensitive 1 Handle + 3 Cartridges (2.0%)</c:v>
                </c:pt>
                <c:pt idx="7">
                  <c:v>Bic Comfort 3 Sensitive Skin Disposable Razors 4 Pack (2.0%)</c:v>
                </c:pt>
                <c:pt idx="8">
                  <c:v>Equate Speed 3 Disposable Razors 8 Pack (1.9%)</c:v>
                </c:pt>
                <c:pt idx="9">
                  <c:v>Equate Caliber 5 Disposable Razors 3 Pack (2.2%)</c:v>
                </c:pt>
              </c:strCache>
            </c:strRef>
          </c:cat>
          <c:val>
            <c:numRef>
              <c:f>Sheet1!$B$2:$B$11</c:f>
              <c:numCache>
                <c:formatCode>General</c:formatCode>
                <c:ptCount val="10"/>
                <c:pt idx="0">
                  <c:v>0.16969985116032923</c:v>
                </c:pt>
                <c:pt idx="1">
                  <c:v>0.08623088557877208</c:v>
                </c:pt>
                <c:pt idx="2">
                  <c:v>0.07770043241862894</c:v>
                </c:pt>
                <c:pt idx="3">
                  <c:v>0.06848786869425899</c:v>
                </c:pt>
                <c:pt idx="4">
                  <c:v>0.05142447491726233</c:v>
                </c:pt>
                <c:pt idx="5">
                  <c:v>0.04625576070720268</c:v>
                </c:pt>
                <c:pt idx="6">
                  <c:v>0.04410468190110392</c:v>
                </c:pt>
                <c:pt idx="7">
                  <c:v>0.03843752264227405</c:v>
                </c:pt>
                <c:pt idx="8">
                  <c:v>0.038082403400609824</c:v>
                </c:pt>
                <c:pt idx="9">
                  <c:v>0.03434654279539568</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Schick Dispo (8.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quate Dispo (19.1%)</c:v>
                </c:pt>
                <c:pt idx="1">
                  <c:v>Gillette Dispo (17.5%)</c:v>
                </c:pt>
                <c:pt idx="2">
                  <c:v>Bic Dispo (16.9%)</c:v>
                </c:pt>
                <c:pt idx="3">
                  <c:v>Schick Razor (2.1%)</c:v>
                </c:pt>
                <c:pt idx="4">
                  <c:v>Gillette Razor (13.9%)</c:v>
                </c:pt>
                <c:pt idx="5">
                  <c:v>Dollar Shave Club Razor (2.0%)</c:v>
                </c:pt>
                <c:pt idx="6">
                  <c:v>Equate Razor (1.1%)</c:v>
                </c:pt>
                <c:pt idx="7">
                  <c:v>Schick Blade (1.0%)</c:v>
                </c:pt>
                <c:pt idx="8">
                  <c:v>Gillette Blade (7.3%)</c:v>
                </c:pt>
                <c:pt idx="9">
                  <c:v>Harrys Razor (6.2%)</c:v>
                </c:pt>
              </c:strCache>
            </c:strRef>
          </c:cat>
          <c:val>
            <c:numRef>
              <c:f>Sheet1!$B$2:$B$11</c:f>
              <c:numCache>
                <c:formatCode>General</c:formatCode>
                <c:ptCount val="10"/>
                <c:pt idx="0">
                  <c:v>0.3653161260951785</c:v>
                </c:pt>
                <c:pt idx="1">
                  <c:v>0.2476104665144985</c:v>
                </c:pt>
                <c:pt idx="2">
                  <c:v>0.2323039927917657</c:v>
                </c:pt>
                <c:pt idx="3">
                  <c:v>0.04483742557380734</c:v>
                </c:pt>
                <c:pt idx="4">
                  <c:v>0.03789276051797435</c:v>
                </c:pt>
                <c:pt idx="5">
                  <c:v>0.011426734405747535</c:v>
                </c:pt>
                <c:pt idx="6">
                  <c:v>0.009728057724680259</c:v>
                </c:pt>
                <c:pt idx="7">
                  <c:v>0.00967979693269243</c:v>
                </c:pt>
                <c:pt idx="8">
                  <c:v>0.008557554626011559</c:v>
                </c:pt>
                <c:pt idx="9">
                  <c:v>0.007260177990119056</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Schick Xtreme 3 Sensitive Disposable Razors 8 Pack (1.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chick Xtreme 3 Sensitive Disposable Razors 4 Pack (2.8%)</c:v>
                </c:pt>
                <c:pt idx="1">
                  <c:v>Schick Xtreme 2 Sensitive Disposable Razors 12 Pack (2.7%)</c:v>
                </c:pt>
                <c:pt idx="2">
                  <c:v>Gillette Mach 3 Sensitive Skin Disposable Razors 3 Pack (2.4%)</c:v>
                </c:pt>
                <c:pt idx="3">
                  <c:v>Schick Hydro 5 Blade Sensitive 1 Handle + 3 Cartridges (2.0%)</c:v>
                </c:pt>
                <c:pt idx="4">
                  <c:v>Bic Flex 4 Sensitive Skin Disposable Razors 3 Pack (1.7%)</c:v>
                </c:pt>
                <c:pt idx="5">
                  <c:v>Equate Speed 3 Disposable Razors 4 Pack (2.3%)</c:v>
                </c:pt>
                <c:pt idx="6">
                  <c:v>Gillette Sensor 3 Sensitive Disposable Razors 4 Pack (2.3%)</c:v>
                </c:pt>
                <c:pt idx="7">
                  <c:v>Bic Comfort 3 Sensitive Skin Disposable Razors 4 Pack (2.0%)</c:v>
                </c:pt>
                <c:pt idx="8">
                  <c:v>Equate Speed 3 Disposable Razors 8 Pack (1.9%)</c:v>
                </c:pt>
                <c:pt idx="9">
                  <c:v>Gillette Mach 3 1 Handle + 2 Cartridges (2.7%)</c:v>
                </c:pt>
              </c:strCache>
            </c:strRef>
          </c:cat>
          <c:val>
            <c:numRef>
              <c:f>Sheet1!$B$2:$B$11</c:f>
              <c:numCache>
                <c:formatCode>General</c:formatCode>
                <c:ptCount val="10"/>
                <c:pt idx="0">
                  <c:v>0.13724074804050002</c:v>
                </c:pt>
                <c:pt idx="1">
                  <c:v>0.0793399551995319</c:v>
                </c:pt>
                <c:pt idx="2">
                  <c:v>0.06383722747415636</c:v>
                </c:pt>
                <c:pt idx="3">
                  <c:v>0.051738697304894755</c:v>
                </c:pt>
                <c:pt idx="4">
                  <c:v>0.04807835367493397</c:v>
                </c:pt>
                <c:pt idx="5">
                  <c:v>0.04703477916075369</c:v>
                </c:pt>
                <c:pt idx="6">
                  <c:v>0.043212824731299435</c:v>
                </c:pt>
                <c:pt idx="7">
                  <c:v>0.037605891198463214</c:v>
                </c:pt>
                <c:pt idx="8">
                  <c:v>0.032434101283579785</c:v>
                </c:pt>
                <c:pt idx="9">
                  <c:v>0.03012616429121785</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Schick Xtreme 3 Sensitive Disposable Razors 12 Pack (0.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chick Xtreme 2 Sensitive Disposable Razors 12 Pack (2.7%)</c:v>
                </c:pt>
                <c:pt idx="1">
                  <c:v>Schick Xtreme 3 Sensitive Disposable Razors 4 Pack (2.8%)</c:v>
                </c:pt>
                <c:pt idx="2">
                  <c:v>Schick Xtreme 3 Sensitive Disposable Razors 8 Pack (1.7%)</c:v>
                </c:pt>
                <c:pt idx="3">
                  <c:v>Equate Speed 3 Disposable Razors 8 Pack (1.9%)</c:v>
                </c:pt>
                <c:pt idx="4">
                  <c:v>None Razors (12.2%)</c:v>
                </c:pt>
                <c:pt idx="5">
                  <c:v>Bic Men Sensitive Single Blade Disposable Razors 12 Pack (5.7%)</c:v>
                </c:pt>
                <c:pt idx="6">
                  <c:v>Gillette Sensor 3 Sensitive Disposable Razors 12 Pack (1.6%)</c:v>
                </c:pt>
                <c:pt idx="7">
                  <c:v>Equate 2 Blade Disposable Razors 12 Pack (5.7%)</c:v>
                </c:pt>
                <c:pt idx="8">
                  <c:v>Equate Speed 3 Disposable Razors 4 Pack (2.3%)</c:v>
                </c:pt>
                <c:pt idx="9">
                  <c:v>Gillette Mach 3 Sensitive Skin Disposable Razors 3 Pack (2.4%)</c:v>
                </c:pt>
              </c:strCache>
            </c:strRef>
          </c:cat>
          <c:val>
            <c:numRef>
              <c:f>Sheet1!$B$2:$B$11</c:f>
              <c:numCache>
                <c:formatCode>General</c:formatCode>
                <c:ptCount val="10"/>
                <c:pt idx="0">
                  <c:v>0.128798594086781</c:v>
                </c:pt>
                <c:pt idx="1">
                  <c:v>0.11234493538158305</c:v>
                </c:pt>
                <c:pt idx="2">
                  <c:v>0.07769394973703309</c:v>
                </c:pt>
                <c:pt idx="3">
                  <c:v>0.04125995346062712</c:v>
                </c:pt>
                <c:pt idx="4">
                  <c:v>0.03917733592142515</c:v>
                </c:pt>
                <c:pt idx="5">
                  <c:v>0.0391429095938992</c:v>
                </c:pt>
                <c:pt idx="6">
                  <c:v>0.03903500573015178</c:v>
                </c:pt>
                <c:pt idx="7">
                  <c:v>0.03885505113740068</c:v>
                </c:pt>
                <c:pt idx="8">
                  <c:v>0.03801344877066462</c:v>
                </c:pt>
                <c:pt idx="9">
                  <c:v>0.037508076996745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Schick Xtreme 3 Sensitive Disposable Razors 12 Pack (0.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chick Xtreme 2 Sensitive Disposable Razors 12 Pack (2.7%)</c:v>
                </c:pt>
                <c:pt idx="1">
                  <c:v>Schick Xtreme 3 Sensitive Disposable Razors 4 Pack (2.8%)</c:v>
                </c:pt>
                <c:pt idx="2">
                  <c:v>Schick Xtreme 3 Sensitive Disposable Razors 8 Pack (1.7%)</c:v>
                </c:pt>
                <c:pt idx="3">
                  <c:v>Gillette Sensor 3 Sensitive Disposable Razors 12 Pack (1.6%)</c:v>
                </c:pt>
                <c:pt idx="4">
                  <c:v>None Razors (12.2%)</c:v>
                </c:pt>
                <c:pt idx="5">
                  <c:v>Equate 2 Blade Disposable Razors 12 Pack (5.7%)</c:v>
                </c:pt>
                <c:pt idx="6">
                  <c:v>Equate Speed 3 Disposable Razors 8 Pack (1.9%)</c:v>
                </c:pt>
                <c:pt idx="7">
                  <c:v>Gillette Sensor 3 Sensitive Disposable Razors 8 Pack (1.8%)</c:v>
                </c:pt>
                <c:pt idx="8">
                  <c:v>Equate Speed 3 Disposable Razors 4 Pack (2.3%)</c:v>
                </c:pt>
                <c:pt idx="9">
                  <c:v>Gillette Mach 3 Sensitive Skin Disposable Razors 3 Pack (2.4%)</c:v>
                </c:pt>
              </c:strCache>
            </c:strRef>
          </c:cat>
          <c:val>
            <c:numRef>
              <c:f>Sheet1!$B$2:$B$11</c:f>
              <c:numCache>
                <c:formatCode>General</c:formatCode>
                <c:ptCount val="10"/>
                <c:pt idx="0">
                  <c:v>0.09796309742930272</c:v>
                </c:pt>
                <c:pt idx="1">
                  <c:v>0.09184973141187548</c:v>
                </c:pt>
                <c:pt idx="2">
                  <c:v>0.08022212479646461</c:v>
                </c:pt>
                <c:pt idx="3">
                  <c:v>0.06823559400702704</c:v>
                </c:pt>
                <c:pt idx="4">
                  <c:v>0.053143693446667445</c:v>
                </c:pt>
                <c:pt idx="5">
                  <c:v>0.041997170918534915</c:v>
                </c:pt>
                <c:pt idx="6">
                  <c:v>0.03586066752550114</c:v>
                </c:pt>
                <c:pt idx="7">
                  <c:v>0.03548780035547776</c:v>
                </c:pt>
                <c:pt idx="8">
                  <c:v>0.034587935439660274</c:v>
                </c:pt>
                <c:pt idx="9">
                  <c:v>0.0333676162791537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Schick Xtreme 3 Body &amp; Groin Disposable Razors 3 Pack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chick Xtreme 3 Sensitive Disposable Razors 4 Pack (2.8%)</c:v>
                </c:pt>
                <c:pt idx="1">
                  <c:v>Schick Xtreme 2 Sensitive Disposable Razors 12 Pack (2.7%)</c:v>
                </c:pt>
                <c:pt idx="2">
                  <c:v>Schick Xtreme 3 Sensitive Disposable Razors 8 Pack (1.7%)</c:v>
                </c:pt>
                <c:pt idx="3">
                  <c:v>Gillette Mach 3 Sensitive Skin Disposable Razors 3 Pack (2.4%)</c:v>
                </c:pt>
                <c:pt idx="4">
                  <c:v>Equate 2 Blade Disposable Razors 5 Pack (5.5%)</c:v>
                </c:pt>
                <c:pt idx="5">
                  <c:v>Equate 2 Blade Disposable Razors 12 Pack (5.7%)</c:v>
                </c:pt>
                <c:pt idx="6">
                  <c:v>Equate Speed 3 Disposable Razors 4 Pack (2.3%)</c:v>
                </c:pt>
                <c:pt idx="7">
                  <c:v>Gillette Sensor 3 Sensitive Disposable Razors 4 Pack (2.3%)</c:v>
                </c:pt>
                <c:pt idx="8">
                  <c:v>Bic Comfort 3 Sensitive Skin Disposable Razors 4 Pack (2.0%)</c:v>
                </c:pt>
                <c:pt idx="9">
                  <c:v>None Razors (12.2%)</c:v>
                </c:pt>
              </c:strCache>
            </c:strRef>
          </c:cat>
          <c:val>
            <c:numRef>
              <c:f>Sheet1!$B$2:$B$11</c:f>
              <c:numCache>
                <c:formatCode>General</c:formatCode>
                <c:ptCount val="10"/>
                <c:pt idx="0">
                  <c:v>0.1470441539560403</c:v>
                </c:pt>
                <c:pt idx="1">
                  <c:v>0.07867477899883436</c:v>
                </c:pt>
                <c:pt idx="2">
                  <c:v>0.05575106105929473</c:v>
                </c:pt>
                <c:pt idx="3">
                  <c:v>0.05137317689225163</c:v>
                </c:pt>
                <c:pt idx="4">
                  <c:v>0.04799921129765441</c:v>
                </c:pt>
                <c:pt idx="5">
                  <c:v>0.04703872545375661</c:v>
                </c:pt>
                <c:pt idx="6">
                  <c:v>0.0444223015523377</c:v>
                </c:pt>
                <c:pt idx="7">
                  <c:v>0.036756926542997954</c:v>
                </c:pt>
                <c:pt idx="8">
                  <c:v>0.03493084093152758</c:v>
                </c:pt>
                <c:pt idx="9">
                  <c:v>0.03468625502890873</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Schick Xtreme 3 Body &amp; Groin Disposable Razors 3 Pack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chick Xtreme 3 Sensitive Disposable Razors 4 Pack (2.8%)</c:v>
                </c:pt>
                <c:pt idx="1">
                  <c:v>Schick Xtreme 2 Sensitive Disposable Razors 12 Pack (2.7%)</c:v>
                </c:pt>
                <c:pt idx="2">
                  <c:v>Gillette Mach 3 Sensitive Skin Disposable Razors 3 Pack (2.4%)</c:v>
                </c:pt>
                <c:pt idx="3">
                  <c:v>Schick Xtreme 3 Sensitive Disposable Razors 8 Pack (1.7%)</c:v>
                </c:pt>
                <c:pt idx="4">
                  <c:v>Schick Hydro 5 Blade Sensitive 1 Handle + 3 Cartridges (2.0%)</c:v>
                </c:pt>
                <c:pt idx="5">
                  <c:v>Equate 2 Blade Disposable Razors 5 Pack (5.5%)</c:v>
                </c:pt>
                <c:pt idx="6">
                  <c:v>Equate Speed 3 Disposable Razors 4 Pack (2.3%)</c:v>
                </c:pt>
                <c:pt idx="7">
                  <c:v>None Razors (12.2%)</c:v>
                </c:pt>
                <c:pt idx="8">
                  <c:v>Bic Flex 4 Sensitive Skin Disposable Razors 3 Pack (1.7%)</c:v>
                </c:pt>
                <c:pt idx="9">
                  <c:v>Gillette Sensor 3 Sensitive Disposable Razors 4 Pack (2.3%)</c:v>
                </c:pt>
              </c:strCache>
            </c:strRef>
          </c:cat>
          <c:val>
            <c:numRef>
              <c:f>Sheet1!$B$2:$B$11</c:f>
              <c:numCache>
                <c:formatCode>General</c:formatCode>
                <c:ptCount val="10"/>
                <c:pt idx="0">
                  <c:v>0.13717778794179308</c:v>
                </c:pt>
                <c:pt idx="1">
                  <c:v>0.0721623330710486</c:v>
                </c:pt>
                <c:pt idx="2">
                  <c:v>0.054777406767934786</c:v>
                </c:pt>
                <c:pt idx="3">
                  <c:v>0.05321731875893801</c:v>
                </c:pt>
                <c:pt idx="4">
                  <c:v>0.04903790075072772</c:v>
                </c:pt>
                <c:pt idx="5">
                  <c:v>0.045432506521735264</c:v>
                </c:pt>
                <c:pt idx="6">
                  <c:v>0.0443251382101863</c:v>
                </c:pt>
                <c:pt idx="7">
                  <c:v>0.03890909974009974</c:v>
                </c:pt>
                <c:pt idx="8">
                  <c:v>0.03775786349726872</c:v>
                </c:pt>
                <c:pt idx="9">
                  <c:v>0.03752622518315475</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Schick Hydro 5 Ultimate Comfort Disposable Razors 3 Pack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chick Xtreme 3 Sensitive Disposable Razors 4 Pack (2.8%)</c:v>
                </c:pt>
                <c:pt idx="1">
                  <c:v>Schick Xtreme 2 Sensitive Disposable Razors 12 Pack (2.7%)</c:v>
                </c:pt>
                <c:pt idx="2">
                  <c:v>Equate 2 Blade Disposable Razors 12 Pack (5.7%)</c:v>
                </c:pt>
                <c:pt idx="3">
                  <c:v>None Razors (12.2%)</c:v>
                </c:pt>
                <c:pt idx="4">
                  <c:v>Equate 2 Blade Disposable Razors 5 Pack (5.5%)</c:v>
                </c:pt>
                <c:pt idx="5">
                  <c:v>Schick Xtreme 3 Sensitive Disposable Razors 8 Pack (1.7%)</c:v>
                </c:pt>
                <c:pt idx="6">
                  <c:v>Schick Hydro 5 Blade Sensitive 1 Handle + 3 Cartridges (2.0%)</c:v>
                </c:pt>
                <c:pt idx="7">
                  <c:v>Gillette Mach 3 Sensitive Skin Disposable Razors 3 Pack (2.4%)</c:v>
                </c:pt>
                <c:pt idx="8">
                  <c:v>Gillette Sensor 3 Sensitive Disposable Razors 4 Pack (2.3%)</c:v>
                </c:pt>
                <c:pt idx="9">
                  <c:v>Equate Speed 3 Disposable Razors 4 Pack (2.3%)</c:v>
                </c:pt>
              </c:strCache>
            </c:strRef>
          </c:cat>
          <c:val>
            <c:numRef>
              <c:f>Sheet1!$B$2:$B$11</c:f>
              <c:numCache>
                <c:formatCode>General</c:formatCode>
                <c:ptCount val="10"/>
                <c:pt idx="0">
                  <c:v>0.14291045735380975</c:v>
                </c:pt>
                <c:pt idx="1">
                  <c:v>0.06528838952437736</c:v>
                </c:pt>
                <c:pt idx="2">
                  <c:v>0.0582992184469031</c:v>
                </c:pt>
                <c:pt idx="3">
                  <c:v>0.053667305882766664</c:v>
                </c:pt>
                <c:pt idx="4">
                  <c:v>0.049802110190202996</c:v>
                </c:pt>
                <c:pt idx="5">
                  <c:v>0.044783992546899</c:v>
                </c:pt>
                <c:pt idx="6">
                  <c:v>0.04332309302289538</c:v>
                </c:pt>
                <c:pt idx="7">
                  <c:v>0.042390202734584374</c:v>
                </c:pt>
                <c:pt idx="8">
                  <c:v>0.0404435736190479</c:v>
                </c:pt>
                <c:pt idx="9">
                  <c:v>0.03806071171530923</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Schick Hydro 5 Ultimate Comfort Disposable Razors 3 Pack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chick Xtreme 3 Sensitive Disposable Razors 4 Pack (2.8%)</c:v>
                </c:pt>
                <c:pt idx="1">
                  <c:v>Schick Hydro 5 Blade Sensitive 1 Handle + 3 Cartridges (2.0%)</c:v>
                </c:pt>
                <c:pt idx="2">
                  <c:v>None Razors (12.2%)</c:v>
                </c:pt>
                <c:pt idx="3">
                  <c:v>Schick Xtreme 2 Sensitive Disposable Razors 12 Pack (2.7%)</c:v>
                </c:pt>
                <c:pt idx="4">
                  <c:v>Equate 2 Blade Disposable Razors 5 Pack (5.5%)</c:v>
                </c:pt>
                <c:pt idx="5">
                  <c:v>Gillette Mach 3 Sensitive Skin Disposable Razors 3 Pack (2.4%)</c:v>
                </c:pt>
                <c:pt idx="6">
                  <c:v>Schick Xtreme 3 Sensitive Disposable Razors 8 Pack (1.7%)</c:v>
                </c:pt>
                <c:pt idx="7">
                  <c:v>Equate 2 Blade Disposable Razors 12 Pack (5.7%)</c:v>
                </c:pt>
                <c:pt idx="8">
                  <c:v>Gillette Sensor 3 Sensitive Disposable Razors 4 Pack (2.3%)</c:v>
                </c:pt>
                <c:pt idx="9">
                  <c:v>Equate Speed 3 Disposable Razors 4 Pack (2.3%)</c:v>
                </c:pt>
              </c:strCache>
            </c:strRef>
          </c:cat>
          <c:val>
            <c:numRef>
              <c:f>Sheet1!$B$2:$B$11</c:f>
              <c:numCache>
                <c:formatCode>General</c:formatCode>
                <c:ptCount val="10"/>
                <c:pt idx="0">
                  <c:v>0.1351744907777278</c:v>
                </c:pt>
                <c:pt idx="1">
                  <c:v>0.06602523220499341</c:v>
                </c:pt>
                <c:pt idx="2">
                  <c:v>0.05805796387398555</c:v>
                </c:pt>
                <c:pt idx="3">
                  <c:v>0.05654070397472888</c:v>
                </c:pt>
                <c:pt idx="4">
                  <c:v>0.047738885765981814</c:v>
                </c:pt>
                <c:pt idx="5">
                  <c:v>0.04427869314131374</c:v>
                </c:pt>
                <c:pt idx="6">
                  <c:v>0.04269694699577807</c:v>
                </c:pt>
                <c:pt idx="7">
                  <c:v>0.04129852165490746</c:v>
                </c:pt>
                <c:pt idx="8">
                  <c:v>0.04119493841285747</c:v>
                </c:pt>
                <c:pt idx="9">
                  <c:v>0.0377733710483170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Schick First 4 Blade Disposable Razors 3 Pack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quate 2 Blade Disposable Razors 5 Pack (5.5%)</c:v>
                </c:pt>
                <c:pt idx="1">
                  <c:v>Equate 2 Blade Disposable Razors 12 Pack (5.7%)</c:v>
                </c:pt>
                <c:pt idx="2">
                  <c:v>Bic Men Sensitive Single Blade Disposable Razors 12 Pack (5.7%)</c:v>
                </c:pt>
                <c:pt idx="3">
                  <c:v>Equate Speed 3 Disposable Razors 4 Pack (2.3%)</c:v>
                </c:pt>
                <c:pt idx="4">
                  <c:v>Schick Xtreme 3 Sensitive Disposable Razors 4 Pack (2.8%)</c:v>
                </c:pt>
                <c:pt idx="5">
                  <c:v>Equate Caliber 5 Disposable Razors 3 Pack (2.2%)</c:v>
                </c:pt>
                <c:pt idx="6">
                  <c:v>Schick Xtreme 2 Sensitive Disposable Razors 12 Pack (2.7%)</c:v>
                </c:pt>
                <c:pt idx="7">
                  <c:v>Equate Caliber 3 Disposable Razors 3 Pack (1.4%)</c:v>
                </c:pt>
                <c:pt idx="8">
                  <c:v>None Razors (12.2%)</c:v>
                </c:pt>
                <c:pt idx="9">
                  <c:v>Bic Comfort 3 Sensitive Skin Disposable Razors 4 Pack (2.0%)</c:v>
                </c:pt>
              </c:strCache>
            </c:strRef>
          </c:cat>
          <c:val>
            <c:numRef>
              <c:f>Sheet1!$B$2:$B$11</c:f>
              <c:numCache>
                <c:formatCode>General</c:formatCode>
                <c:ptCount val="10"/>
                <c:pt idx="0">
                  <c:v>0.09912307430149607</c:v>
                </c:pt>
                <c:pt idx="1">
                  <c:v>0.09755441782478913</c:v>
                </c:pt>
                <c:pt idx="2">
                  <c:v>0.0806818166426179</c:v>
                </c:pt>
                <c:pt idx="3">
                  <c:v>0.0745567062240714</c:v>
                </c:pt>
                <c:pt idx="4">
                  <c:v>0.06707482969177994</c:v>
                </c:pt>
                <c:pt idx="5">
                  <c:v>0.060053351929950795</c:v>
                </c:pt>
                <c:pt idx="6">
                  <c:v>0.05575314373754801</c:v>
                </c:pt>
                <c:pt idx="7">
                  <c:v>0.049174245491329115</c:v>
                </c:pt>
                <c:pt idx="8">
                  <c:v>0.04396006288267827</c:v>
                </c:pt>
                <c:pt idx="9">
                  <c:v>0.04328217197545403</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Schick First 4 Blade Disposable Razors 3 Pack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chick Xtreme 3 Sensitive Disposable Razors 4 Pack (2.8%)</c:v>
                </c:pt>
                <c:pt idx="1">
                  <c:v>Schick Xtreme 2 Sensitive Disposable Razors 12 Pack (2.7%)</c:v>
                </c:pt>
                <c:pt idx="2">
                  <c:v>Equate Speed 3 Disposable Razors 4 Pack (2.3%)</c:v>
                </c:pt>
                <c:pt idx="3">
                  <c:v>Bic Men Sensitive Single Blade Disposable Razors 12 Pack (5.7%)</c:v>
                </c:pt>
                <c:pt idx="4">
                  <c:v>Equate 2 Blade Disposable Razors 5 Pack (5.5%)</c:v>
                </c:pt>
                <c:pt idx="5">
                  <c:v>Equate 2 Blade Disposable Razors 12 Pack (5.7%)</c:v>
                </c:pt>
                <c:pt idx="6">
                  <c:v>Equate Caliber 5 Disposable Razors 3 Pack (2.2%)</c:v>
                </c:pt>
                <c:pt idx="7">
                  <c:v>Equate Speed 3 Disposable Razors 8 Pack (1.9%)</c:v>
                </c:pt>
                <c:pt idx="8">
                  <c:v>Equate Caliber 3 Disposable Razors 3 Pack (1.4%)</c:v>
                </c:pt>
                <c:pt idx="9">
                  <c:v>Bic Comfort 3 Sensitive Skin Disposable Razors 4 Pack (2.0%)</c:v>
                </c:pt>
              </c:strCache>
            </c:strRef>
          </c:cat>
          <c:val>
            <c:numRef>
              <c:f>Sheet1!$B$2:$B$11</c:f>
              <c:numCache>
                <c:formatCode>General</c:formatCode>
                <c:ptCount val="10"/>
                <c:pt idx="0">
                  <c:v>0.11591542974518901</c:v>
                </c:pt>
                <c:pt idx="1">
                  <c:v>0.10787483836280055</c:v>
                </c:pt>
                <c:pt idx="2">
                  <c:v>0.07814728226714378</c:v>
                </c:pt>
                <c:pt idx="3">
                  <c:v>0.07104152564951288</c:v>
                </c:pt>
                <c:pt idx="4">
                  <c:v>0.06048827194143602</c:v>
                </c:pt>
                <c:pt idx="5">
                  <c:v>0.058823489245934966</c:v>
                </c:pt>
                <c:pt idx="6">
                  <c:v>0.05526320053076425</c:v>
                </c:pt>
                <c:pt idx="7">
                  <c:v>0.04355569640182253</c:v>
                </c:pt>
                <c:pt idx="8">
                  <c:v>0.03956573078428163</c:v>
                </c:pt>
                <c:pt idx="9">
                  <c:v>0.03734495446469159</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Schick Hydro 3 Blade Ultra Sensitive 1 Handle + 4 Cartridges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chick Hydro 5 Blade Sensitive 1 Handle + 3 Cartridges (2.0%)</c:v>
                </c:pt>
                <c:pt idx="1">
                  <c:v>Equate Speed 3 Disposable Razors 4 Pack (2.3%)</c:v>
                </c:pt>
                <c:pt idx="2">
                  <c:v>Schick Xtreme 3 Sensitive Disposable Razors 4 Pack (2.8%)</c:v>
                </c:pt>
                <c:pt idx="3">
                  <c:v>None Blades (83.2%)</c:v>
                </c:pt>
                <c:pt idx="4">
                  <c:v>None Razors (12.2%)</c:v>
                </c:pt>
                <c:pt idx="5">
                  <c:v>Schick Xtreme 2 Sensitive Disposable Razors 12 Pack (2.7%)</c:v>
                </c:pt>
                <c:pt idx="6">
                  <c:v>Gillette Mach 3 Sensitive Skin Disposable Razors 3 Pack (2.4%)</c:v>
                </c:pt>
                <c:pt idx="7">
                  <c:v>Dollar Shave Club 6 1 Handle + 2 Blades (2.0%)</c:v>
                </c:pt>
                <c:pt idx="8">
                  <c:v>Gillette Mach 3 1 Handle + 2 Cartridges (2.7%)</c:v>
                </c:pt>
                <c:pt idx="9">
                  <c:v>Equate 2 Blade Disposable Razors 5 Pack (5.5%)</c:v>
                </c:pt>
              </c:strCache>
            </c:strRef>
          </c:cat>
          <c:val>
            <c:numRef>
              <c:f>Sheet1!$B$2:$B$11</c:f>
              <c:numCache>
                <c:formatCode>General</c:formatCode>
                <c:ptCount val="10"/>
                <c:pt idx="0">
                  <c:v>0.19906538711595004</c:v>
                </c:pt>
                <c:pt idx="1">
                  <c:v>0.10744373235545722</c:v>
                </c:pt>
                <c:pt idx="2">
                  <c:v>0.0745717061628347</c:v>
                </c:pt>
                <c:pt idx="3">
                  <c:v>0.06823848875892484</c:v>
                </c:pt>
                <c:pt idx="4">
                  <c:v>0.05545486633923504</c:v>
                </c:pt>
                <c:pt idx="5">
                  <c:v>0.04769762329202874</c:v>
                </c:pt>
                <c:pt idx="6">
                  <c:v>0.039560743975777614</c:v>
                </c:pt>
                <c:pt idx="7">
                  <c:v>0.03785472276974719</c:v>
                </c:pt>
                <c:pt idx="8">
                  <c:v>0.03520158505706151</c:v>
                </c:pt>
                <c:pt idx="9">
                  <c:v>0.02812192543132936</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Schick Dispo (8.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quate Dispo (19.1%)</c:v>
                </c:pt>
                <c:pt idx="1">
                  <c:v>Gillette Dispo (17.5%)</c:v>
                </c:pt>
                <c:pt idx="2">
                  <c:v>Bic Dispo (16.9%)</c:v>
                </c:pt>
                <c:pt idx="3">
                  <c:v>Schick Razor (2.1%)</c:v>
                </c:pt>
                <c:pt idx="4">
                  <c:v>Gillette Razor (13.9%)</c:v>
                </c:pt>
                <c:pt idx="5">
                  <c:v>Dollar Shave Club Razor (2.0%)</c:v>
                </c:pt>
                <c:pt idx="6">
                  <c:v>Schick Blade (1.0%)</c:v>
                </c:pt>
                <c:pt idx="7">
                  <c:v>Equate Razor (1.1%)</c:v>
                </c:pt>
                <c:pt idx="8">
                  <c:v>Gillette Blade (7.3%)</c:v>
                </c:pt>
                <c:pt idx="9">
                  <c:v>Harrys Razor (6.2%)</c:v>
                </c:pt>
              </c:strCache>
            </c:strRef>
          </c:cat>
          <c:val>
            <c:numRef>
              <c:f>Sheet1!$B$2:$B$11</c:f>
              <c:numCache>
                <c:formatCode>General</c:formatCode>
                <c:ptCount val="10"/>
                <c:pt idx="0">
                  <c:v>0.38774036884253976</c:v>
                </c:pt>
                <c:pt idx="1">
                  <c:v>0.25390431782395845</c:v>
                </c:pt>
                <c:pt idx="2">
                  <c:v>0.22496225364594277</c:v>
                </c:pt>
                <c:pt idx="3">
                  <c:v>0.0374112924184984</c:v>
                </c:pt>
                <c:pt idx="4">
                  <c:v>0.03407116307296972</c:v>
                </c:pt>
                <c:pt idx="5">
                  <c:v>0.008068265298552098</c:v>
                </c:pt>
                <c:pt idx="6">
                  <c:v>0.007601995449867841</c:v>
                </c:pt>
                <c:pt idx="7">
                  <c:v>0.007516518460944543</c:v>
                </c:pt>
                <c:pt idx="8">
                  <c:v>0.007245734149555686</c:v>
                </c:pt>
                <c:pt idx="9">
                  <c:v>0.005363290343586941</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Schick Hydro 3 Blade Ultra Sensitive 1 Handle + 4 Cartridges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chick Hydro 5 Blade Sensitive 1 Handle + 3 Cartridges (2.0%)</c:v>
                </c:pt>
                <c:pt idx="1">
                  <c:v>Equate Speed 3 Disposable Razors 4 Pack (2.3%)</c:v>
                </c:pt>
                <c:pt idx="2">
                  <c:v>None Blades (83.2%)</c:v>
                </c:pt>
                <c:pt idx="3">
                  <c:v>Schick Xtreme 3 Sensitive Disposable Razors 4 Pack (2.8%)</c:v>
                </c:pt>
                <c:pt idx="4">
                  <c:v>None Razors (12.2%)</c:v>
                </c:pt>
                <c:pt idx="5">
                  <c:v>Gillette Mach 3 1 Handle + 2 Cartridges (2.7%)</c:v>
                </c:pt>
                <c:pt idx="6">
                  <c:v>Dollar Shave Club 6 1 Handle + 2 Blades (2.0%)</c:v>
                </c:pt>
                <c:pt idx="7">
                  <c:v>Schick Xtreme 2 Sensitive Disposable Razors 12 Pack (2.7%)</c:v>
                </c:pt>
                <c:pt idx="8">
                  <c:v>Gillette Mach 3 Sensitive Skin Disposable Razors 3 Pack (2.4%)</c:v>
                </c:pt>
                <c:pt idx="9">
                  <c:v>Equate Easy Fit 5 blades 1 Handle + 2 Cartridges (1.1%)</c:v>
                </c:pt>
              </c:strCache>
            </c:strRef>
          </c:cat>
          <c:val>
            <c:numRef>
              <c:f>Sheet1!$B$2:$B$11</c:f>
              <c:numCache>
                <c:formatCode>General</c:formatCode>
                <c:ptCount val="10"/>
                <c:pt idx="0">
                  <c:v>0.2394888922538092</c:v>
                </c:pt>
                <c:pt idx="1">
                  <c:v>0.08592984951705346</c:v>
                </c:pt>
                <c:pt idx="2">
                  <c:v>0.06447192727400589</c:v>
                </c:pt>
                <c:pt idx="3">
                  <c:v>0.06273418267933181</c:v>
                </c:pt>
                <c:pt idx="4">
                  <c:v>0.06143549396140311</c:v>
                </c:pt>
                <c:pt idx="5">
                  <c:v>0.04855993990050797</c:v>
                </c:pt>
                <c:pt idx="6">
                  <c:v>0.04524880034818131</c:v>
                </c:pt>
                <c:pt idx="7">
                  <c:v>0.03844935476239006</c:v>
                </c:pt>
                <c:pt idx="8">
                  <c:v>0.03719563191348766</c:v>
                </c:pt>
                <c:pt idx="9">
                  <c:v>0.03138881890110047</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Schick Hydro 3 Blade Pro Sensitive 1 Handle + 3 Cartridges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chick Hydro 5 Blade Sensitive 1 Handle + 3 Cartridges (2.0%)</c:v>
                </c:pt>
                <c:pt idx="1">
                  <c:v>Schick Xtreme 3 Sensitive Disposable Razors 4 Pack (2.8%)</c:v>
                </c:pt>
                <c:pt idx="2">
                  <c:v>None Blades (83.2%)</c:v>
                </c:pt>
                <c:pt idx="3">
                  <c:v>Schick Xtreme 2 Sensitive Disposable Razors 12 Pack (2.7%)</c:v>
                </c:pt>
                <c:pt idx="4">
                  <c:v>Equate Speed 3 Disposable Razors 4 Pack (2.3%)</c:v>
                </c:pt>
                <c:pt idx="5">
                  <c:v>Gillette Mach 3 Sensitive Skin Disposable Razors 3 Pack (2.4%)</c:v>
                </c:pt>
                <c:pt idx="6">
                  <c:v>Gillette Mach 3 1 Handle + 2 Cartridges (2.7%)</c:v>
                </c:pt>
                <c:pt idx="7">
                  <c:v>None Razors (12.2%)</c:v>
                </c:pt>
                <c:pt idx="8">
                  <c:v>Schick Xtreme 3 Sensitive Disposable Razors 8 Pack (1.7%)</c:v>
                </c:pt>
                <c:pt idx="9">
                  <c:v>Equate 2 Blade Disposable Razors 5 Pack (5.5%)</c:v>
                </c:pt>
              </c:strCache>
            </c:strRef>
          </c:cat>
          <c:val>
            <c:numRef>
              <c:f>Sheet1!$B$2:$B$11</c:f>
              <c:numCache>
                <c:formatCode>General</c:formatCode>
                <c:ptCount val="10"/>
                <c:pt idx="0">
                  <c:v>0.15480497243424765</c:v>
                </c:pt>
                <c:pt idx="1">
                  <c:v>0.12073027164464352</c:v>
                </c:pt>
                <c:pt idx="2">
                  <c:v>0.07557454803235404</c:v>
                </c:pt>
                <c:pt idx="3">
                  <c:v>0.062388739634838174</c:v>
                </c:pt>
                <c:pt idx="4">
                  <c:v>0.052846525834168934</c:v>
                </c:pt>
                <c:pt idx="5">
                  <c:v>0.05037021184168055</c:v>
                </c:pt>
                <c:pt idx="6">
                  <c:v>0.04235072115674695</c:v>
                </c:pt>
                <c:pt idx="7">
                  <c:v>0.04094943667770965</c:v>
                </c:pt>
                <c:pt idx="8">
                  <c:v>0.03867647220621276</c:v>
                </c:pt>
                <c:pt idx="9">
                  <c:v>0.03269417966910309</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Schick Hydro 3 Blade Pro Sensitive 1 Handle + 3 Cartridges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chick Hydro 5 Blade Sensitive 1 Handle + 3 Cartridges (2.0%)</c:v>
                </c:pt>
                <c:pt idx="1">
                  <c:v>Schick Xtreme 3 Sensitive Disposable Razors 4 Pack (2.8%)</c:v>
                </c:pt>
                <c:pt idx="2">
                  <c:v>None Blades (83.2%)</c:v>
                </c:pt>
                <c:pt idx="3">
                  <c:v>Gillette Mach 3 1 Handle + 2 Cartridges (2.7%)</c:v>
                </c:pt>
                <c:pt idx="4">
                  <c:v>Gillette Mach 3 Sensitive Skin Disposable Razors 3 Pack (2.4%)</c:v>
                </c:pt>
                <c:pt idx="5">
                  <c:v>Schick Xtreme 2 Sensitive Disposable Razors 12 Pack (2.7%)</c:v>
                </c:pt>
                <c:pt idx="6">
                  <c:v>Equate Speed 3 Disposable Razors 4 Pack (2.3%)</c:v>
                </c:pt>
                <c:pt idx="7">
                  <c:v>None Razors (12.2%)</c:v>
                </c:pt>
                <c:pt idx="8">
                  <c:v>Schick Xtreme 3 Sensitive Disposable Razors 8 Pack (1.7%)</c:v>
                </c:pt>
                <c:pt idx="9">
                  <c:v>Dollar Shave Club 6 1 Handle + 2 Blades (2.0%)</c:v>
                </c:pt>
              </c:strCache>
            </c:strRef>
          </c:cat>
          <c:val>
            <c:numRef>
              <c:f>Sheet1!$B$2:$B$11</c:f>
              <c:numCache>
                <c:formatCode>General</c:formatCode>
                <c:ptCount val="10"/>
                <c:pt idx="0">
                  <c:v>0.20164216383255631</c:v>
                </c:pt>
                <c:pt idx="1">
                  <c:v>0.10018659481561959</c:v>
                </c:pt>
                <c:pt idx="2">
                  <c:v>0.07681050930076376</c:v>
                </c:pt>
                <c:pt idx="3">
                  <c:v>0.054310619609795364</c:v>
                </c:pt>
                <c:pt idx="4">
                  <c:v>0.05079671565067259</c:v>
                </c:pt>
                <c:pt idx="5">
                  <c:v>0.05019977573477613</c:v>
                </c:pt>
                <c:pt idx="6">
                  <c:v>0.04883316595762259</c:v>
                </c:pt>
                <c:pt idx="7">
                  <c:v>0.04143702476675626</c:v>
                </c:pt>
                <c:pt idx="8">
                  <c:v>0.036837218727895374</c:v>
                </c:pt>
                <c:pt idx="9">
                  <c:v>0.035556693750797036</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Schick Hydro 3 Blade Ingrown Defense 1 Handle + 3 Cartridges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chick Hydro 5 Blade Sensitive 1 Handle + 3 Cartridges (2.0%)</c:v>
                </c:pt>
                <c:pt idx="1">
                  <c:v>Schick Xtreme 3 Sensitive Disposable Razors 4 Pack (2.8%)</c:v>
                </c:pt>
                <c:pt idx="2">
                  <c:v>Dollar Shave Club 6 1 Handle + 2 Blades (2.0%)</c:v>
                </c:pt>
                <c:pt idx="3">
                  <c:v>None Razors (12.2%)</c:v>
                </c:pt>
                <c:pt idx="4">
                  <c:v>Schick Xtreme 2 Sensitive Disposable Razors 12 Pack (2.7%)</c:v>
                </c:pt>
                <c:pt idx="5">
                  <c:v>Gillette Mach 3 1 Handle + 2 Cartridges (2.7%)</c:v>
                </c:pt>
                <c:pt idx="6">
                  <c:v>None Blades (83.2%)</c:v>
                </c:pt>
                <c:pt idx="7">
                  <c:v>Equate Speed 3 Disposable Razors 4 Pack (2.3%)</c:v>
                </c:pt>
                <c:pt idx="8">
                  <c:v>Equate 2 Blade Disposable Razors 5 Pack (5.5%)</c:v>
                </c:pt>
                <c:pt idx="9">
                  <c:v>Equate 2 Blade Disposable Razors 12 Pack (5.7%)</c:v>
                </c:pt>
              </c:strCache>
            </c:strRef>
          </c:cat>
          <c:val>
            <c:numRef>
              <c:f>Sheet1!$B$2:$B$11</c:f>
              <c:numCache>
                <c:formatCode>General</c:formatCode>
                <c:ptCount val="10"/>
                <c:pt idx="0">
                  <c:v>0.14205900940606278</c:v>
                </c:pt>
                <c:pt idx="1">
                  <c:v>0.09353009439868876</c:v>
                </c:pt>
                <c:pt idx="2">
                  <c:v>0.06355038638803577</c:v>
                </c:pt>
                <c:pt idx="3">
                  <c:v>0.061364515496855794</c:v>
                </c:pt>
                <c:pt idx="4">
                  <c:v>0.06069672489340744</c:v>
                </c:pt>
                <c:pt idx="5">
                  <c:v>0.050764375529620286</c:v>
                </c:pt>
                <c:pt idx="6">
                  <c:v>0.04857944660311502</c:v>
                </c:pt>
                <c:pt idx="7">
                  <c:v>0.042685749097065774</c:v>
                </c:pt>
                <c:pt idx="8">
                  <c:v>0.03982405234655735</c:v>
                </c:pt>
                <c:pt idx="9">
                  <c:v>0.03356673468311006</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Schick Hydro 3 Blade Ingrown Defense 1 Handle + 3 Cartridges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chick Hydro 5 Blade Sensitive 1 Handle + 3 Cartridges (2.0%)</c:v>
                </c:pt>
                <c:pt idx="1">
                  <c:v>Schick Xtreme 3 Sensitive Disposable Razors 4 Pack (2.8%)</c:v>
                </c:pt>
                <c:pt idx="2">
                  <c:v>Dollar Shave Club 6 1 Handle + 2 Blades (2.0%)</c:v>
                </c:pt>
                <c:pt idx="3">
                  <c:v>None Razors (12.2%)</c:v>
                </c:pt>
                <c:pt idx="4">
                  <c:v>Gillette Mach 3 1 Handle + 2 Cartridges (2.7%)</c:v>
                </c:pt>
                <c:pt idx="5">
                  <c:v>Schick Xtreme 2 Sensitive Disposable Razors 12 Pack (2.7%)</c:v>
                </c:pt>
                <c:pt idx="6">
                  <c:v>None Blades (83.2%)</c:v>
                </c:pt>
                <c:pt idx="7">
                  <c:v>Equate Speed 3 Disposable Razors 4 Pack (2.3%)</c:v>
                </c:pt>
                <c:pt idx="8">
                  <c:v>Equate 2 Blade Disposable Razors 5 Pack (5.5%)</c:v>
                </c:pt>
                <c:pt idx="9">
                  <c:v>Gillette Mach 3 Sensitive Skin Disposable Razors 3 Pack (2.4%)</c:v>
                </c:pt>
              </c:strCache>
            </c:strRef>
          </c:cat>
          <c:val>
            <c:numRef>
              <c:f>Sheet1!$B$2:$B$11</c:f>
              <c:numCache>
                <c:formatCode>General</c:formatCode>
                <c:ptCount val="10"/>
                <c:pt idx="0">
                  <c:v>0.19407888434779982</c:v>
                </c:pt>
                <c:pt idx="1">
                  <c:v>0.07761829814841664</c:v>
                </c:pt>
                <c:pt idx="2">
                  <c:v>0.07152397381446243</c:v>
                </c:pt>
                <c:pt idx="3">
                  <c:v>0.0675080992023404</c:v>
                </c:pt>
                <c:pt idx="4">
                  <c:v>0.06280163622125459</c:v>
                </c:pt>
                <c:pt idx="5">
                  <c:v>0.04437703512631403</c:v>
                </c:pt>
                <c:pt idx="6">
                  <c:v>0.042521675182287506</c:v>
                </c:pt>
                <c:pt idx="7">
                  <c:v>0.036849312365413424</c:v>
                </c:pt>
                <c:pt idx="8">
                  <c:v>0.033226075458678506</c:v>
                </c:pt>
                <c:pt idx="9">
                  <c:v>0.03146698870716836</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Schick Hydro 5 Blade Advanced Hydration 1 Handle + 3 Cartridges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chick Hydro 5 Blade Sensitive 1 Handle + 3 Cartridges (2.0%)</c:v>
                </c:pt>
                <c:pt idx="1">
                  <c:v>Schick Xtreme 3 Sensitive Disposable Razors 4 Pack (2.8%)</c:v>
                </c:pt>
                <c:pt idx="2">
                  <c:v>None Blades (83.2%)</c:v>
                </c:pt>
                <c:pt idx="3">
                  <c:v>None Razors (12.2%)</c:v>
                </c:pt>
                <c:pt idx="4">
                  <c:v>Schick Xtreme 2 Sensitive Disposable Razors 12 Pack (2.7%)</c:v>
                </c:pt>
                <c:pt idx="5">
                  <c:v>Dollar Shave Club 6 1 Handle + 2 Blades (2.0%)</c:v>
                </c:pt>
                <c:pt idx="6">
                  <c:v>Equate Speed 3 Disposable Razors 4 Pack (2.3%)</c:v>
                </c:pt>
                <c:pt idx="7">
                  <c:v>Gillette Mach 3 1 Handle + 2 Cartridges (2.7%)</c:v>
                </c:pt>
                <c:pt idx="8">
                  <c:v>Gillette Sensor 3 Sensitive Disposable Razors 4 Pack (2.3%)</c:v>
                </c:pt>
                <c:pt idx="9">
                  <c:v>Harry's 5 Blade 1 Handle + 2 Cartridges (3.9%)</c:v>
                </c:pt>
              </c:strCache>
            </c:strRef>
          </c:cat>
          <c:val>
            <c:numRef>
              <c:f>Sheet1!$B$2:$B$11</c:f>
              <c:numCache>
                <c:formatCode>General</c:formatCode>
                <c:ptCount val="10"/>
                <c:pt idx="0">
                  <c:v>0.1945354002757302</c:v>
                </c:pt>
                <c:pt idx="1">
                  <c:v>0.09878094335589296</c:v>
                </c:pt>
                <c:pt idx="2">
                  <c:v>0.07207693579309356</c:v>
                </c:pt>
                <c:pt idx="3">
                  <c:v>0.06432824591783488</c:v>
                </c:pt>
                <c:pt idx="4">
                  <c:v>0.06303807085574793</c:v>
                </c:pt>
                <c:pt idx="5">
                  <c:v>0.04179078544510468</c:v>
                </c:pt>
                <c:pt idx="6">
                  <c:v>0.03779115979112176</c:v>
                </c:pt>
                <c:pt idx="7">
                  <c:v>0.035290939520315465</c:v>
                </c:pt>
                <c:pt idx="8">
                  <c:v>0.03434028011410387</c:v>
                </c:pt>
                <c:pt idx="9">
                  <c:v>0.03110131325076131</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Schick Hydro 5 Blade Advanced Hydration 1 Handle + 3 Cartridges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chick Hydro 5 Blade Sensitive 1 Handle + 3 Cartridges (2.0%)</c:v>
                </c:pt>
                <c:pt idx="1">
                  <c:v>Schick Xtreme 3 Sensitive Disposable Razors 4 Pack (2.8%)</c:v>
                </c:pt>
                <c:pt idx="2">
                  <c:v>None Razors (12.2%)</c:v>
                </c:pt>
                <c:pt idx="3">
                  <c:v>None Blades (83.2%)</c:v>
                </c:pt>
                <c:pt idx="4">
                  <c:v>Dollar Shave Club 6 1 Handle + 2 Blades (2.0%)</c:v>
                </c:pt>
                <c:pt idx="5">
                  <c:v>Schick Xtreme 2 Sensitive Disposable Razors 12 Pack (2.7%)</c:v>
                </c:pt>
                <c:pt idx="6">
                  <c:v>Gillette Mach 3 1 Handle + 2 Cartridges (2.7%)</c:v>
                </c:pt>
                <c:pt idx="7">
                  <c:v>Equate Speed 3 Disposable Razors 4 Pack (2.3%)</c:v>
                </c:pt>
                <c:pt idx="8">
                  <c:v>Equate Easy Fit 5 blades 1 Handle + 2 Cartridges (1.1%)</c:v>
                </c:pt>
                <c:pt idx="9">
                  <c:v>Gillette Sensor 3 Sensitive Disposable Razors 4 Pack (2.3%)</c:v>
                </c:pt>
              </c:strCache>
            </c:strRef>
          </c:cat>
          <c:val>
            <c:numRef>
              <c:f>Sheet1!$B$2:$B$11</c:f>
              <c:numCache>
                <c:formatCode>General</c:formatCode>
                <c:ptCount val="10"/>
                <c:pt idx="0">
                  <c:v>0.27646511237002425</c:v>
                </c:pt>
                <c:pt idx="1">
                  <c:v>0.07618988824728862</c:v>
                </c:pt>
                <c:pt idx="2">
                  <c:v>0.06898221413554778</c:v>
                </c:pt>
                <c:pt idx="3">
                  <c:v>0.06767477058756069</c:v>
                </c:pt>
                <c:pt idx="4">
                  <c:v>0.045528932829914194</c:v>
                </c:pt>
                <c:pt idx="5">
                  <c:v>0.04290043711290069</c:v>
                </c:pt>
                <c:pt idx="6">
                  <c:v>0.041314934168426895</c:v>
                </c:pt>
                <c:pt idx="7">
                  <c:v>0.032534678126889795</c:v>
                </c:pt>
                <c:pt idx="8">
                  <c:v>0.028293534342878214</c:v>
                </c:pt>
                <c:pt idx="9">
                  <c:v>0.027870725358072796</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Schick Hydro 5 Blade Sensitive 1 Handle + 3 Cartridges (2.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chick Xtreme 3 Sensitive Disposable Razors 4 Pack (2.8%)</c:v>
                </c:pt>
                <c:pt idx="1">
                  <c:v>None Blades (83.2%)</c:v>
                </c:pt>
                <c:pt idx="2">
                  <c:v>None Razors (12.2%)</c:v>
                </c:pt>
                <c:pt idx="3">
                  <c:v>Equate Speed 3 Disposable Razors 4 Pack (2.3%)</c:v>
                </c:pt>
                <c:pt idx="4">
                  <c:v>Schick Xtreme 2 Sensitive Disposable Razors 12 Pack (2.7%)</c:v>
                </c:pt>
                <c:pt idx="5">
                  <c:v>Gillette Mach 3 1 Handle + 2 Cartridges (2.7%)</c:v>
                </c:pt>
                <c:pt idx="6">
                  <c:v>Schick Xtreme 3 Sensitive Disposable Razors 8 Pack (1.7%)</c:v>
                </c:pt>
                <c:pt idx="7">
                  <c:v>Gillette Mach 3 Sensitive Skin Disposable Razors 3 Pack (2.4%)</c:v>
                </c:pt>
                <c:pt idx="8">
                  <c:v>Dollar Shave Club 6 1 Handle + 2 Blades (2.0%)</c:v>
                </c:pt>
                <c:pt idx="9">
                  <c:v>Equate 2 Blade Disposable Razors 5 Pack (5.5%)</c:v>
                </c:pt>
              </c:strCache>
            </c:strRef>
          </c:cat>
          <c:val>
            <c:numRef>
              <c:f>Sheet1!$B$2:$B$11</c:f>
              <c:numCache>
                <c:formatCode>General</c:formatCode>
                <c:ptCount val="10"/>
                <c:pt idx="0">
                  <c:v>0.11204203072633086</c:v>
                </c:pt>
                <c:pt idx="1">
                  <c:v>0.09116353461149995</c:v>
                </c:pt>
                <c:pt idx="2">
                  <c:v>0.08689588833475866</c:v>
                </c:pt>
                <c:pt idx="3">
                  <c:v>0.07531346274787437</c:v>
                </c:pt>
                <c:pt idx="4">
                  <c:v>0.05909474054748694</c:v>
                </c:pt>
                <c:pt idx="5">
                  <c:v>0.040079460886340935</c:v>
                </c:pt>
                <c:pt idx="6">
                  <c:v>0.03926220584785632</c:v>
                </c:pt>
                <c:pt idx="7">
                  <c:v>0.03782037831931049</c:v>
                </c:pt>
                <c:pt idx="8">
                  <c:v>0.03744372733852501</c:v>
                </c:pt>
                <c:pt idx="9">
                  <c:v>0.036983781406194266</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Schick Hydro 5 Blade Sensitive 1 Handle + 3 Cartridges (2.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one Blades (83.2%)</c:v>
                </c:pt>
                <c:pt idx="1">
                  <c:v>Schick Xtreme 3 Sensitive Disposable Razors 4 Pack (2.8%)</c:v>
                </c:pt>
                <c:pt idx="2">
                  <c:v>None Razors (12.2%)</c:v>
                </c:pt>
                <c:pt idx="3">
                  <c:v>Equate Speed 3 Disposable Razors 4 Pack (2.3%)</c:v>
                </c:pt>
                <c:pt idx="4">
                  <c:v>Gillette Mach 3 1 Handle + 2 Cartridges (2.7%)</c:v>
                </c:pt>
                <c:pt idx="5">
                  <c:v>Dollar Shave Club 6 1 Handle + 2 Blades (2.0%)</c:v>
                </c:pt>
                <c:pt idx="6">
                  <c:v>Schick Xtreme 2 Sensitive Disposable Razors 12 Pack (2.7%)</c:v>
                </c:pt>
                <c:pt idx="7">
                  <c:v>Equate Easy Fit 5 blades 1 Handle + 2 Cartridges (1.1%)</c:v>
                </c:pt>
                <c:pt idx="8">
                  <c:v>Bic Flex 4 Sensitive Skin Disposable Razors 3 Pack (1.7%)</c:v>
                </c:pt>
                <c:pt idx="9">
                  <c:v>Schick Hydro 3 Blade Ultra Sensitive 1 Handle + 4 Cartridges (0.1%)</c:v>
                </c:pt>
              </c:strCache>
            </c:strRef>
          </c:cat>
          <c:val>
            <c:numRef>
              <c:f>Sheet1!$B$2:$B$11</c:f>
              <c:numCache>
                <c:formatCode>General</c:formatCode>
                <c:ptCount val="10"/>
                <c:pt idx="0">
                  <c:v>0.10233737209703563</c:v>
                </c:pt>
                <c:pt idx="1">
                  <c:v>0.10141657354242685</c:v>
                </c:pt>
                <c:pt idx="2">
                  <c:v>0.09081769444606132</c:v>
                </c:pt>
                <c:pt idx="3">
                  <c:v>0.06985431407423208</c:v>
                </c:pt>
                <c:pt idx="4">
                  <c:v>0.05669255008363416</c:v>
                </c:pt>
                <c:pt idx="5">
                  <c:v>0.05349783223539943</c:v>
                </c:pt>
                <c:pt idx="6">
                  <c:v>0.04852081650596108</c:v>
                </c:pt>
                <c:pt idx="7">
                  <c:v>0.04785940302939781</c:v>
                </c:pt>
                <c:pt idx="8">
                  <c:v>0.04255965000886323</c:v>
                </c:pt>
                <c:pt idx="9">
                  <c:v>0.03884199563264297</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Schick Hydro 5 Blade Sensitive 1 Handle + 5 Cartridges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chick Hydro 5 Blade Sensitive 1 Handle + 3 Cartridges (2.0%)</c:v>
                </c:pt>
                <c:pt idx="1">
                  <c:v>None Razors (12.2%)</c:v>
                </c:pt>
                <c:pt idx="2">
                  <c:v>Schick Xtreme 3 Sensitive Disposable Razors 4 Pack (2.8%)</c:v>
                </c:pt>
                <c:pt idx="3">
                  <c:v>None Blades (83.2%)</c:v>
                </c:pt>
                <c:pt idx="4">
                  <c:v>Gillette Mach 3 1 Handle + 2 Cartridges (2.7%)</c:v>
                </c:pt>
                <c:pt idx="5">
                  <c:v>Schick Xtreme 3 Sensitive Disposable Razors 8 Pack (1.7%)</c:v>
                </c:pt>
                <c:pt idx="6">
                  <c:v>Schick Xtreme 2 Sensitive Disposable Razors 12 Pack (2.7%)</c:v>
                </c:pt>
                <c:pt idx="7">
                  <c:v>Bic Flex 4 Sensitive Skin Disposable Razors 3 Pack (1.7%)</c:v>
                </c:pt>
                <c:pt idx="8">
                  <c:v>Equate Speed 3 Disposable Razors 4 Pack (2.3%)</c:v>
                </c:pt>
                <c:pt idx="9">
                  <c:v>Gillette Mach 3 Sensitive Skin Disposable Razors 3 Pack (2.4%)</c:v>
                </c:pt>
              </c:strCache>
            </c:strRef>
          </c:cat>
          <c:val>
            <c:numRef>
              <c:f>Sheet1!$B$2:$B$11</c:f>
              <c:numCache>
                <c:formatCode>General</c:formatCode>
                <c:ptCount val="10"/>
                <c:pt idx="0">
                  <c:v>0.23805700948122782</c:v>
                </c:pt>
                <c:pt idx="1">
                  <c:v>0.12578946239967154</c:v>
                </c:pt>
                <c:pt idx="2">
                  <c:v>0.06563137990867757</c:v>
                </c:pt>
                <c:pt idx="3">
                  <c:v>0.04651421458817037</c:v>
                </c:pt>
                <c:pt idx="4">
                  <c:v>0.040968877865012146</c:v>
                </c:pt>
                <c:pt idx="5">
                  <c:v>0.03906535638996618</c:v>
                </c:pt>
                <c:pt idx="6">
                  <c:v>0.03795272079007794</c:v>
                </c:pt>
                <c:pt idx="7">
                  <c:v>0.030507238529668072</c:v>
                </c:pt>
                <c:pt idx="8">
                  <c:v>0.024640461737505434</c:v>
                </c:pt>
                <c:pt idx="9">
                  <c:v>0.02398606950555898</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Equate Dispo (19.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Bic Dispo (16.9%)</c:v>
                </c:pt>
                <c:pt idx="1">
                  <c:v>Schick Dispo (8.1%)</c:v>
                </c:pt>
                <c:pt idx="2">
                  <c:v>Gillette Dispo (17.5%)</c:v>
                </c:pt>
                <c:pt idx="3">
                  <c:v>Gillette Razor (13.9%)</c:v>
                </c:pt>
                <c:pt idx="4">
                  <c:v>Equate Razor (1.1%)</c:v>
                </c:pt>
                <c:pt idx="5">
                  <c:v>Schick Razor (2.1%)</c:v>
                </c:pt>
                <c:pt idx="6">
                  <c:v>Dollar Shave Club Razor (2.0%)</c:v>
                </c:pt>
                <c:pt idx="7">
                  <c:v>Harrys Razor (6.2%)</c:v>
                </c:pt>
                <c:pt idx="8">
                  <c:v>Harrys Blade (5.0%)</c:v>
                </c:pt>
                <c:pt idx="9">
                  <c:v>Gillette Blade (7.3%)</c:v>
                </c:pt>
              </c:strCache>
            </c:strRef>
          </c:cat>
          <c:val>
            <c:numRef>
              <c:f>Sheet1!$B$2:$B$11</c:f>
              <c:numCache>
                <c:formatCode>General</c:formatCode>
                <c:ptCount val="10"/>
                <c:pt idx="0">
                  <c:v>0.362350194613448</c:v>
                </c:pt>
                <c:pt idx="1">
                  <c:v>0.19759832052100562</c:v>
                </c:pt>
                <c:pt idx="2">
                  <c:v>0.18605914277415403</c:v>
                </c:pt>
                <c:pt idx="3">
                  <c:v>0.050560732752844804</c:v>
                </c:pt>
                <c:pt idx="4">
                  <c:v>0.031727263780277064</c:v>
                </c:pt>
                <c:pt idx="5">
                  <c:v>0.03058862512583518</c:v>
                </c:pt>
                <c:pt idx="6">
                  <c:v>0.025120486622390987</c:v>
                </c:pt>
                <c:pt idx="7">
                  <c:v>0.01952287480257034</c:v>
                </c:pt>
                <c:pt idx="8">
                  <c:v>0.015854708229209036</c:v>
                </c:pt>
                <c:pt idx="9">
                  <c:v>0.013682772853494164</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Schick Hydro 5 Blade Sensitive 1 Handle + 5 Cartridges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chick Hydro 5 Blade Sensitive 1 Handle + 3 Cartridges (2.0%)</c:v>
                </c:pt>
                <c:pt idx="1">
                  <c:v>None Razors (12.2%)</c:v>
                </c:pt>
                <c:pt idx="2">
                  <c:v>Schick Xtreme 3 Sensitive Disposable Razors 4 Pack (2.8%)</c:v>
                </c:pt>
                <c:pt idx="3">
                  <c:v>Schick Xtreme 3 Sensitive Disposable Razors 8 Pack (1.7%)</c:v>
                </c:pt>
                <c:pt idx="4">
                  <c:v>None Blades (83.2%)</c:v>
                </c:pt>
                <c:pt idx="5">
                  <c:v>Gillette Mach 3 1 Handle + 2 Cartridges (2.7%)</c:v>
                </c:pt>
                <c:pt idx="6">
                  <c:v>Schick Xtreme 2 Sensitive Disposable Razors 12 Pack (2.7%)</c:v>
                </c:pt>
                <c:pt idx="7">
                  <c:v>Dollar Shave Club 6 1 Handle + 2 Blades (2.0%)</c:v>
                </c:pt>
                <c:pt idx="8">
                  <c:v>Bic Flex 4 Sensitive Skin Disposable Razors 3 Pack (1.7%)</c:v>
                </c:pt>
                <c:pt idx="9">
                  <c:v>Equate Speed 3 Disposable Razors 4 Pack (2.3%)</c:v>
                </c:pt>
              </c:strCache>
            </c:strRef>
          </c:cat>
          <c:val>
            <c:numRef>
              <c:f>Sheet1!$B$2:$B$11</c:f>
              <c:numCache>
                <c:formatCode>General</c:formatCode>
                <c:ptCount val="10"/>
                <c:pt idx="0">
                  <c:v>0.23065118054228045</c:v>
                </c:pt>
                <c:pt idx="1">
                  <c:v>0.1350190076549204</c:v>
                </c:pt>
                <c:pt idx="2">
                  <c:v>0.05752208932296725</c:v>
                </c:pt>
                <c:pt idx="3">
                  <c:v>0.044269747703095844</c:v>
                </c:pt>
                <c:pt idx="4">
                  <c:v>0.039893682439100804</c:v>
                </c:pt>
                <c:pt idx="5">
                  <c:v>0.038043364365152064</c:v>
                </c:pt>
                <c:pt idx="6">
                  <c:v>0.03246972912087054</c:v>
                </c:pt>
                <c:pt idx="7">
                  <c:v>0.02369688117573555</c:v>
                </c:pt>
                <c:pt idx="8">
                  <c:v>0.023644928267681813</c:v>
                </c:pt>
                <c:pt idx="9">
                  <c:v>0.0234079836974923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Schick Hydro 5 Blade Sensitive 1 Handle + 8 Cartridges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chick Hydro 5 Blade Sensitive 1 Handle + 3 Cartridges (2.0%)</c:v>
                </c:pt>
                <c:pt idx="1">
                  <c:v>None Razors (12.2%)</c:v>
                </c:pt>
                <c:pt idx="2">
                  <c:v>Schick Xtreme 3 Sensitive Disposable Razors 8 Pack (1.7%)</c:v>
                </c:pt>
                <c:pt idx="3">
                  <c:v>Gillette Mach 3 1 Handle + 2 Cartridges (2.7%)</c:v>
                </c:pt>
                <c:pt idx="4">
                  <c:v>Schick Xtreme 3 Sensitive Disposable Razors 4 Pack (2.8%)</c:v>
                </c:pt>
                <c:pt idx="5">
                  <c:v>Schick Xtreme 2 Sensitive Disposable Razors 12 Pack (2.7%)</c:v>
                </c:pt>
                <c:pt idx="6">
                  <c:v>Gillette Fusion 5 1 Handle + 2 Cartridges (2.9%)</c:v>
                </c:pt>
                <c:pt idx="7">
                  <c:v>Gillette Fusion 5 1 Handle + 3 Cartridges Holiday Pack (1.7%)</c:v>
                </c:pt>
                <c:pt idx="8">
                  <c:v>Gillette Mach 3 1 Handle + 6 Cartridges (1.7%)</c:v>
                </c:pt>
                <c:pt idx="9">
                  <c:v>None Blades (83.2%)</c:v>
                </c:pt>
              </c:strCache>
            </c:strRef>
          </c:cat>
          <c:val>
            <c:numRef>
              <c:f>Sheet1!$B$2:$B$11</c:f>
              <c:numCache>
                <c:formatCode>General</c:formatCode>
                <c:ptCount val="10"/>
                <c:pt idx="0">
                  <c:v>0.24227034649786527</c:v>
                </c:pt>
                <c:pt idx="1">
                  <c:v>0.17562949440735137</c:v>
                </c:pt>
                <c:pt idx="2">
                  <c:v>0.05660310946656797</c:v>
                </c:pt>
                <c:pt idx="3">
                  <c:v>0.04285625593577</c:v>
                </c:pt>
                <c:pt idx="4">
                  <c:v>0.03952977958508671</c:v>
                </c:pt>
                <c:pt idx="5">
                  <c:v>0.02577631340046272</c:v>
                </c:pt>
                <c:pt idx="6">
                  <c:v>0.02553700319852253</c:v>
                </c:pt>
                <c:pt idx="7">
                  <c:v>0.02419424169634018</c:v>
                </c:pt>
                <c:pt idx="8">
                  <c:v>0.02316857120080361</c:v>
                </c:pt>
                <c:pt idx="9">
                  <c:v>0.0205688353304001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Schick Hydro 5 Blade Sensitive 1 Handle + 8 Cartridges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chick Hydro 5 Blade Sensitive 1 Handle + 3 Cartridges (2.0%)</c:v>
                </c:pt>
                <c:pt idx="1">
                  <c:v>None Razors (12.2%)</c:v>
                </c:pt>
                <c:pt idx="2">
                  <c:v>Gillette Mach 3 1 Handle + 2 Cartridges (2.7%)</c:v>
                </c:pt>
                <c:pt idx="3">
                  <c:v>Schick Xtreme 3 Sensitive Disposable Razors 8 Pack (1.7%)</c:v>
                </c:pt>
                <c:pt idx="4">
                  <c:v>Gillette Fusion 5 1 Handle + 2 Cartridges (2.9%)</c:v>
                </c:pt>
                <c:pt idx="5">
                  <c:v>Schick Xtreme 3 Sensitive Disposable Razors 4 Pack (2.8%)</c:v>
                </c:pt>
                <c:pt idx="6">
                  <c:v>Gillette Mach 3 1 Handle + 6 Cartridges (1.7%)</c:v>
                </c:pt>
                <c:pt idx="7">
                  <c:v>Gillette Fusion 5 1 Handle + 3 Cartridges Holiday Pack (1.7%)</c:v>
                </c:pt>
                <c:pt idx="8">
                  <c:v>Equate Easy Fit 5 blades 1 Handle + 2 Cartridges (1.1%)</c:v>
                </c:pt>
                <c:pt idx="9">
                  <c:v>Schick Xtreme 2 Sensitive Disposable Razors 12 Pack (2.7%)</c:v>
                </c:pt>
              </c:strCache>
            </c:strRef>
          </c:cat>
          <c:val>
            <c:numRef>
              <c:f>Sheet1!$B$2:$B$11</c:f>
              <c:numCache>
                <c:formatCode>General</c:formatCode>
                <c:ptCount val="10"/>
                <c:pt idx="0">
                  <c:v>0.27139988751604033</c:v>
                </c:pt>
                <c:pt idx="1">
                  <c:v>0.176948731572841</c:v>
                </c:pt>
                <c:pt idx="2">
                  <c:v>0.05068604519763382</c:v>
                </c:pt>
                <c:pt idx="3">
                  <c:v>0.04947567415727333</c:v>
                </c:pt>
                <c:pt idx="4">
                  <c:v>0.03214478701861629</c:v>
                </c:pt>
                <c:pt idx="5">
                  <c:v>0.03050838774130041</c:v>
                </c:pt>
                <c:pt idx="6">
                  <c:v>0.028179619504566083</c:v>
                </c:pt>
                <c:pt idx="7">
                  <c:v>0.028045151530998468</c:v>
                </c:pt>
                <c:pt idx="8">
                  <c:v>0.019399586603080086</c:v>
                </c:pt>
                <c:pt idx="9">
                  <c:v>0.019021203498689607</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Schick Hydro 5 Blade Chrome 1 Handle + 3 Cartridges + Docking Station/Stand + Travel Cover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chick Hydro 5 Blade Sensitive 1 Handle + 3 Cartridges (2.0%)</c:v>
                </c:pt>
                <c:pt idx="1">
                  <c:v>None Razors (12.2%)</c:v>
                </c:pt>
                <c:pt idx="2">
                  <c:v>Gillette Mach 3 1 Handle + 2 Cartridges (2.7%)</c:v>
                </c:pt>
                <c:pt idx="3">
                  <c:v>Schick Xtreme 3 Sensitive Disposable Razors 8 Pack (1.7%)</c:v>
                </c:pt>
                <c:pt idx="4">
                  <c:v>Schick Xtreme 3 Sensitive Disposable Razors 4 Pack (2.8%)</c:v>
                </c:pt>
                <c:pt idx="5">
                  <c:v>Gillette Fusion 5 1 Handle + 2 Cartridges (2.9%)</c:v>
                </c:pt>
                <c:pt idx="6">
                  <c:v>Gillette Mach 3 1 Handle + 6 Cartridges (1.7%)</c:v>
                </c:pt>
                <c:pt idx="7">
                  <c:v>None Blades (83.2%)</c:v>
                </c:pt>
                <c:pt idx="8">
                  <c:v>Gillette Fusion 5 1 Handle + 3 Cartridges Holiday Pack (1.7%)</c:v>
                </c:pt>
                <c:pt idx="9">
                  <c:v>Harry's 5 Blade 1 Handle + 2 Cartridges (3.9%)</c:v>
                </c:pt>
              </c:strCache>
            </c:strRef>
          </c:cat>
          <c:val>
            <c:numRef>
              <c:f>Sheet1!$B$2:$B$11</c:f>
              <c:numCache>
                <c:formatCode>General</c:formatCode>
                <c:ptCount val="10"/>
                <c:pt idx="0">
                  <c:v>0.17723626907142126</c:v>
                </c:pt>
                <c:pt idx="1">
                  <c:v>0.122521469584596</c:v>
                </c:pt>
                <c:pt idx="2">
                  <c:v>0.06813532713331065</c:v>
                </c:pt>
                <c:pt idx="3">
                  <c:v>0.05059190230166599</c:v>
                </c:pt>
                <c:pt idx="4">
                  <c:v>0.03958381294617943</c:v>
                </c:pt>
                <c:pt idx="5">
                  <c:v>0.03425312422034359</c:v>
                </c:pt>
                <c:pt idx="6">
                  <c:v>0.03210930871158005</c:v>
                </c:pt>
                <c:pt idx="7">
                  <c:v>0.025991512752997038</c:v>
                </c:pt>
                <c:pt idx="8">
                  <c:v>0.025238030860692685</c:v>
                </c:pt>
                <c:pt idx="9">
                  <c:v>0.02078878801663018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Schick Hydro 5 Blade Chrome 1 Handle + 3 Cartridges + Docking Station/Stand + Travel Cover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chick Hydro 5 Blade Sensitive 1 Handle + 3 Cartridges (2.0%)</c:v>
                </c:pt>
                <c:pt idx="1">
                  <c:v>None Razors (12.2%)</c:v>
                </c:pt>
                <c:pt idx="2">
                  <c:v>Gillette Mach 3 1 Handle + 2 Cartridges (2.7%)</c:v>
                </c:pt>
                <c:pt idx="3">
                  <c:v>Schick Xtreme 3 Sensitive Disposable Razors 8 Pack (1.7%)</c:v>
                </c:pt>
                <c:pt idx="4">
                  <c:v>Gillette Fusion 5 1 Handle + 2 Cartridges (2.9%)</c:v>
                </c:pt>
                <c:pt idx="5">
                  <c:v>Gillette Mach 3 1 Handle + 6 Cartridges (1.7%)</c:v>
                </c:pt>
                <c:pt idx="6">
                  <c:v>Schick Xtreme 3 Sensitive Disposable Razors 4 Pack (2.8%)</c:v>
                </c:pt>
                <c:pt idx="7">
                  <c:v>Gillette Fusion 5 1 Handle + 3 Cartridges Holiday Pack (1.7%)</c:v>
                </c:pt>
                <c:pt idx="8">
                  <c:v>Gillette Mach 3 Blade Refills 4 Pack (1.3%)</c:v>
                </c:pt>
                <c:pt idx="9">
                  <c:v>Harry's 5 Blade 1 Handle + 2 Cartridges (3.9%)</c:v>
                </c:pt>
              </c:strCache>
            </c:strRef>
          </c:cat>
          <c:val>
            <c:numRef>
              <c:f>Sheet1!$B$2:$B$11</c:f>
              <c:numCache>
                <c:formatCode>General</c:formatCode>
                <c:ptCount val="10"/>
                <c:pt idx="0">
                  <c:v>0.19639061684252085</c:v>
                </c:pt>
                <c:pt idx="1">
                  <c:v>0.12156336640814712</c:v>
                </c:pt>
                <c:pt idx="2">
                  <c:v>0.07822532535866446</c:v>
                </c:pt>
                <c:pt idx="3">
                  <c:v>0.04280170873046036</c:v>
                </c:pt>
                <c:pt idx="4">
                  <c:v>0.04249069683983981</c:v>
                </c:pt>
                <c:pt idx="5">
                  <c:v>0.038877553640305464</c:v>
                </c:pt>
                <c:pt idx="6">
                  <c:v>0.031088179221792862</c:v>
                </c:pt>
                <c:pt idx="7">
                  <c:v>0.029350076953330303</c:v>
                </c:pt>
                <c:pt idx="8">
                  <c:v>0.02430770893566751</c:v>
                </c:pt>
                <c:pt idx="9">
                  <c:v>0.02402511613780738</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Schick Hydro 5 Groomer 1 Handle + 1 Cartridge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chick Hydro 5 Blade Sensitive 1 Handle + 3 Cartridges (2.0%)</c:v>
                </c:pt>
                <c:pt idx="1">
                  <c:v>None Razors (12.2%)</c:v>
                </c:pt>
                <c:pt idx="2">
                  <c:v>Gillette Mach 3 1 Handle + 2 Cartridges (2.7%)</c:v>
                </c:pt>
                <c:pt idx="3">
                  <c:v>Schick Xtreme 3 Sensitive Disposable Razors 4 Pack (2.8%)</c:v>
                </c:pt>
                <c:pt idx="4">
                  <c:v>Harry's 5 Blade 1 Handle + 2 Cartridges (3.9%)</c:v>
                </c:pt>
                <c:pt idx="5">
                  <c:v>Dollar Shave Club 6 1 Handle + 2 Blades (2.0%)</c:v>
                </c:pt>
                <c:pt idx="6">
                  <c:v>Equate 2 Blade Disposable Razors 12 Pack (5.7%)</c:v>
                </c:pt>
                <c:pt idx="7">
                  <c:v>Equate 2 Blade Disposable Razors 5 Pack (5.5%)</c:v>
                </c:pt>
                <c:pt idx="8">
                  <c:v>Equate Easy Fit 5 blades 1 Handle + 2 Cartridges (1.1%)</c:v>
                </c:pt>
                <c:pt idx="9">
                  <c:v>Schick Xtreme 3 Sensitive Disposable Razors 8 Pack (1.7%)</c:v>
                </c:pt>
              </c:strCache>
            </c:strRef>
          </c:cat>
          <c:val>
            <c:numRef>
              <c:f>Sheet1!$B$2:$B$11</c:f>
              <c:numCache>
                <c:formatCode>General</c:formatCode>
                <c:ptCount val="10"/>
                <c:pt idx="0">
                  <c:v>0.19459225970129354</c:v>
                </c:pt>
                <c:pt idx="1">
                  <c:v>0.17041323584690524</c:v>
                </c:pt>
                <c:pt idx="2">
                  <c:v>0.039252690506220524</c:v>
                </c:pt>
                <c:pt idx="3">
                  <c:v>0.03854747509825162</c:v>
                </c:pt>
                <c:pt idx="4">
                  <c:v>0.034234971131558135</c:v>
                </c:pt>
                <c:pt idx="5">
                  <c:v>0.032356500118168624</c:v>
                </c:pt>
                <c:pt idx="6">
                  <c:v>0.030360887398844665</c:v>
                </c:pt>
                <c:pt idx="7">
                  <c:v>0.029679874606835056</c:v>
                </c:pt>
                <c:pt idx="8">
                  <c:v>0.026796291771588394</c:v>
                </c:pt>
                <c:pt idx="9">
                  <c:v>0.02651449705100271</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Schick Hydro 5 Groomer 1 Handle + 1 Cartridge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one Razors (12.2%)</c:v>
                </c:pt>
                <c:pt idx="1">
                  <c:v>Schick Hydro 5 Blade Sensitive 1 Handle + 3 Cartridges (2.0%)</c:v>
                </c:pt>
                <c:pt idx="2">
                  <c:v>Harry's 5 Blade 1 Handle + 2 Cartridges (3.9%)</c:v>
                </c:pt>
                <c:pt idx="3">
                  <c:v>Gillette Mach 3 1 Handle + 2 Cartridges (2.7%)</c:v>
                </c:pt>
                <c:pt idx="4">
                  <c:v>Dollar Shave Club 6 1 Handle + 2 Blades (2.0%)</c:v>
                </c:pt>
                <c:pt idx="5">
                  <c:v>Schick Xtreme 3 Sensitive Disposable Razors 4 Pack (2.8%)</c:v>
                </c:pt>
                <c:pt idx="6">
                  <c:v>Harry's 5 Blade 1 Handle + 5 Cartridges (2.3%)</c:v>
                </c:pt>
                <c:pt idx="7">
                  <c:v>Equate Easy Fit 5 blades 1 Handle + 2 Cartridges (1.1%)</c:v>
                </c:pt>
                <c:pt idx="8">
                  <c:v>Schick Xtreme 3 Sensitive Disposable Razors 8 Pack (1.7%)</c:v>
                </c:pt>
                <c:pt idx="9">
                  <c:v>Gillette Fusion 5 1 Handle + 2 Cartridges (2.9%)</c:v>
                </c:pt>
              </c:strCache>
            </c:strRef>
          </c:cat>
          <c:val>
            <c:numRef>
              <c:f>Sheet1!$B$2:$B$11</c:f>
              <c:numCache>
                <c:formatCode>General</c:formatCode>
                <c:ptCount val="10"/>
                <c:pt idx="0">
                  <c:v>0.1768194453365763</c:v>
                </c:pt>
                <c:pt idx="1">
                  <c:v>0.17262644326558896</c:v>
                </c:pt>
                <c:pt idx="2">
                  <c:v>0.06141736242548806</c:v>
                </c:pt>
                <c:pt idx="3">
                  <c:v>0.036431625561711055</c:v>
                </c:pt>
                <c:pt idx="4">
                  <c:v>0.03451019627042295</c:v>
                </c:pt>
                <c:pt idx="5">
                  <c:v>0.03252419325147384</c:v>
                </c:pt>
                <c:pt idx="6">
                  <c:v>0.029241611812056832</c:v>
                </c:pt>
                <c:pt idx="7">
                  <c:v>0.02760513665293367</c:v>
                </c:pt>
                <c:pt idx="8">
                  <c:v>0.027028246382027485</c:v>
                </c:pt>
                <c:pt idx="9">
                  <c:v>0.026369637169870876</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Schick Quattro Four Blade 1 Handle + 4 Cartriges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one Razors (12.2%)</c:v>
                </c:pt>
                <c:pt idx="1">
                  <c:v>Schick Hydro 5 Blade Sensitive 1 Handle + 3 Cartridges (2.0%)</c:v>
                </c:pt>
                <c:pt idx="2">
                  <c:v>Equate 2 Blade Disposable Razors 5 Pack (5.5%)</c:v>
                </c:pt>
                <c:pt idx="3">
                  <c:v>Equate 2 Blade Disposable Razors 12 Pack (5.7%)</c:v>
                </c:pt>
                <c:pt idx="4">
                  <c:v>Dollar Shave Club 6 1 Handle + 2 Blades (2.0%)</c:v>
                </c:pt>
                <c:pt idx="5">
                  <c:v>Equate Speed 3 Disposable Razors 4 Pack (2.3%)</c:v>
                </c:pt>
                <c:pt idx="6">
                  <c:v>Equate Easy Fit 5 blades 1 Handle + 2 Cartridges (1.1%)</c:v>
                </c:pt>
                <c:pt idx="7">
                  <c:v>Schick Xtreme 3 Sensitive Disposable Razors 4 Pack (2.8%)</c:v>
                </c:pt>
                <c:pt idx="8">
                  <c:v>Equate Caliber 5 Disposable Razors 3 Pack (2.2%)</c:v>
                </c:pt>
                <c:pt idx="9">
                  <c:v>Schick Xtreme 2 Sensitive Disposable Razors 12 Pack (2.7%)</c:v>
                </c:pt>
              </c:strCache>
            </c:strRef>
          </c:cat>
          <c:val>
            <c:numRef>
              <c:f>Sheet1!$B$2:$B$11</c:f>
              <c:numCache>
                <c:formatCode>General</c:formatCode>
                <c:ptCount val="10"/>
                <c:pt idx="0">
                  <c:v>0.14246055789943496</c:v>
                </c:pt>
                <c:pt idx="1">
                  <c:v>0.1359042829134674</c:v>
                </c:pt>
                <c:pt idx="2">
                  <c:v>0.0807865284460373</c:v>
                </c:pt>
                <c:pt idx="3">
                  <c:v>0.07416602543271539</c:v>
                </c:pt>
                <c:pt idx="4">
                  <c:v>0.05919567482125648</c:v>
                </c:pt>
                <c:pt idx="5">
                  <c:v>0.04287814536857814</c:v>
                </c:pt>
                <c:pt idx="6">
                  <c:v>0.03769599224149188</c:v>
                </c:pt>
                <c:pt idx="7">
                  <c:v>0.036153222539978776</c:v>
                </c:pt>
                <c:pt idx="8">
                  <c:v>0.03225128442964434</c:v>
                </c:pt>
                <c:pt idx="9">
                  <c:v>0.027826086253477916</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Schick Quattro Four Blade 1 Handle + 4 Cartriges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chick Hydro 5 Blade Sensitive 1 Handle + 3 Cartridges (2.0%)</c:v>
                </c:pt>
                <c:pt idx="1">
                  <c:v>None Razors (12.2%)</c:v>
                </c:pt>
                <c:pt idx="2">
                  <c:v>Dollar Shave Club 6 1 Handle + 2 Blades (2.0%)</c:v>
                </c:pt>
                <c:pt idx="3">
                  <c:v>Equate 2 Blade Disposable Razors 5 Pack (5.5%)</c:v>
                </c:pt>
                <c:pt idx="4">
                  <c:v>Equate 2 Blade Disposable Razors 12 Pack (5.7%)</c:v>
                </c:pt>
                <c:pt idx="5">
                  <c:v>Equate Easy Fit 5 blades 1 Handle + 2 Cartridges (1.1%)</c:v>
                </c:pt>
                <c:pt idx="6">
                  <c:v>Gillette Mach 3 1 Handle + 2 Cartridges (2.7%)</c:v>
                </c:pt>
                <c:pt idx="7">
                  <c:v>Equate Speed 3 Disposable Razors 4 Pack (2.3%)</c:v>
                </c:pt>
                <c:pt idx="8">
                  <c:v>Schick Xtreme 3 Sensitive Disposable Razors 4 Pack (2.8%)</c:v>
                </c:pt>
                <c:pt idx="9">
                  <c:v>Schick Hydro 5 Blade Sensitive Refills 6 Pack (0.6%)</c:v>
                </c:pt>
              </c:strCache>
            </c:strRef>
          </c:cat>
          <c:val>
            <c:numRef>
              <c:f>Sheet1!$B$2:$B$11</c:f>
              <c:numCache>
                <c:formatCode>General</c:formatCode>
                <c:ptCount val="10"/>
                <c:pt idx="0">
                  <c:v>0.17866816279037462</c:v>
                </c:pt>
                <c:pt idx="1">
                  <c:v>0.1563001340022831</c:v>
                </c:pt>
                <c:pt idx="2">
                  <c:v>0.06972208458664804</c:v>
                </c:pt>
                <c:pt idx="3">
                  <c:v>0.06474506746791396</c:v>
                </c:pt>
                <c:pt idx="4">
                  <c:v>0.04914006111089389</c:v>
                </c:pt>
                <c:pt idx="5">
                  <c:v>0.04200385406874945</c:v>
                </c:pt>
                <c:pt idx="6">
                  <c:v>0.034694430808568134</c:v>
                </c:pt>
                <c:pt idx="7">
                  <c:v>0.034471937705414075</c:v>
                </c:pt>
                <c:pt idx="8">
                  <c:v>0.031759426622238504</c:v>
                </c:pt>
                <c:pt idx="9">
                  <c:v>0.031216514652761738</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Wilkinson Sword Classic Double Edge 1 Handle + 5 Cartridges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one Blades (83.2%)</c:v>
                </c:pt>
                <c:pt idx="1">
                  <c:v>Schick Hydro 5 Blade Sensitive 1 Handle + 3 Cartridges (2.0%)</c:v>
                </c:pt>
                <c:pt idx="2">
                  <c:v>None Razors (12.2%)</c:v>
                </c:pt>
                <c:pt idx="3">
                  <c:v>Schick Xtreme 2 Sensitive Disposable Razors 12 Pack (2.7%)</c:v>
                </c:pt>
                <c:pt idx="4">
                  <c:v>Gillette Mach 3 1 Handle + 2 Cartridges (2.7%)</c:v>
                </c:pt>
                <c:pt idx="5">
                  <c:v>Schick Xtreme 3 Sensitive Disposable Razors 4 Pack (2.8%)</c:v>
                </c:pt>
                <c:pt idx="6">
                  <c:v>Equate 2 Blade Disposable Razors 12 Pack (5.7%)</c:v>
                </c:pt>
                <c:pt idx="7">
                  <c:v>Equate 2 Blade Disposable Razors 5 Pack (5.5%)</c:v>
                </c:pt>
                <c:pt idx="8">
                  <c:v>Harry's 5 Blade 1 Handle + 2 Cartridges (3.9%)</c:v>
                </c:pt>
                <c:pt idx="9">
                  <c:v>Dollar Shave Club 6 1 Handle + 2 Blades (2.0%)</c:v>
                </c:pt>
              </c:strCache>
            </c:strRef>
          </c:cat>
          <c:val>
            <c:numRef>
              <c:f>Sheet1!$B$2:$B$11</c:f>
              <c:numCache>
                <c:formatCode>General</c:formatCode>
                <c:ptCount val="10"/>
                <c:pt idx="0">
                  <c:v>0.14117103482846965</c:v>
                </c:pt>
                <c:pt idx="1">
                  <c:v>0.08291160731065729</c:v>
                </c:pt>
                <c:pt idx="2">
                  <c:v>0.07159176273584775</c:v>
                </c:pt>
                <c:pt idx="3">
                  <c:v>0.05770902743306978</c:v>
                </c:pt>
                <c:pt idx="4">
                  <c:v>0.05534612890021127</c:v>
                </c:pt>
                <c:pt idx="5">
                  <c:v>0.05211817903109218</c:v>
                </c:pt>
                <c:pt idx="6">
                  <c:v>0.04880992622613841</c:v>
                </c:pt>
                <c:pt idx="7">
                  <c:v>0.04854778328285571</c:v>
                </c:pt>
                <c:pt idx="8">
                  <c:v>0.04691746313042432</c:v>
                </c:pt>
                <c:pt idx="9">
                  <c:v>0.04048122443595088</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Equate Dispo (19.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Bic Dispo (16.9%)</c:v>
                </c:pt>
                <c:pt idx="1">
                  <c:v>Schick Dispo (8.1%)</c:v>
                </c:pt>
                <c:pt idx="2">
                  <c:v>Gillette Dispo (17.5%)</c:v>
                </c:pt>
                <c:pt idx="3">
                  <c:v>Equate Razor (1.1%)</c:v>
                </c:pt>
                <c:pt idx="4">
                  <c:v>Gillette Razor (13.9%)</c:v>
                </c:pt>
                <c:pt idx="5">
                  <c:v>Dollar Shave Club Razor (2.0%)</c:v>
                </c:pt>
                <c:pt idx="6">
                  <c:v>Schick Razor (2.1%)</c:v>
                </c:pt>
                <c:pt idx="7">
                  <c:v>Harrys Razor (6.2%)</c:v>
                </c:pt>
                <c:pt idx="8">
                  <c:v>Harrys Blade (5.0%)</c:v>
                </c:pt>
                <c:pt idx="9">
                  <c:v>Equate Blade (1.4%)</c:v>
                </c:pt>
              </c:strCache>
            </c:strRef>
          </c:cat>
          <c:val>
            <c:numRef>
              <c:f>Sheet1!$B$2:$B$11</c:f>
              <c:numCache>
                <c:formatCode>General</c:formatCode>
                <c:ptCount val="10"/>
                <c:pt idx="0">
                  <c:v>0.4361340692929906</c:v>
                </c:pt>
                <c:pt idx="1">
                  <c:v>0.17675420856517834</c:v>
                </c:pt>
                <c:pt idx="2">
                  <c:v>0.1648485873664955</c:v>
                </c:pt>
                <c:pt idx="3">
                  <c:v>0.03566947159183882</c:v>
                </c:pt>
                <c:pt idx="4">
                  <c:v>0.034043176723633765</c:v>
                </c:pt>
                <c:pt idx="5">
                  <c:v>0.02478400417837207</c:v>
                </c:pt>
                <c:pt idx="6">
                  <c:v>0.021414628528285254</c:v>
                </c:pt>
                <c:pt idx="7">
                  <c:v>0.01523907659748233</c:v>
                </c:pt>
                <c:pt idx="8">
                  <c:v>0.014501202748556876</c:v>
                </c:pt>
                <c:pt idx="9">
                  <c:v>0.0109013800375576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Wilkinson Sword Classic Double Edge 1 Handle + 5 Cartridges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one Blades (83.2%)</c:v>
                </c:pt>
                <c:pt idx="1">
                  <c:v>Harry's 5 Blade 1 Handle + 2 Cartridges (3.9%)</c:v>
                </c:pt>
                <c:pt idx="2">
                  <c:v>None Razors (12.2%)</c:v>
                </c:pt>
                <c:pt idx="3">
                  <c:v>Schick Hydro 5 Blade Sensitive 1 Handle + 3 Cartridges (2.0%)</c:v>
                </c:pt>
                <c:pt idx="4">
                  <c:v>Gillette Mach 3 1 Handle + 2 Cartridges (2.7%)</c:v>
                </c:pt>
                <c:pt idx="5">
                  <c:v>Harry's 5 Blade 1 Handle + 5 Cartridges (2.3%)</c:v>
                </c:pt>
                <c:pt idx="6">
                  <c:v>Dollar Shave Club 6 1 Handle + 2 Blades (2.0%)</c:v>
                </c:pt>
                <c:pt idx="7">
                  <c:v>Equate 2 Blade Disposable Razors 12 Pack (5.7%)</c:v>
                </c:pt>
                <c:pt idx="8">
                  <c:v>Schick Xtreme 2 Sensitive Disposable Razors 12 Pack (2.7%)</c:v>
                </c:pt>
                <c:pt idx="9">
                  <c:v>Harry's Men Five Blade Refills 4 Pack (2.5%)</c:v>
                </c:pt>
              </c:strCache>
            </c:strRef>
          </c:cat>
          <c:val>
            <c:numRef>
              <c:f>Sheet1!$B$2:$B$11</c:f>
              <c:numCache>
                <c:formatCode>General</c:formatCode>
                <c:ptCount val="10"/>
                <c:pt idx="0">
                  <c:v>0.1184514053083317</c:v>
                </c:pt>
                <c:pt idx="1">
                  <c:v>0.08547316689672849</c:v>
                </c:pt>
                <c:pt idx="2">
                  <c:v>0.07330199798467929</c:v>
                </c:pt>
                <c:pt idx="3">
                  <c:v>0.07201036425741623</c:v>
                </c:pt>
                <c:pt idx="4">
                  <c:v>0.05328854493863865</c:v>
                </c:pt>
                <c:pt idx="5">
                  <c:v>0.04665285855599578</c:v>
                </c:pt>
                <c:pt idx="6">
                  <c:v>0.04655834033706656</c:v>
                </c:pt>
                <c:pt idx="7">
                  <c:v>0.044634512970983004</c:v>
                </c:pt>
                <c:pt idx="8">
                  <c:v>0.04317745849652982</c:v>
                </c:pt>
                <c:pt idx="9">
                  <c:v>0.0405464014054995</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Equate 2 Blade Disposable Razors 5 Pack (5.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quate 2 Blade Disposable Razors 12 Pack (5.7%)</c:v>
                </c:pt>
                <c:pt idx="1">
                  <c:v>Bic Men Sensitive Single Blade Disposable Razors 12 Pack (5.7%)</c:v>
                </c:pt>
                <c:pt idx="2">
                  <c:v>None Razors (12.2%)</c:v>
                </c:pt>
                <c:pt idx="3">
                  <c:v>Bic 3 Sensitive Disposable Razors 5 Pack (1.9%)</c:v>
                </c:pt>
                <c:pt idx="4">
                  <c:v>Equate Speed 3 Disposable Razors 4 Pack (2.3%)</c:v>
                </c:pt>
                <c:pt idx="5">
                  <c:v>Schick Xtreme 2 Sensitive Disposable Razors 12 Pack (2.7%)</c:v>
                </c:pt>
                <c:pt idx="6">
                  <c:v>Bic Comfort 3 Sensitive Skin Disposable Razors 4 Pack (2.0%)</c:v>
                </c:pt>
                <c:pt idx="7">
                  <c:v>Equate Caliber 5 Disposable Razors 3 Pack (2.2%)</c:v>
                </c:pt>
                <c:pt idx="8">
                  <c:v>Schick Xtreme 3 Sensitive Disposable Razors 4 Pack (2.8%)</c:v>
                </c:pt>
                <c:pt idx="9">
                  <c:v>Equate Caliber 3 Disposable Razors 3 Pack (1.4%)</c:v>
                </c:pt>
              </c:strCache>
            </c:strRef>
          </c:cat>
          <c:val>
            <c:numRef>
              <c:f>Sheet1!$B$2:$B$11</c:f>
              <c:numCache>
                <c:formatCode>General</c:formatCode>
                <c:ptCount val="10"/>
                <c:pt idx="0">
                  <c:v>0.4152877066661165</c:v>
                </c:pt>
                <c:pt idx="1">
                  <c:v>0.10895748704104814</c:v>
                </c:pt>
                <c:pt idx="2">
                  <c:v>0.05868368706284735</c:v>
                </c:pt>
                <c:pt idx="3">
                  <c:v>0.038016768810475346</c:v>
                </c:pt>
                <c:pt idx="4">
                  <c:v>0.03617202372490331</c:v>
                </c:pt>
                <c:pt idx="5">
                  <c:v>0.035538576411338306</c:v>
                </c:pt>
                <c:pt idx="6">
                  <c:v>0.029155450674998577</c:v>
                </c:pt>
                <c:pt idx="7">
                  <c:v>0.02762921569860443</c:v>
                </c:pt>
                <c:pt idx="8">
                  <c:v>0.02617654860032963</c:v>
                </c:pt>
                <c:pt idx="9">
                  <c:v>0.025651878355957638</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Equate 2 Blade Disposable Razors 5 Pack (5.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quate 2 Blade Disposable Razors 12 Pack (5.7%)</c:v>
                </c:pt>
                <c:pt idx="1">
                  <c:v>Bic Men Sensitive Single Blade Disposable Razors 12 Pack (5.7%)</c:v>
                </c:pt>
                <c:pt idx="2">
                  <c:v>None Razors (12.2%)</c:v>
                </c:pt>
                <c:pt idx="3">
                  <c:v>Bic 3 Sensitive Disposable Razors 5 Pack (1.9%)</c:v>
                </c:pt>
                <c:pt idx="4">
                  <c:v>Equate Speed 3 Disposable Razors 4 Pack (2.3%)</c:v>
                </c:pt>
                <c:pt idx="5">
                  <c:v>Schick Xtreme 2 Sensitive Disposable Razors 12 Pack (2.7%)</c:v>
                </c:pt>
                <c:pt idx="6">
                  <c:v>Bic Comfort 3 Sensitive Skin Disposable Razors 4 Pack (2.0%)</c:v>
                </c:pt>
                <c:pt idx="7">
                  <c:v>Equate Caliber 5 Disposable Razors 3 Pack (2.2%)</c:v>
                </c:pt>
                <c:pt idx="8">
                  <c:v>Schick Xtreme 3 Sensitive Disposable Razors 4 Pack (2.8%)</c:v>
                </c:pt>
                <c:pt idx="9">
                  <c:v>Equate Caliber 3 Disposable Razors 3 Pack (1.4%)</c:v>
                </c:pt>
              </c:strCache>
            </c:strRef>
          </c:cat>
          <c:val>
            <c:numRef>
              <c:f>Sheet1!$B$2:$B$11</c:f>
              <c:numCache>
                <c:formatCode>General</c:formatCode>
                <c:ptCount val="10"/>
                <c:pt idx="0">
                  <c:v>0.41849952734810336</c:v>
                </c:pt>
                <c:pt idx="1">
                  <c:v>0.10932287748497971</c:v>
                </c:pt>
                <c:pt idx="2">
                  <c:v>0.05836645310776196</c:v>
                </c:pt>
                <c:pt idx="3">
                  <c:v>0.03813697029450862</c:v>
                </c:pt>
                <c:pt idx="4">
                  <c:v>0.0359262733065842</c:v>
                </c:pt>
                <c:pt idx="5">
                  <c:v>0.035178400248807924</c:v>
                </c:pt>
                <c:pt idx="6">
                  <c:v>0.029077832036959395</c:v>
                </c:pt>
                <c:pt idx="7">
                  <c:v>0.027409288950804394</c:v>
                </c:pt>
                <c:pt idx="8">
                  <c:v>0.0259449528003935</c:v>
                </c:pt>
                <c:pt idx="9">
                  <c:v>0.02543684489634068</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Equate 2 Blade Disposable Razors 12 Pack (5.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quate 2 Blade Disposable Razors 5 Pack (5.5%)</c:v>
                </c:pt>
                <c:pt idx="1">
                  <c:v>Bic Men Sensitive Single Blade Disposable Razors 12 Pack (5.7%)</c:v>
                </c:pt>
                <c:pt idx="2">
                  <c:v>None Razors (12.2%)</c:v>
                </c:pt>
                <c:pt idx="3">
                  <c:v>Equate Speed 3 Disposable Razors 4 Pack (2.3%)</c:v>
                </c:pt>
                <c:pt idx="4">
                  <c:v>Schick Xtreme 2 Sensitive Disposable Razors 12 Pack (2.7%)</c:v>
                </c:pt>
                <c:pt idx="5">
                  <c:v>Schick Xtreme 3 Sensitive Disposable Razors 4 Pack (2.8%)</c:v>
                </c:pt>
                <c:pt idx="6">
                  <c:v>Equate Caliber 5 Disposable Razors 3 Pack (2.2%)</c:v>
                </c:pt>
                <c:pt idx="7">
                  <c:v>Equate Caliber 3 Disposable Razors 3 Pack (1.4%)</c:v>
                </c:pt>
                <c:pt idx="8">
                  <c:v>Bic 3 Sensitive Disposable Razors 5 Pack (1.9%)</c:v>
                </c:pt>
                <c:pt idx="9">
                  <c:v>Bic Comfort 3 Sensitive Skin Disposable Razors 4 Pack (2.0%)</c:v>
                </c:pt>
              </c:strCache>
            </c:strRef>
          </c:cat>
          <c:val>
            <c:numRef>
              <c:f>Sheet1!$B$2:$B$11</c:f>
              <c:numCache>
                <c:formatCode>General</c:formatCode>
                <c:ptCount val="10"/>
                <c:pt idx="0">
                  <c:v>0.36147670868272413</c:v>
                </c:pt>
                <c:pt idx="1">
                  <c:v>0.11488083118188142</c:v>
                </c:pt>
                <c:pt idx="2">
                  <c:v>0.05189226477942316</c:v>
                </c:pt>
                <c:pt idx="3">
                  <c:v>0.04685890184863422</c:v>
                </c:pt>
                <c:pt idx="4">
                  <c:v>0.037246985817860685</c:v>
                </c:pt>
                <c:pt idx="5">
                  <c:v>0.0351423391476085</c:v>
                </c:pt>
                <c:pt idx="6">
                  <c:v>0.033014975947627215</c:v>
                </c:pt>
                <c:pt idx="7">
                  <c:v>0.03090621226722853</c:v>
                </c:pt>
                <c:pt idx="8">
                  <c:v>0.028978154273110526</c:v>
                </c:pt>
                <c:pt idx="9">
                  <c:v>0.027695836946225554</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Equate 2 Blade Disposable Razors 12 Pack (5.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quate 2 Blade Disposable Razors 5 Pack (5.5%)</c:v>
                </c:pt>
                <c:pt idx="1">
                  <c:v>Bic Men Sensitive Single Blade Disposable Razors 12 Pack (5.7%)</c:v>
                </c:pt>
                <c:pt idx="2">
                  <c:v>None Razors (12.2%)</c:v>
                </c:pt>
                <c:pt idx="3">
                  <c:v>Equate Speed 3 Disposable Razors 4 Pack (2.3%)</c:v>
                </c:pt>
                <c:pt idx="4">
                  <c:v>Schick Xtreme 2 Sensitive Disposable Razors 12 Pack (2.7%)</c:v>
                </c:pt>
                <c:pt idx="5">
                  <c:v>Schick Xtreme 3 Sensitive Disposable Razors 4 Pack (2.8%)</c:v>
                </c:pt>
                <c:pt idx="6">
                  <c:v>Equate Caliber 5 Disposable Razors 3 Pack (2.2%)</c:v>
                </c:pt>
                <c:pt idx="7">
                  <c:v>Equate Caliber 3 Disposable Razors 3 Pack (1.4%)</c:v>
                </c:pt>
                <c:pt idx="8">
                  <c:v>Bic 3 Sensitive Disposable Razors 5 Pack (1.9%)</c:v>
                </c:pt>
                <c:pt idx="9">
                  <c:v>Bic Comfort 3 Sensitive Skin Disposable Razors 4 Pack (2.0%)</c:v>
                </c:pt>
              </c:strCache>
            </c:strRef>
          </c:cat>
          <c:val>
            <c:numRef>
              <c:f>Sheet1!$B$2:$B$11</c:f>
              <c:numCache>
                <c:formatCode>General</c:formatCode>
                <c:ptCount val="10"/>
                <c:pt idx="0">
                  <c:v>0.36574213360541813</c:v>
                </c:pt>
                <c:pt idx="1">
                  <c:v>0.1149785594176123</c:v>
                </c:pt>
                <c:pt idx="2">
                  <c:v>0.05186801611429022</c:v>
                </c:pt>
                <c:pt idx="3">
                  <c:v>0.046703104593922136</c:v>
                </c:pt>
                <c:pt idx="4">
                  <c:v>0.03698262807344953</c:v>
                </c:pt>
                <c:pt idx="5">
                  <c:v>0.03482175560839202</c:v>
                </c:pt>
                <c:pt idx="6">
                  <c:v>0.032917322003807994</c:v>
                </c:pt>
                <c:pt idx="7">
                  <c:v>0.030872648609439064</c:v>
                </c:pt>
                <c:pt idx="8">
                  <c:v>0.02890618923269677</c:v>
                </c:pt>
                <c:pt idx="9">
                  <c:v>0.027460639092374037</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Equate 2 Blade Disposable Razors 20 Pack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quate 2 Blade Disposable Razors 12 Pack (5.7%)</c:v>
                </c:pt>
                <c:pt idx="1">
                  <c:v>Equate 2 Blade Disposable Razors 5 Pack (5.5%)</c:v>
                </c:pt>
                <c:pt idx="2">
                  <c:v>Bic Men Sensitive Single Blade Disposable Razors 12 Pack (5.7%)</c:v>
                </c:pt>
                <c:pt idx="3">
                  <c:v>Schick Xtreme 2 Sensitive Disposable Razors 12 Pack (2.7%)</c:v>
                </c:pt>
                <c:pt idx="4">
                  <c:v>None Razors (12.2%)</c:v>
                </c:pt>
                <c:pt idx="5">
                  <c:v>Schick Xtreme 3 Sensitive Disposable Razors 4 Pack (2.8%)</c:v>
                </c:pt>
                <c:pt idx="6">
                  <c:v>Equate Speed 3 Disposable Razors 4 Pack (2.3%)</c:v>
                </c:pt>
                <c:pt idx="7">
                  <c:v>Equate Caliber 5 Disposable Razors 3 Pack (2.2%)</c:v>
                </c:pt>
                <c:pt idx="8">
                  <c:v>Equate Speed 3 Disposable Razors 8 Pack (1.9%)</c:v>
                </c:pt>
                <c:pt idx="9">
                  <c:v>Equate Caliber 3 Disposable Razors 3 Pack (1.4%)</c:v>
                </c:pt>
              </c:strCache>
            </c:strRef>
          </c:cat>
          <c:val>
            <c:numRef>
              <c:f>Sheet1!$B$2:$B$11</c:f>
              <c:numCache>
                <c:formatCode>General</c:formatCode>
                <c:ptCount val="10"/>
                <c:pt idx="0">
                  <c:v>0.3459307390189181</c:v>
                </c:pt>
                <c:pt idx="1">
                  <c:v>0.21986558178345866</c:v>
                </c:pt>
                <c:pt idx="2">
                  <c:v>0.08994833441922448</c:v>
                </c:pt>
                <c:pt idx="3">
                  <c:v>0.029520689262990285</c:v>
                </c:pt>
                <c:pt idx="4">
                  <c:v>0.029361971351882673</c:v>
                </c:pt>
                <c:pt idx="5">
                  <c:v>0.02893366658443661</c:v>
                </c:pt>
                <c:pt idx="6">
                  <c:v>0.026010005875009557</c:v>
                </c:pt>
                <c:pt idx="7">
                  <c:v>0.022518967503290518</c:v>
                </c:pt>
                <c:pt idx="8">
                  <c:v>0.02078695110809803</c:v>
                </c:pt>
                <c:pt idx="9">
                  <c:v>0.016988951210743557</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Equate 2 Blade Disposable Razors 20 Pack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quate 2 Blade Disposable Razors 12 Pack (5.7%)</c:v>
                </c:pt>
                <c:pt idx="1">
                  <c:v>Equate 2 Blade Disposable Razors 5 Pack (5.5%)</c:v>
                </c:pt>
                <c:pt idx="2">
                  <c:v>Bic Men Sensitive Single Blade Disposable Razors 12 Pack (5.7%)</c:v>
                </c:pt>
                <c:pt idx="3">
                  <c:v>None Razors (12.2%)</c:v>
                </c:pt>
                <c:pt idx="4">
                  <c:v>Schick Xtreme 3 Sensitive Disposable Razors 4 Pack (2.8%)</c:v>
                </c:pt>
                <c:pt idx="5">
                  <c:v>Schick Xtreme 2 Sensitive Disposable Razors 12 Pack (2.7%)</c:v>
                </c:pt>
                <c:pt idx="6">
                  <c:v>Equate Speed 3 Disposable Razors 4 Pack (2.3%)</c:v>
                </c:pt>
                <c:pt idx="7">
                  <c:v>Equate Caliber 5 Disposable Razors 3 Pack (2.2%)</c:v>
                </c:pt>
                <c:pt idx="8">
                  <c:v>Bic 3 Sensitive Disposable Razors 5 Pack (1.9%)</c:v>
                </c:pt>
                <c:pt idx="9">
                  <c:v>Equate Speed 3 Disposable Razors 8 Pack (1.9%)</c:v>
                </c:pt>
              </c:strCache>
            </c:strRef>
          </c:cat>
          <c:val>
            <c:numRef>
              <c:f>Sheet1!$B$2:$B$11</c:f>
              <c:numCache>
                <c:formatCode>General</c:formatCode>
                <c:ptCount val="10"/>
                <c:pt idx="0">
                  <c:v>0.3684410575696774</c:v>
                </c:pt>
                <c:pt idx="1">
                  <c:v>0.22378191064102973</c:v>
                </c:pt>
                <c:pt idx="2">
                  <c:v>0.08477824175592967</c:v>
                </c:pt>
                <c:pt idx="3">
                  <c:v>0.044380607502083426</c:v>
                </c:pt>
                <c:pt idx="4">
                  <c:v>0.023873272546380737</c:v>
                </c:pt>
                <c:pt idx="5">
                  <c:v>0.023587861501738625</c:v>
                </c:pt>
                <c:pt idx="6">
                  <c:v>0.02335884502366315</c:v>
                </c:pt>
                <c:pt idx="7">
                  <c:v>0.020145689277826288</c:v>
                </c:pt>
                <c:pt idx="8">
                  <c:v>0.0162614453141349</c:v>
                </c:pt>
                <c:pt idx="9">
                  <c:v>0.01620549141018752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Equate Caliber 3 Disposable Razors 3 Pack (1.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quate 2 Blade Disposable Razors 12 Pack (5.7%)</c:v>
                </c:pt>
                <c:pt idx="1">
                  <c:v>Equate Caliber 5 Disposable Razors 3 Pack (2.2%)</c:v>
                </c:pt>
                <c:pt idx="2">
                  <c:v>Equate Speed 3 Disposable Razors 4 Pack (2.3%)</c:v>
                </c:pt>
                <c:pt idx="3">
                  <c:v>Equate 2 Blade Disposable Razors 5 Pack (5.5%)</c:v>
                </c:pt>
                <c:pt idx="4">
                  <c:v>Bic Men Sensitive Single Blade Disposable Razors 12 Pack (5.7%)</c:v>
                </c:pt>
                <c:pt idx="5">
                  <c:v>Equate Speed 3 Disposable Razors 8 Pack (1.9%)</c:v>
                </c:pt>
                <c:pt idx="6">
                  <c:v>Schick Xtreme 3 Sensitive Disposable Razors 4 Pack (2.8%)</c:v>
                </c:pt>
                <c:pt idx="7">
                  <c:v>Schick Xtreme 2 Sensitive Disposable Razors 12 Pack (2.7%)</c:v>
                </c:pt>
                <c:pt idx="8">
                  <c:v>None Razors (12.2%)</c:v>
                </c:pt>
                <c:pt idx="9">
                  <c:v>Bic Comfort 3 Sensitive Skin Disposable Razors 4 Pack (2.0%)</c:v>
                </c:pt>
              </c:strCache>
            </c:strRef>
          </c:cat>
          <c:val>
            <c:numRef>
              <c:f>Sheet1!$B$2:$B$11</c:f>
              <c:numCache>
                <c:formatCode>General</c:formatCode>
                <c:ptCount val="10"/>
                <c:pt idx="0">
                  <c:v>0.11114147622859587</c:v>
                </c:pt>
                <c:pt idx="1">
                  <c:v>0.10632993129207134</c:v>
                </c:pt>
                <c:pt idx="2">
                  <c:v>0.10564262116947337</c:v>
                </c:pt>
                <c:pt idx="3">
                  <c:v>0.08328623465652944</c:v>
                </c:pt>
                <c:pt idx="4">
                  <c:v>0.05523605333337958</c:v>
                </c:pt>
                <c:pt idx="5">
                  <c:v>0.05197099172093471</c:v>
                </c:pt>
                <c:pt idx="6">
                  <c:v>0.051830779304015015</c:v>
                </c:pt>
                <c:pt idx="7">
                  <c:v>0.03827050085525646</c:v>
                </c:pt>
                <c:pt idx="8">
                  <c:v>0.03709937329935924</c:v>
                </c:pt>
                <c:pt idx="9">
                  <c:v>0.037028545644083956</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Equate Caliber 3 Disposable Razors 3 Pack (1.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quate Speed 3 Disposable Razors 4 Pack (2.3%)</c:v>
                </c:pt>
                <c:pt idx="1">
                  <c:v>Equate Caliber 5 Disposable Razors 3 Pack (2.2%)</c:v>
                </c:pt>
                <c:pt idx="2">
                  <c:v>Equate 2 Blade Disposable Razors 12 Pack (5.7%)</c:v>
                </c:pt>
                <c:pt idx="3">
                  <c:v>Equate 2 Blade Disposable Razors 5 Pack (5.5%)</c:v>
                </c:pt>
                <c:pt idx="4">
                  <c:v>Bic Men Sensitive Single Blade Disposable Razors 12 Pack (5.7%)</c:v>
                </c:pt>
                <c:pt idx="5">
                  <c:v>Schick Xtreme 3 Sensitive Disposable Razors 4 Pack (2.8%)</c:v>
                </c:pt>
                <c:pt idx="6">
                  <c:v>Equate Speed 3 Disposable Razors 8 Pack (1.9%)</c:v>
                </c:pt>
                <c:pt idx="7">
                  <c:v>Bic Comfort 3 Sensitive Skin Disposable Razors 4 Pack (2.0%)</c:v>
                </c:pt>
                <c:pt idx="8">
                  <c:v>Schick Xtreme 2 Sensitive Disposable Razors 12 Pack (2.7%)</c:v>
                </c:pt>
                <c:pt idx="9">
                  <c:v>None Razors (12.2%)</c:v>
                </c:pt>
              </c:strCache>
            </c:strRef>
          </c:cat>
          <c:val>
            <c:numRef>
              <c:f>Sheet1!$B$2:$B$11</c:f>
              <c:numCache>
                <c:formatCode>General</c:formatCode>
                <c:ptCount val="10"/>
                <c:pt idx="0">
                  <c:v>0.13026380246989816</c:v>
                </c:pt>
                <c:pt idx="1">
                  <c:v>0.12806130388756026</c:v>
                </c:pt>
                <c:pt idx="2">
                  <c:v>0.10627957739696624</c:v>
                </c:pt>
                <c:pt idx="3">
                  <c:v>0.08398136192867159</c:v>
                </c:pt>
                <c:pt idx="4">
                  <c:v>0.05370998736669456</c:v>
                </c:pt>
                <c:pt idx="5">
                  <c:v>0.053585559078084474</c:v>
                </c:pt>
                <c:pt idx="6">
                  <c:v>0.04843028274623266</c:v>
                </c:pt>
                <c:pt idx="7">
                  <c:v>0.04437675735123409</c:v>
                </c:pt>
                <c:pt idx="8">
                  <c:v>0.03755316401647208</c:v>
                </c:pt>
                <c:pt idx="9">
                  <c:v>0.029289469906266588</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Equate Caliber 3 Disposable Razors 6 Pack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quate Speed 3 Disposable Razors 4 Pack (2.3%)</c:v>
                </c:pt>
                <c:pt idx="1">
                  <c:v>Equate Speed 3 Disposable Razors 8 Pack (1.9%)</c:v>
                </c:pt>
                <c:pt idx="2">
                  <c:v>Equate Caliber 5 Disposable Razors 3 Pack (2.2%)</c:v>
                </c:pt>
                <c:pt idx="3">
                  <c:v>Equate Caliber 3 Disposable Razors 3 Pack (1.4%)</c:v>
                </c:pt>
                <c:pt idx="4">
                  <c:v>Equate 2 Blade Disposable Razors 12 Pack (5.7%)</c:v>
                </c:pt>
                <c:pt idx="5">
                  <c:v>Bic Men Sensitive Single Blade Disposable Razors 12 Pack (5.7%)</c:v>
                </c:pt>
                <c:pt idx="6">
                  <c:v>Equate 2 Blade Disposable Razors 5 Pack (5.5%)</c:v>
                </c:pt>
                <c:pt idx="7">
                  <c:v>Bic Comfort 3 Sensitive Skin Disposable Razors 4 Pack (2.0%)</c:v>
                </c:pt>
                <c:pt idx="8">
                  <c:v>None Razors (12.2%)</c:v>
                </c:pt>
                <c:pt idx="9">
                  <c:v>Schick Xtreme 3 Sensitive Disposable Razors 4 Pack (2.8%)</c:v>
                </c:pt>
              </c:strCache>
            </c:strRef>
          </c:cat>
          <c:val>
            <c:numRef>
              <c:f>Sheet1!$B$2:$B$11</c:f>
              <c:numCache>
                <c:formatCode>General</c:formatCode>
                <c:ptCount val="10"/>
                <c:pt idx="0">
                  <c:v>0.18733239095872958</c:v>
                </c:pt>
                <c:pt idx="1">
                  <c:v>0.12058217403655005</c:v>
                </c:pt>
                <c:pt idx="2">
                  <c:v>0.09171697117601306</c:v>
                </c:pt>
                <c:pt idx="3">
                  <c:v>0.08627292343275221</c:v>
                </c:pt>
                <c:pt idx="4">
                  <c:v>0.06779566844385883</c:v>
                </c:pt>
                <c:pt idx="5">
                  <c:v>0.050717025378590866</c:v>
                </c:pt>
                <c:pt idx="6">
                  <c:v>0.04877325499373263</c:v>
                </c:pt>
                <c:pt idx="7">
                  <c:v>0.04587357227224467</c:v>
                </c:pt>
                <c:pt idx="8">
                  <c:v>0.03862775438138401</c:v>
                </c:pt>
                <c:pt idx="9">
                  <c:v>0.033049564843426596</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Gillette Dispo (17.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Bic Dispo (16.9%)</c:v>
                </c:pt>
                <c:pt idx="1">
                  <c:v>Equate Dispo (19.1%)</c:v>
                </c:pt>
                <c:pt idx="2">
                  <c:v>Schick Dispo (8.1%)</c:v>
                </c:pt>
                <c:pt idx="3">
                  <c:v>Gillette Razor (13.9%)</c:v>
                </c:pt>
                <c:pt idx="4">
                  <c:v>Gillette Blade (7.3%)</c:v>
                </c:pt>
                <c:pt idx="5">
                  <c:v>Schick Razor (2.1%)</c:v>
                </c:pt>
                <c:pt idx="6">
                  <c:v>Dollar Shave Club Razor (2.0%)</c:v>
                </c:pt>
                <c:pt idx="7">
                  <c:v>Harrys Razor (6.2%)</c:v>
                </c:pt>
                <c:pt idx="8">
                  <c:v>Harrys Blade (5.0%)</c:v>
                </c:pt>
                <c:pt idx="9">
                  <c:v>Equate Razor (1.1%)</c:v>
                </c:pt>
              </c:strCache>
            </c:strRef>
          </c:cat>
          <c:val>
            <c:numRef>
              <c:f>Sheet1!$B$2:$B$11</c:f>
              <c:numCache>
                <c:formatCode>General</c:formatCode>
                <c:ptCount val="10"/>
                <c:pt idx="0">
                  <c:v>0.34719770428170327</c:v>
                </c:pt>
                <c:pt idx="1">
                  <c:v>0.27103772522241326</c:v>
                </c:pt>
                <c:pt idx="2">
                  <c:v>0.21247937459642746</c:v>
                </c:pt>
                <c:pt idx="3">
                  <c:v>0.05734004221195915</c:v>
                </c:pt>
                <c:pt idx="4">
                  <c:v>0.017125430120131277</c:v>
                </c:pt>
                <c:pt idx="5">
                  <c:v>0.016780354402998958</c:v>
                </c:pt>
                <c:pt idx="6">
                  <c:v>0.015841185454991066</c:v>
                </c:pt>
                <c:pt idx="7">
                  <c:v>0.011676882497374608</c:v>
                </c:pt>
                <c:pt idx="8">
                  <c:v>0.007558592502584074</c:v>
                </c:pt>
                <c:pt idx="9">
                  <c:v>0.00689397722564145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Equate Caliber 3 Disposable Razors 6 Pack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quate Speed 3 Disposable Razors 4 Pack (2.3%)</c:v>
                </c:pt>
                <c:pt idx="1">
                  <c:v>Equate Speed 3 Disposable Razors 8 Pack (1.9%)</c:v>
                </c:pt>
                <c:pt idx="2">
                  <c:v>Equate Caliber 5 Disposable Razors 3 Pack (2.2%)</c:v>
                </c:pt>
                <c:pt idx="3">
                  <c:v>Equate Caliber 3 Disposable Razors 3 Pack (1.4%)</c:v>
                </c:pt>
                <c:pt idx="4">
                  <c:v>Schick Xtreme 3 Sensitive Disposable Razors 4 Pack (2.8%)</c:v>
                </c:pt>
                <c:pt idx="5">
                  <c:v>Equate 2 Blade Disposable Razors 12 Pack (5.7%)</c:v>
                </c:pt>
                <c:pt idx="6">
                  <c:v>Bic Comfort 3 Sensitive Skin Disposable Razors 4 Pack (2.0%)</c:v>
                </c:pt>
                <c:pt idx="7">
                  <c:v>Bic Men Sensitive Single Blade Disposable Razors 12 Pack (5.7%)</c:v>
                </c:pt>
                <c:pt idx="8">
                  <c:v>Schick Xtreme 2 Sensitive Disposable Razors 12 Pack (2.7%)</c:v>
                </c:pt>
                <c:pt idx="9">
                  <c:v>Gillette Mach 3 Sensitive Skin Disposable Razors 3 Pack (2.4%)</c:v>
                </c:pt>
              </c:strCache>
            </c:strRef>
          </c:cat>
          <c:val>
            <c:numRef>
              <c:f>Sheet1!$B$2:$B$11</c:f>
              <c:numCache>
                <c:formatCode>General</c:formatCode>
                <c:ptCount val="10"/>
                <c:pt idx="0">
                  <c:v>0.18217150298237886</c:v>
                </c:pt>
                <c:pt idx="1">
                  <c:v>0.1570824837435684</c:v>
                </c:pt>
                <c:pt idx="2">
                  <c:v>0.08543259050463062</c:v>
                </c:pt>
                <c:pt idx="3">
                  <c:v>0.06886940992372638</c:v>
                </c:pt>
                <c:pt idx="4">
                  <c:v>0.056772170094176344</c:v>
                </c:pt>
                <c:pt idx="5">
                  <c:v>0.04228063987109608</c:v>
                </c:pt>
                <c:pt idx="6">
                  <c:v>0.03928938218484863</c:v>
                </c:pt>
                <c:pt idx="7">
                  <c:v>0.03827318618772804</c:v>
                </c:pt>
                <c:pt idx="8">
                  <c:v>0.032227660777751126</c:v>
                </c:pt>
                <c:pt idx="9">
                  <c:v>0.03091653093038108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Equate Caliber 5 Disposable Razors 3 Pack (2.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quate Caliber 3 Disposable Razors 3 Pack (1.4%)</c:v>
                </c:pt>
                <c:pt idx="1">
                  <c:v>Equate Speed 3 Disposable Razors 4 Pack (2.3%)</c:v>
                </c:pt>
                <c:pt idx="2">
                  <c:v>Equate 2 Blade Disposable Razors 12 Pack (5.7%)</c:v>
                </c:pt>
                <c:pt idx="3">
                  <c:v>None Razors (12.2%)</c:v>
                </c:pt>
                <c:pt idx="4">
                  <c:v>Equate 2 Blade Disposable Razors 5 Pack (5.5%)</c:v>
                </c:pt>
                <c:pt idx="5">
                  <c:v>Schick Xtreme 3 Sensitive Disposable Razors 4 Pack (2.8%)</c:v>
                </c:pt>
                <c:pt idx="6">
                  <c:v>Bic Men Sensitive Single Blade Disposable Razors 12 Pack (5.7%)</c:v>
                </c:pt>
                <c:pt idx="7">
                  <c:v>Equate Speed 3 Disposable Razors 8 Pack (1.9%)</c:v>
                </c:pt>
                <c:pt idx="8">
                  <c:v>Schick Xtreme 2 Sensitive Disposable Razors 12 Pack (2.7%)</c:v>
                </c:pt>
                <c:pt idx="9">
                  <c:v>Equate Easy Fit 5 blades 1 Handle + 2 Cartridges (1.1%)</c:v>
                </c:pt>
              </c:strCache>
            </c:strRef>
          </c:cat>
          <c:val>
            <c:numRef>
              <c:f>Sheet1!$B$2:$B$11</c:f>
              <c:numCache>
                <c:formatCode>General</c:formatCode>
                <c:ptCount val="10"/>
                <c:pt idx="0">
                  <c:v>0.09228474377990459</c:v>
                </c:pt>
                <c:pt idx="1">
                  <c:v>0.08579272596886837</c:v>
                </c:pt>
                <c:pt idx="2">
                  <c:v>0.0730891826489196</c:v>
                </c:pt>
                <c:pt idx="3">
                  <c:v>0.06589606223436356</c:v>
                </c:pt>
                <c:pt idx="4">
                  <c:v>0.06374048836774761</c:v>
                </c:pt>
                <c:pt idx="5">
                  <c:v>0.05907647431252936</c:v>
                </c:pt>
                <c:pt idx="6">
                  <c:v>0.04968234184674584</c:v>
                </c:pt>
                <c:pt idx="7">
                  <c:v>0.04292781100085098</c:v>
                </c:pt>
                <c:pt idx="8">
                  <c:v>0.04174210353108873</c:v>
                </c:pt>
                <c:pt idx="9">
                  <c:v>0.03593583473712418</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Equate Caliber 5 Disposable Razors 3 Pack (2.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quate Caliber 3 Disposable Razors 3 Pack (1.4%)</c:v>
                </c:pt>
                <c:pt idx="1">
                  <c:v>Equate Speed 3 Disposable Razors 4 Pack (2.3%)</c:v>
                </c:pt>
                <c:pt idx="2">
                  <c:v>Equate 2 Blade Disposable Razors 12 Pack (5.7%)</c:v>
                </c:pt>
                <c:pt idx="3">
                  <c:v>Equate 2 Blade Disposable Razors 5 Pack (5.5%)</c:v>
                </c:pt>
                <c:pt idx="4">
                  <c:v>Bic Men Sensitive Single Blade Disposable Razors 12 Pack (5.7%)</c:v>
                </c:pt>
                <c:pt idx="5">
                  <c:v>Equate Speed 3 Disposable Razors 8 Pack (1.9%)</c:v>
                </c:pt>
                <c:pt idx="6">
                  <c:v>Bic Comfort 3 Sensitive Skin Disposable Razors 4 Pack (2.0%)</c:v>
                </c:pt>
                <c:pt idx="7">
                  <c:v>None Razors (12.2%)</c:v>
                </c:pt>
                <c:pt idx="8">
                  <c:v>Equate Easy Fit 5 blades 1 Handle + 2 Cartridges (1.1%)</c:v>
                </c:pt>
                <c:pt idx="9">
                  <c:v>Bic 3 Sensitive Disposable Razors 5 Pack (1.9%)</c:v>
                </c:pt>
              </c:strCache>
            </c:strRef>
          </c:cat>
          <c:val>
            <c:numRef>
              <c:f>Sheet1!$B$2:$B$11</c:f>
              <c:numCache>
                <c:formatCode>General</c:formatCode>
                <c:ptCount val="10"/>
                <c:pt idx="0">
                  <c:v>0.1805561379959983</c:v>
                </c:pt>
                <c:pt idx="1">
                  <c:v>0.12163128613948623</c:v>
                </c:pt>
                <c:pt idx="2">
                  <c:v>0.08966782278792286</c:v>
                </c:pt>
                <c:pt idx="3">
                  <c:v>0.07868326152881304</c:v>
                </c:pt>
                <c:pt idx="4">
                  <c:v>0.07795123067471846</c:v>
                </c:pt>
                <c:pt idx="5">
                  <c:v>0.056949975843400724</c:v>
                </c:pt>
                <c:pt idx="6">
                  <c:v>0.05005927836288256</c:v>
                </c:pt>
                <c:pt idx="7">
                  <c:v>0.047705063298869234</c:v>
                </c:pt>
                <c:pt idx="8">
                  <c:v>0.03452383296459022</c:v>
                </c:pt>
                <c:pt idx="9">
                  <c:v>0.0314072998617421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Equate Caliber 5 Disposable Razors 6 Pack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quate Caliber 5 Disposable Razors 3 Pack (2.2%)</c:v>
                </c:pt>
                <c:pt idx="1">
                  <c:v>Equate Speed 3 Disposable Razors 4 Pack (2.3%)</c:v>
                </c:pt>
                <c:pt idx="2">
                  <c:v>Equate Caliber 3 Disposable Razors 3 Pack (1.4%)</c:v>
                </c:pt>
                <c:pt idx="3">
                  <c:v>Equate Speed 3 Disposable Razors 8 Pack (1.9%)</c:v>
                </c:pt>
                <c:pt idx="4">
                  <c:v>Schick Xtreme 3 Sensitive Disposable Razors 4 Pack (2.8%)</c:v>
                </c:pt>
                <c:pt idx="5">
                  <c:v>Equate 2 Blade Disposable Razors 12 Pack (5.7%)</c:v>
                </c:pt>
                <c:pt idx="6">
                  <c:v>Bic Comfort 3 Sensitive Skin Disposable Razors 4 Pack (2.0%)</c:v>
                </c:pt>
                <c:pt idx="7">
                  <c:v>Bic Men Sensitive Single Blade Disposable Razors 12 Pack (5.7%)</c:v>
                </c:pt>
                <c:pt idx="8">
                  <c:v>Gillette Sensor 3 Sensitive Disposable Razors 4 Pack (2.3%)</c:v>
                </c:pt>
                <c:pt idx="9">
                  <c:v>Equate 2 Blade Disposable Razors 5 Pack (5.5%)</c:v>
                </c:pt>
              </c:strCache>
            </c:strRef>
          </c:cat>
          <c:val>
            <c:numRef>
              <c:f>Sheet1!$B$2:$B$11</c:f>
              <c:numCache>
                <c:formatCode>General</c:formatCode>
                <c:ptCount val="10"/>
                <c:pt idx="0">
                  <c:v>0.12621823620779338</c:v>
                </c:pt>
                <c:pt idx="1">
                  <c:v>0.07104782944200289</c:v>
                </c:pt>
                <c:pt idx="2">
                  <c:v>0.06310411659377962</c:v>
                </c:pt>
                <c:pt idx="3">
                  <c:v>0.061784518289148174</c:v>
                </c:pt>
                <c:pt idx="4">
                  <c:v>0.060259546942520996</c:v>
                </c:pt>
                <c:pt idx="5">
                  <c:v>0.043533121252621</c:v>
                </c:pt>
                <c:pt idx="6">
                  <c:v>0.04301329326826311</c:v>
                </c:pt>
                <c:pt idx="7">
                  <c:v>0.03959308235123348</c:v>
                </c:pt>
                <c:pt idx="8">
                  <c:v>0.038193018077726</c:v>
                </c:pt>
                <c:pt idx="9">
                  <c:v>0.03647272659906223</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Equate Caliber 5 Disposable Razors 6 Pack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quate Caliber 5 Disposable Razors 3 Pack (2.2%)</c:v>
                </c:pt>
                <c:pt idx="1">
                  <c:v>Equate Speed 3 Disposable Razors 8 Pack (1.9%)</c:v>
                </c:pt>
                <c:pt idx="2">
                  <c:v>Equate Speed 3 Disposable Razors 4 Pack (2.3%)</c:v>
                </c:pt>
                <c:pt idx="3">
                  <c:v>Equate Caliber 3 Disposable Razors 3 Pack (1.4%)</c:v>
                </c:pt>
                <c:pt idx="4">
                  <c:v>Schick Xtreme 3 Sensitive Disposable Razors 4 Pack (2.8%)</c:v>
                </c:pt>
                <c:pt idx="5">
                  <c:v>Gillette Sensor 3 Sensitive Disposable Razors 4 Pack (2.3%)</c:v>
                </c:pt>
                <c:pt idx="6">
                  <c:v>Bic Comfort 3 Sensitive Skin Disposable Razors 4 Pack (2.0%)</c:v>
                </c:pt>
                <c:pt idx="7">
                  <c:v>Bic Men Sensitive Single Blade Disposable Razors 12 Pack (5.7%)</c:v>
                </c:pt>
                <c:pt idx="8">
                  <c:v>Gillette Mach 3 Sensitive Skin Disposable Razors 3 Pack (2.4%)</c:v>
                </c:pt>
                <c:pt idx="9">
                  <c:v>None Razors (12.2%)</c:v>
                </c:pt>
              </c:strCache>
            </c:strRef>
          </c:cat>
          <c:val>
            <c:numRef>
              <c:f>Sheet1!$B$2:$B$11</c:f>
              <c:numCache>
                <c:formatCode>General</c:formatCode>
                <c:ptCount val="10"/>
                <c:pt idx="0">
                  <c:v>0.13069380763114927</c:v>
                </c:pt>
                <c:pt idx="1">
                  <c:v>0.06245898047257539</c:v>
                </c:pt>
                <c:pt idx="2">
                  <c:v>0.05918691540534413</c:v>
                </c:pt>
                <c:pt idx="3">
                  <c:v>0.053864066477484575</c:v>
                </c:pt>
                <c:pt idx="4">
                  <c:v>0.05058430193823882</c:v>
                </c:pt>
                <c:pt idx="5">
                  <c:v>0.047911619850479495</c:v>
                </c:pt>
                <c:pt idx="6">
                  <c:v>0.0420513635670855</c:v>
                </c:pt>
                <c:pt idx="7">
                  <c:v>0.04167040682733676</c:v>
                </c:pt>
                <c:pt idx="8">
                  <c:v>0.03982046128239163</c:v>
                </c:pt>
                <c:pt idx="9">
                  <c:v>0.03394153237020760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Equate Speed 3 Disposable Razors 4 Pack (2.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quate Speed 3 Disposable Razors 8 Pack (1.9%)</c:v>
                </c:pt>
                <c:pt idx="1">
                  <c:v>Equate 2 Blade Disposable Razors 12 Pack (5.7%)</c:v>
                </c:pt>
                <c:pt idx="2">
                  <c:v>Schick Xtreme 3 Sensitive Disposable Razors 4 Pack (2.8%)</c:v>
                </c:pt>
                <c:pt idx="3">
                  <c:v>Equate Caliber 5 Disposable Razors 3 Pack (2.2%)</c:v>
                </c:pt>
                <c:pt idx="4">
                  <c:v>Schick Xtreme 2 Sensitive Disposable Razors 12 Pack (2.7%)</c:v>
                </c:pt>
                <c:pt idx="5">
                  <c:v>Equate Caliber 3 Disposable Razors 3 Pack (1.4%)</c:v>
                </c:pt>
                <c:pt idx="6">
                  <c:v>Equate 2 Blade Disposable Razors 5 Pack (5.5%)</c:v>
                </c:pt>
                <c:pt idx="7">
                  <c:v>None Razors (12.2%)</c:v>
                </c:pt>
                <c:pt idx="8">
                  <c:v>Bic Men Sensitive Single Blade Disposable Razors 12 Pack (5.7%)</c:v>
                </c:pt>
                <c:pt idx="9">
                  <c:v>Gillette Mach 3 Sensitive Skin Disposable Razors 3 Pack (2.4%)</c:v>
                </c:pt>
              </c:strCache>
            </c:strRef>
          </c:cat>
          <c:val>
            <c:numRef>
              <c:f>Sheet1!$B$2:$B$11</c:f>
              <c:numCache>
                <c:formatCode>General</c:formatCode>
                <c:ptCount val="10"/>
                <c:pt idx="0">
                  <c:v>0.11261228188756305</c:v>
                </c:pt>
                <c:pt idx="1">
                  <c:v>0.083772440159878</c:v>
                </c:pt>
                <c:pt idx="2">
                  <c:v>0.07396983081527461</c:v>
                </c:pt>
                <c:pt idx="3">
                  <c:v>0.06985754251359337</c:v>
                </c:pt>
                <c:pt idx="4">
                  <c:v>0.061951118973809394</c:v>
                </c:pt>
                <c:pt idx="5">
                  <c:v>0.060921830295225535</c:v>
                </c:pt>
                <c:pt idx="6">
                  <c:v>0.05912206258756475</c:v>
                </c:pt>
                <c:pt idx="7">
                  <c:v>0.04956721830727163</c:v>
                </c:pt>
                <c:pt idx="8">
                  <c:v>0.045604663212723044</c:v>
                </c:pt>
                <c:pt idx="9">
                  <c:v>0.032918756178225664</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Equate Speed 3 Disposable Razors 4 Pack (2.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quate 2 Blade Disposable Razors 12 Pack (5.7%)</c:v>
                </c:pt>
                <c:pt idx="1">
                  <c:v>Equate Speed 3 Disposable Razors 8 Pack (1.9%)</c:v>
                </c:pt>
                <c:pt idx="2">
                  <c:v>Equate 2 Blade Disposable Razors 5 Pack (5.5%)</c:v>
                </c:pt>
                <c:pt idx="3">
                  <c:v>None Razors (12.2%)</c:v>
                </c:pt>
                <c:pt idx="4">
                  <c:v>Schick Xtreme 3 Sensitive Disposable Razors 4 Pack (2.8%)</c:v>
                </c:pt>
                <c:pt idx="5">
                  <c:v>Equate Caliber 5 Disposable Razors 3 Pack (2.2%)</c:v>
                </c:pt>
                <c:pt idx="6">
                  <c:v>Equate Caliber 3 Disposable Razors 3 Pack (1.4%)</c:v>
                </c:pt>
                <c:pt idx="7">
                  <c:v>Schick Xtreme 2 Sensitive Disposable Razors 12 Pack (2.7%)</c:v>
                </c:pt>
                <c:pt idx="8">
                  <c:v>Bic Men Sensitive Single Blade Disposable Razors 12 Pack (5.7%)</c:v>
                </c:pt>
                <c:pt idx="9">
                  <c:v>Gillette Mach 3 Sensitive Skin Disposable Razors 3 Pack (2.4%)</c:v>
                </c:pt>
              </c:strCache>
            </c:strRef>
          </c:cat>
          <c:val>
            <c:numRef>
              <c:f>Sheet1!$B$2:$B$11</c:f>
              <c:numCache>
                <c:formatCode>General</c:formatCode>
                <c:ptCount val="10"/>
                <c:pt idx="0">
                  <c:v>0.10236295211978802</c:v>
                </c:pt>
                <c:pt idx="1">
                  <c:v>0.0817532579596312</c:v>
                </c:pt>
                <c:pt idx="2">
                  <c:v>0.0703830462225925</c:v>
                </c:pt>
                <c:pt idx="3">
                  <c:v>0.06801785039962356</c:v>
                </c:pt>
                <c:pt idx="4">
                  <c:v>0.06509772405115488</c:v>
                </c:pt>
                <c:pt idx="5">
                  <c:v>0.06307568014106134</c:v>
                </c:pt>
                <c:pt idx="6">
                  <c:v>0.05483767283610048</c:v>
                </c:pt>
                <c:pt idx="7">
                  <c:v>0.05076878775830138</c:v>
                </c:pt>
                <c:pt idx="8">
                  <c:v>0.04911944629239991</c:v>
                </c:pt>
                <c:pt idx="9">
                  <c:v>0.03130889510871306</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Equate Speed 3 Disposable Razors 8 Pack (1.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quate Speed 3 Disposable Razors 4 Pack (2.3%)</c:v>
                </c:pt>
                <c:pt idx="1">
                  <c:v>Equate Caliber 5 Disposable Razors 3 Pack (2.2%)</c:v>
                </c:pt>
                <c:pt idx="2">
                  <c:v>Equate Caliber 3 Disposable Razors 3 Pack (1.4%)</c:v>
                </c:pt>
                <c:pt idx="3">
                  <c:v>Equate 2 Blade Disposable Razors 12 Pack (5.7%)</c:v>
                </c:pt>
                <c:pt idx="4">
                  <c:v>Bic Men Sensitive Single Blade Disposable Razors 12 Pack (5.7%)</c:v>
                </c:pt>
                <c:pt idx="5">
                  <c:v>Equate 2 Blade Disposable Razors 5 Pack (5.5%)</c:v>
                </c:pt>
                <c:pt idx="6">
                  <c:v>Bic Comfort 3 Sensitive Skin Disposable Razors 4 Pack (2.0%)</c:v>
                </c:pt>
                <c:pt idx="7">
                  <c:v>None Razors (12.2%)</c:v>
                </c:pt>
                <c:pt idx="8">
                  <c:v>Schick Xtreme 3 Sensitive Disposable Razors 4 Pack (2.8%)</c:v>
                </c:pt>
                <c:pt idx="9">
                  <c:v>Bic 3 Sensitive Disposable Razors 5 Pack (1.9%)</c:v>
                </c:pt>
              </c:strCache>
            </c:strRef>
          </c:cat>
          <c:val>
            <c:numRef>
              <c:f>Sheet1!$B$2:$B$11</c:f>
              <c:numCache>
                <c:formatCode>General</c:formatCode>
                <c:ptCount val="10"/>
                <c:pt idx="0">
                  <c:v>0.22457724258780068</c:v>
                </c:pt>
                <c:pt idx="1">
                  <c:v>0.10824482738226712</c:v>
                </c:pt>
                <c:pt idx="2">
                  <c:v>0.09669727687681372</c:v>
                </c:pt>
                <c:pt idx="3">
                  <c:v>0.0949820780760523</c:v>
                </c:pt>
                <c:pt idx="4">
                  <c:v>0.08697960897194372</c:v>
                </c:pt>
                <c:pt idx="5">
                  <c:v>0.06587048649348072</c:v>
                </c:pt>
                <c:pt idx="6">
                  <c:v>0.03426374479838135</c:v>
                </c:pt>
                <c:pt idx="7">
                  <c:v>0.03368685643692635</c:v>
                </c:pt>
                <c:pt idx="8">
                  <c:v>0.03197873425132422</c:v>
                </c:pt>
                <c:pt idx="9">
                  <c:v>0.02817400792022374</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Equate Speed 3 Disposable Razors 8 Pack (1.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quate Speed 3 Disposable Razors 4 Pack (2.3%)</c:v>
                </c:pt>
                <c:pt idx="1">
                  <c:v>Equate Caliber 5 Disposable Razors 3 Pack (2.2%)</c:v>
                </c:pt>
                <c:pt idx="2">
                  <c:v>Equate Caliber 3 Disposable Razors 3 Pack (1.4%)</c:v>
                </c:pt>
                <c:pt idx="3">
                  <c:v>Bic Men Sensitive Single Blade Disposable Razors 12 Pack (5.7%)</c:v>
                </c:pt>
                <c:pt idx="4">
                  <c:v>Equate 2 Blade Disposable Razors 12 Pack (5.7%)</c:v>
                </c:pt>
                <c:pt idx="5">
                  <c:v>Equate 2 Blade Disposable Razors 5 Pack (5.5%)</c:v>
                </c:pt>
                <c:pt idx="6">
                  <c:v>Schick Xtreme 3 Sensitive Disposable Razors 4 Pack (2.8%)</c:v>
                </c:pt>
                <c:pt idx="7">
                  <c:v>Schick Xtreme 2 Sensitive Disposable Razors 12 Pack (2.7%)</c:v>
                </c:pt>
                <c:pt idx="8">
                  <c:v>Bic Comfort 3 Sensitive Skin Disposable Razors 4 Pack (2.0%)</c:v>
                </c:pt>
                <c:pt idx="9">
                  <c:v>None Razors (12.2%)</c:v>
                </c:pt>
              </c:strCache>
            </c:strRef>
          </c:cat>
          <c:val>
            <c:numRef>
              <c:f>Sheet1!$B$2:$B$11</c:f>
              <c:numCache>
                <c:formatCode>General</c:formatCode>
                <c:ptCount val="10"/>
                <c:pt idx="0">
                  <c:v>0.25789667602669564</c:v>
                </c:pt>
                <c:pt idx="1">
                  <c:v>0.11497012026024604</c:v>
                </c:pt>
                <c:pt idx="2">
                  <c:v>0.09052968150511492</c:v>
                </c:pt>
                <c:pt idx="3">
                  <c:v>0.08760864511385592</c:v>
                </c:pt>
                <c:pt idx="4">
                  <c:v>0.06575065739345888</c:v>
                </c:pt>
                <c:pt idx="5">
                  <c:v>0.04254758231765115</c:v>
                </c:pt>
                <c:pt idx="6">
                  <c:v>0.0418570854236152</c:v>
                </c:pt>
                <c:pt idx="7">
                  <c:v>0.03700260871829205</c:v>
                </c:pt>
                <c:pt idx="8">
                  <c:v>0.03254439983510917</c:v>
                </c:pt>
                <c:pt idx="9">
                  <c:v>0.027727252203727976</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Equate 5 Blades 1 Handle + 2 Cartridges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quate 2 Blade Disposable Razors 12 Pack (5.7%)</c:v>
                </c:pt>
                <c:pt idx="1">
                  <c:v>Equate 2 Blade Disposable Razors 5 Pack (5.5%)</c:v>
                </c:pt>
                <c:pt idx="2">
                  <c:v>Schick Hydro 5 Blade Sensitive 1 Handle + 3 Cartridges (2.0%)</c:v>
                </c:pt>
                <c:pt idx="3">
                  <c:v>None Razors (12.2%)</c:v>
                </c:pt>
                <c:pt idx="4">
                  <c:v>Dollar Shave Club 6 1 Handle + 2 Blades (2.0%)</c:v>
                </c:pt>
                <c:pt idx="5">
                  <c:v>Equate Speed 3 Disposable Razors 4 Pack (2.3%)</c:v>
                </c:pt>
                <c:pt idx="6">
                  <c:v>Equate Caliber 5 Disposable Razors 3 Pack (2.2%)</c:v>
                </c:pt>
                <c:pt idx="7">
                  <c:v>Schick Xtreme 3 Sensitive Disposable Razors 4 Pack (2.8%)</c:v>
                </c:pt>
                <c:pt idx="8">
                  <c:v>Equate Easy Fit 5 blades 1 Handle + 2 Cartridges (1.1%)</c:v>
                </c:pt>
                <c:pt idx="9">
                  <c:v>Harry's 5 Blade 1 Handle + 2 Cartridges (3.9%)</c:v>
                </c:pt>
              </c:strCache>
            </c:strRef>
          </c:cat>
          <c:val>
            <c:numRef>
              <c:f>Sheet1!$B$2:$B$11</c:f>
              <c:numCache>
                <c:formatCode>General</c:formatCode>
                <c:ptCount val="10"/>
                <c:pt idx="0">
                  <c:v>0.12425833871892039</c:v>
                </c:pt>
                <c:pt idx="1">
                  <c:v>0.08346546002214678</c:v>
                </c:pt>
                <c:pt idx="2">
                  <c:v>0.07863344115050494</c:v>
                </c:pt>
                <c:pt idx="3">
                  <c:v>0.06224395681942336</c:v>
                </c:pt>
                <c:pt idx="4">
                  <c:v>0.05661169419606779</c:v>
                </c:pt>
                <c:pt idx="5">
                  <c:v>0.05481767152341243</c:v>
                </c:pt>
                <c:pt idx="6">
                  <c:v>0.04853904220688723</c:v>
                </c:pt>
                <c:pt idx="7">
                  <c:v>0.045710860840196335</c:v>
                </c:pt>
                <c:pt idx="8">
                  <c:v>0.045265857017885366</c:v>
                </c:pt>
                <c:pt idx="9">
                  <c:v>0.04369210294545866</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7E4FEC7-1946-46A4-BF3A-0CC380E1E04D}" type="datetimeFigureOut">
              <a:rPr lang="en-AE" smtClean="0"/>
              <a:t>15/08/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63A33ED-5EC6-46F3-8BE0-B5A7A4618F93}" type="slidenum">
              <a:rPr lang="en-AE" smtClean="0"/>
              <a:t>‹#›</a:t>
            </a:fld>
            <a:endParaRPr lang="en-AE"/>
          </a:p>
        </p:txBody>
      </p:sp>
    </p:spTree>
    <p:extLst>
      <p:ext uri="{BB962C8B-B14F-4D97-AF65-F5344CB8AC3E}">
        <p14:creationId xmlns:p14="http://schemas.microsoft.com/office/powerpoint/2010/main" val="85976483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8.jpeg"/><Relationship Id="rId3" Type="http://schemas.openxmlformats.org/officeDocument/2006/relationships/image" Target="../media/image29.png"/><Relationship Id="rId4" Type="http://schemas.microsoft.com/office/2007/relationships/hdphoto" Target="../media/hdphoto1.wdp"/><Relationship Id="rId5" Type="http://schemas.openxmlformats.org/officeDocument/2006/relationships/image" Target="../media/image30.png"/><Relationship Id="rId6" Type="http://schemas.microsoft.com/office/2007/relationships/hdphoto" Target="../media/hdphoto2.wdp"/></Relationships>
</file>

<file path=ppt/slideLayouts/_rels/slideLayout26.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31.emf"/><Relationship Id="rId5" Type="http://schemas.openxmlformats.org/officeDocument/2006/relationships/image" Target="../media/image32.jpeg"/><Relationship Id="rId6" Type="http://schemas.openxmlformats.org/officeDocument/2006/relationships/image" Target="../media/image33.png"/><Relationship Id="rId7" Type="http://schemas.microsoft.com/office/2007/relationships/hdphoto" Target="../media/hdphoto3.wdp"/></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6.emf"/></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30.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7.emf"/></Relationships>
</file>

<file path=ppt/slideLayouts/_rels/slideLayout31.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8.emf"/></Relationships>
</file>

<file path=ppt/slideLayouts/_rels/slideLayout32.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9.emf"/></Relationships>
</file>

<file path=ppt/slideLayouts/_rels/slideLayout33.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10.emf"/></Relationships>
</file>

<file path=ppt/slideLayouts/_rels/slideLayout34.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11.emf"/></Relationships>
</file>

<file path=ppt/slideLayouts/_rels/slideLayout35.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12.emf"/></Relationships>
</file>

<file path=ppt/slideLayouts/_rels/slideLayout36.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13.emf"/></Relationships>
</file>

<file path=ppt/slideLayouts/_rels/slideLayout37.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14.emf"/></Relationships>
</file>

<file path=ppt/slideLayouts/_rels/slideLayout38.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15.emf"/></Relationships>
</file>

<file path=ppt/slideLayouts/_rels/slideLayout39.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16.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40.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17.emf"/></Relationships>
</file>

<file path=ppt/slideLayouts/_rels/slideLayout41.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18.emf"/></Relationships>
</file>

<file path=ppt/slideLayouts/_rels/slideLayout42.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19.emf"/></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23.emf"/></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34.emf"/><Relationship Id="rId5" Type="http://schemas.openxmlformats.org/officeDocument/2006/relationships/image" Target="../media/image30.png"/><Relationship Id="rId6" Type="http://schemas.microsoft.com/office/2007/relationships/hdphoto" Target="../media/hdphoto4.wdp"/><Relationship Id="rId7" Type="http://schemas.openxmlformats.org/officeDocument/2006/relationships/image" Target="../media/image29.png"/><Relationship Id="rId8" Type="http://schemas.microsoft.com/office/2007/relationships/hdphoto" Target="../media/hdphoto1.wdp"/></Relationships>
</file>

<file path=ppt/slideLayouts/_rels/slideLayout4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35.emf"/><Relationship Id="rId5" Type="http://schemas.openxmlformats.org/officeDocument/2006/relationships/image" Target="../media/image36.png"/><Relationship Id="rId6" Type="http://schemas.microsoft.com/office/2007/relationships/hdphoto" Target="../media/hdphoto5.wdp"/></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5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Master" Target="../slideMasters/slideMaster2.xml"/><Relationship Id="rId3" Type="http://schemas.openxmlformats.org/officeDocument/2006/relationships/oleObject" Target="../embeddings/oleObject29.bin"/><Relationship Id="rId4" Type="http://schemas.openxmlformats.org/officeDocument/2006/relationships/image" Target="../media/image37.emf"/><Relationship Id="rId5" Type="http://schemas.openxmlformats.org/officeDocument/2006/relationships/image" Target="../media/image38.jpeg"/><Relationship Id="rId6" Type="http://schemas.openxmlformats.org/officeDocument/2006/relationships/image" Target="../media/image39.png"/><Relationship Id="rId7" Type="http://schemas.microsoft.com/office/2007/relationships/hdphoto" Target="../media/hdphoto6.wdp"/></Relationships>
</file>

<file path=ppt/slideLayouts/_rels/slideLayout5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Master" Target="../slideMasters/slideMaster2.xml"/><Relationship Id="rId3" Type="http://schemas.openxmlformats.org/officeDocument/2006/relationships/oleObject" Target="../embeddings/oleObject29.bin"/><Relationship Id="rId4" Type="http://schemas.openxmlformats.org/officeDocument/2006/relationships/image" Target="../media/image40.emf"/><Relationship Id="rId5" Type="http://schemas.openxmlformats.org/officeDocument/2006/relationships/image" Target="../media/image41.jpeg"/><Relationship Id="rId6" Type="http://schemas.openxmlformats.org/officeDocument/2006/relationships/hyperlink" Target="https://pixabay.com/en/coffee-table-cup-break-2725265/" TargetMode="External"/><Relationship Id="rId7" Type="http://schemas.openxmlformats.org/officeDocument/2006/relationships/image" Target="../media/image42.png"/><Relationship Id="rId8" Type="http://schemas.microsoft.com/office/2007/relationships/hdphoto" Target="../media/hdphoto7.wdp"/></Relationships>
</file>

<file path=ppt/slideLayouts/_rels/slideLayout5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Master" Target="../slideMasters/slideMaster2.xml"/><Relationship Id="rId3" Type="http://schemas.openxmlformats.org/officeDocument/2006/relationships/oleObject" Target="../embeddings/oleObject29.bin"/><Relationship Id="rId4" Type="http://schemas.openxmlformats.org/officeDocument/2006/relationships/image" Target="../media/image43.emf"/><Relationship Id="rId5" Type="http://schemas.openxmlformats.org/officeDocument/2006/relationships/image" Target="../media/image44.jpeg"/><Relationship Id="rId6" Type="http://schemas.openxmlformats.org/officeDocument/2006/relationships/image" Target="../media/image30.png"/><Relationship Id="rId7" Type="http://schemas.microsoft.com/office/2007/relationships/hdphoto" Target="../media/hdphoto8.wdp"/><Relationship Id="rId8" Type="http://schemas.openxmlformats.org/officeDocument/2006/relationships/image" Target="../media/image29.png"/><Relationship Id="rId9" Type="http://schemas.microsoft.com/office/2007/relationships/hdphoto" Target="../media/hdphoto1.wdp"/></Relationships>
</file>

<file path=ppt/slideLayouts/_rels/slideLayout5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45.emf"/><Relationship Id="rId5" Type="http://schemas.openxmlformats.org/officeDocument/2006/relationships/image" Target="../media/image46.jpeg"/><Relationship Id="rId6" Type="http://schemas.openxmlformats.org/officeDocument/2006/relationships/image" Target="../media/image47.png"/><Relationship Id="rId7" Type="http://schemas.microsoft.com/office/2007/relationships/hdphoto" Target="../media/hdphoto9.wdp"/></Relationships>
</file>

<file path=ppt/slideLayouts/_rels/slideLayout5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45.emf"/><Relationship Id="rId5" Type="http://schemas.openxmlformats.org/officeDocument/2006/relationships/image" Target="../media/image48.jpeg"/><Relationship Id="rId6" Type="http://schemas.openxmlformats.org/officeDocument/2006/relationships/image" Target="../media/image49.png"/><Relationship Id="rId7" Type="http://schemas.microsoft.com/office/2007/relationships/hdphoto" Target="../media/hdphoto10.wdp"/></Relationships>
</file>

<file path=ppt/slideLayouts/_rels/slideLayout5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Master" Target="../slideMasters/slideMaster2.xml"/><Relationship Id="rId3" Type="http://schemas.openxmlformats.org/officeDocument/2006/relationships/image" Target="../media/image50.jpeg"/><Relationship Id="rId4" Type="http://schemas.openxmlformats.org/officeDocument/2006/relationships/image" Target="../media/image51.jpeg"/><Relationship Id="rId5" Type="http://schemas.openxmlformats.org/officeDocument/2006/relationships/oleObject" Target="../embeddings/oleObject28.bin"/><Relationship Id="rId6" Type="http://schemas.openxmlformats.org/officeDocument/2006/relationships/image" Target="../media/image45.emf"/><Relationship Id="rId7" Type="http://schemas.openxmlformats.org/officeDocument/2006/relationships/image" Target="../media/image52.png"/><Relationship Id="rId8" Type="http://schemas.microsoft.com/office/2007/relationships/hdphoto" Target="../media/hdphoto11.wdp"/></Relationships>
</file>

<file path=ppt/slideLayouts/_rels/slideLayout5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53.emf"/><Relationship Id="rId5" Type="http://schemas.openxmlformats.org/officeDocument/2006/relationships/image" Target="../media/image32.jpeg"/><Relationship Id="rId6" Type="http://schemas.openxmlformats.org/officeDocument/2006/relationships/image" Target="../media/image33.png"/><Relationship Id="rId7" Type="http://schemas.microsoft.com/office/2007/relationships/hdphoto" Target="../media/hdphoto3.wdp"/></Relationships>
</file>

<file path=ppt/slideLayouts/_rels/slideLayout5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54.emf"/><Relationship Id="rId5" Type="http://schemas.openxmlformats.org/officeDocument/2006/relationships/image" Target="../media/image55.jpeg"/><Relationship Id="rId6" Type="http://schemas.openxmlformats.org/officeDocument/2006/relationships/image" Target="../media/image56.png"/><Relationship Id="rId7" Type="http://schemas.microsoft.com/office/2007/relationships/hdphoto" Target="../media/hdphoto12.wdp"/></Relationships>
</file>

<file path=ppt/slideLayouts/_rels/slideLayout5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57.emf"/><Relationship Id="rId5" Type="http://schemas.openxmlformats.org/officeDocument/2006/relationships/image" Target="../media/image58.jpeg"/><Relationship Id="rId6" Type="http://schemas.openxmlformats.org/officeDocument/2006/relationships/image" Target="../media/image59.png"/><Relationship Id="rId7" Type="http://schemas.microsoft.com/office/2007/relationships/hdphoto" Target="../media/hdphoto13.wdp"/></Relationships>
</file>

<file path=ppt/slideLayouts/_rels/slideLayout5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60.emf"/><Relationship Id="rId5" Type="http://schemas.openxmlformats.org/officeDocument/2006/relationships/image" Target="../media/image61.jpeg"/><Relationship Id="rId6" Type="http://schemas.openxmlformats.org/officeDocument/2006/relationships/image" Target="../media/image62.png"/><Relationship Id="rId7" Type="http://schemas.microsoft.com/office/2007/relationships/hdphoto" Target="../media/hdphoto14.wdp"/></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60.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63.emf"/><Relationship Id="rId5" Type="http://schemas.openxmlformats.org/officeDocument/2006/relationships/image" Target="../media/image64.jpeg"/><Relationship Id="rId6" Type="http://schemas.openxmlformats.org/officeDocument/2006/relationships/image" Target="../media/image65.png"/><Relationship Id="rId7" Type="http://schemas.microsoft.com/office/2007/relationships/hdphoto" Target="../media/hdphoto15.wdp"/></Relationships>
</file>

<file path=ppt/slideLayouts/_rels/slideLayout6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66.emf"/><Relationship Id="rId5" Type="http://schemas.openxmlformats.org/officeDocument/2006/relationships/image" Target="../media/image67.jpeg"/><Relationship Id="rId6" Type="http://schemas.openxmlformats.org/officeDocument/2006/relationships/image" Target="../media/image68.png"/><Relationship Id="rId7" Type="http://schemas.microsoft.com/office/2007/relationships/hdphoto" Target="../media/hdphoto16.wdp"/></Relationships>
</file>

<file path=ppt/slideLayouts/_rels/slideLayout6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69.emf"/><Relationship Id="rId5" Type="http://schemas.openxmlformats.org/officeDocument/2006/relationships/image" Target="../media/image70.jpeg"/><Relationship Id="rId6" Type="http://schemas.openxmlformats.org/officeDocument/2006/relationships/image" Target="../media/image71.png"/><Relationship Id="rId7" Type="http://schemas.microsoft.com/office/2007/relationships/hdphoto" Target="../media/hdphoto17.wdp"/></Relationships>
</file>

<file path=ppt/slideLayouts/_rels/slideLayout63.xml.rels><?xml version='1.0' encoding='UTF-8' standalone='yes'?>
<Relationships xmlns="http://schemas.openxmlformats.org/package/2006/relationships"><Relationship Id="rId1" Type="http://schemas.openxmlformats.org/officeDocument/2006/relationships/tags" Target="../tags/tag60.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72.emf"/><Relationship Id="rId5" Type="http://schemas.openxmlformats.org/officeDocument/2006/relationships/image" Target="../media/image73.jpeg"/><Relationship Id="rId6" Type="http://schemas.openxmlformats.org/officeDocument/2006/relationships/image" Target="../media/image74.png"/><Relationship Id="rId7" Type="http://schemas.microsoft.com/office/2007/relationships/hdphoto" Target="../media/hdphoto18.wdp"/></Relationships>
</file>

<file path=ppt/slideLayouts/_rels/slideLayout64.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75.emf"/><Relationship Id="rId5" Type="http://schemas.openxmlformats.org/officeDocument/2006/relationships/image" Target="../media/image76.jpeg"/><Relationship Id="rId6" Type="http://schemas.openxmlformats.org/officeDocument/2006/relationships/image" Target="../media/image77.png"/><Relationship Id="rId7" Type="http://schemas.microsoft.com/office/2007/relationships/hdphoto" Target="../media/hdphoto19.wdp"/></Relationships>
</file>

<file path=ppt/slideLayouts/_rels/slideLayout65.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78.emf"/><Relationship Id="rId5" Type="http://schemas.openxmlformats.org/officeDocument/2006/relationships/image" Target="../media/image79.jpeg"/><Relationship Id="rId6" Type="http://schemas.openxmlformats.org/officeDocument/2006/relationships/image" Target="../media/image80.png"/><Relationship Id="rId7" Type="http://schemas.microsoft.com/office/2007/relationships/hdphoto" Target="../media/hdphoto20.wdp"/></Relationships>
</file>

<file path=ppt/slideLayouts/_rels/slideLayout66.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78.emf"/><Relationship Id="rId5" Type="http://schemas.openxmlformats.org/officeDocument/2006/relationships/image" Target="../media/image81.jpeg"/><Relationship Id="rId6" Type="http://schemas.openxmlformats.org/officeDocument/2006/relationships/image" Target="../media/image82.png"/><Relationship Id="rId7" Type="http://schemas.microsoft.com/office/2007/relationships/hdphoto" Target="../media/hdphoto21.wdp"/></Relationships>
</file>

<file path=ppt/slideLayouts/_rels/slideLayout67.xml.rels><?xml version='1.0' encoding='UTF-8' standalone='yes'?>
<Relationships xmlns="http://schemas.openxmlformats.org/package/2006/relationships"><Relationship Id="rId1" Type="http://schemas.openxmlformats.org/officeDocument/2006/relationships/tags" Target="../tags/tag64.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78.emf"/><Relationship Id="rId5" Type="http://schemas.openxmlformats.org/officeDocument/2006/relationships/image" Target="../media/image83.jpeg"/><Relationship Id="rId6" Type="http://schemas.openxmlformats.org/officeDocument/2006/relationships/image" Target="../media/image84.png"/><Relationship Id="rId7" Type="http://schemas.microsoft.com/office/2007/relationships/hdphoto" Target="../media/hdphoto22.wdp"/></Relationships>
</file>

<file path=ppt/slideLayouts/_rels/slideLayout68.xml.rels><?xml version='1.0' encoding='UTF-8' standalone='yes'?>
<Relationships xmlns="http://schemas.openxmlformats.org/package/2006/relationships"><Relationship Id="rId1" Type="http://schemas.openxmlformats.org/officeDocument/2006/relationships/tags" Target="../tags/tag65.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78.emf"/><Relationship Id="rId5" Type="http://schemas.openxmlformats.org/officeDocument/2006/relationships/image" Target="../media/image85.jpeg"/><Relationship Id="rId6" Type="http://schemas.openxmlformats.org/officeDocument/2006/relationships/image" Target="../media/image86.png"/><Relationship Id="rId7" Type="http://schemas.microsoft.com/office/2007/relationships/hdphoto" Target="../media/hdphoto23.wdp"/></Relationships>
</file>

<file path=ppt/slideLayouts/_rels/slideLayout69.xml.rels><?xml version='1.0' encoding='UTF-8' standalone='yes'?>
<Relationships xmlns="http://schemas.openxmlformats.org/package/2006/relationships"><Relationship Id="rId1" Type="http://schemas.openxmlformats.org/officeDocument/2006/relationships/tags" Target="../tags/tag66.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87.emf"/><Relationship Id="rId5" Type="http://schemas.openxmlformats.org/officeDocument/2006/relationships/image" Target="../media/image88.png"/><Relationship Id="rId6" Type="http://schemas.microsoft.com/office/2007/relationships/hdphoto" Target="../media/hdphoto24.wdp"/><Relationship Id="rId7" Type="http://schemas.openxmlformats.org/officeDocument/2006/relationships/image" Target="../media/image89.png"/><Relationship Id="rId8" Type="http://schemas.microsoft.com/office/2007/relationships/hdphoto" Target="../media/hdphoto25.wdp"/></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70.xml.rels><?xml version='1.0' encoding='UTF-8' standalone='yes'?>
<Relationships xmlns="http://schemas.openxmlformats.org/package/2006/relationships"><Relationship Id="rId1" Type="http://schemas.openxmlformats.org/officeDocument/2006/relationships/tags" Target="../tags/tag67.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78.emf"/></Relationships>
</file>

<file path=ppt/slideLayouts/_rels/slideLayout71.xml.rels><?xml version='1.0' encoding='UTF-8' standalone='yes'?>
<Relationships xmlns="http://schemas.openxmlformats.org/package/2006/relationships"><Relationship Id="rId1" Type="http://schemas.openxmlformats.org/officeDocument/2006/relationships/tags" Target="../tags/tag68.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90.emf"/><Relationship Id="rId5" Type="http://schemas.openxmlformats.org/officeDocument/2006/relationships/image" Target="../media/image36.png"/><Relationship Id="rId6" Type="http://schemas.microsoft.com/office/2007/relationships/hdphoto" Target="../media/hdphoto5.wdp"/><Relationship Id="rId7" Type="http://schemas.openxmlformats.org/officeDocument/2006/relationships/image" Target="../media/image91.png"/><Relationship Id="rId8" Type="http://schemas.openxmlformats.org/officeDocument/2006/relationships/image" Target="../media/image92.svg"/></Relationships>
</file>

<file path=ppt/slideLayouts/_rels/slideLayout72.xml.rels><?xml version='1.0' encoding='UTF-8' standalone='yes'?>
<Relationships xmlns="http://schemas.openxmlformats.org/package/2006/relationships"><Relationship Id="rId1" Type="http://schemas.openxmlformats.org/officeDocument/2006/relationships/tags" Target="../tags/tag69.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25.emf"/></Relationships>
</file>

<file path=ppt/slideLayouts/_rels/slideLayout73.xml.rels><?xml version='1.0' encoding='UTF-8' standalone='yes'?>
<Relationships xmlns="http://schemas.openxmlformats.org/package/2006/relationships"><Relationship Id="rId1" Type="http://schemas.openxmlformats.org/officeDocument/2006/relationships/tags" Target="../tags/tag70.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26.emf"/><Relationship Id="rId5" Type="http://schemas.openxmlformats.org/officeDocument/2006/relationships/image" Target="../media/image27.png"/></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dirty="0"/>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187509286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3AB98CB-06B7-4C65-9E02-BEEE6E61DF62}" type="datetime1">
              <a:rPr lang="en-US" smtClean="0"/>
              <a:t>8/1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85252109"/>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FAB388A-ED08-4D70-9381-EF79C455AE67}" type="datetime1">
              <a:rPr lang="en-US" smtClean="0"/>
              <a:t>8/1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69220826"/>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65112B76-70A0-4115-8900-889D5A83801C}" type="datetime1">
              <a:rPr lang="en-US" smtClean="0"/>
              <a:t>8/1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3369201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80F50A8-76F6-4FEC-A481-86C5F9A60B95}" type="datetime1">
              <a:rPr lang="en-US" smtClean="0"/>
              <a:t>8/1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8907934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F79B494-81C0-4607-A101-A9F0F2B1A700}" type="datetime1">
              <a:rPr lang="en-US" smtClean="0"/>
              <a:t>8/1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0188036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65D7BEAC-B30B-4CA2-A6BD-C605B0B9FAD7}" type="datetime1">
              <a:rPr lang="en-US" smtClean="0"/>
              <a:t>8/1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275530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CF0B625-A800-414A-B28B-3AA862F3720D}" type="datetime1">
              <a:rPr lang="en-US" smtClean="0"/>
              <a:t>8/1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441265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03A3020-DBBA-4AD9-AE41-AC0096CB7CE1}" type="datetime1">
              <a:rPr lang="en-US" smtClean="0"/>
              <a:t>8/1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5285202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41E1A4D5-9BDD-4A27-BB6C-42806A339EE1}" type="datetime1">
              <a:rPr lang="en-US" smtClean="0"/>
              <a:t>8/15/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36643931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4AD229C-8797-425C-A3C7-306ACA9CFD16}" type="datetime1">
              <a:rPr lang="en-US" smtClean="0"/>
              <a:t>8/15/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81894132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3F8EB868-A258-42E4-923E-04164F26A5A9}" type="datetime1">
              <a:rPr lang="en-US" smtClean="0"/>
              <a:t>8/15/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74079840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2B0EF708-810B-4D26-8670-27DA56CC3A74}" type="datetime1">
              <a:rPr lang="en-US" smtClean="0"/>
              <a:t>8/15/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62958448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323FCDC5-3FFA-457B-BD72-3C960BEDEEF1}" type="datetime1">
              <a:rPr lang="en-US" smtClean="0"/>
              <a:t>8/15/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4806613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CB35B673-B8CA-4034-B5C9-DD64E63364ED}" type="datetime1">
              <a:rPr lang="en-US" smtClean="0"/>
              <a:t>8/15/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104120797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4774714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F1E58F97-CFCE-4020-BB89-61CBB53122EE}" type="datetime1">
              <a:rPr lang="en-US" smtClean="0"/>
              <a:t>8/15/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143728535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Do Not Us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18098" y="678596"/>
            <a:ext cx="5955994" cy="378630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9" name="Rectangle 8">
            <a:extLst>
              <a:ext uri="{FF2B5EF4-FFF2-40B4-BE49-F238E27FC236}">
                <a16:creationId xmlns:a16="http://schemas.microsoft.com/office/drawing/2014/main" id="{6874D47D-FF40-4551-270D-61337AB0484F}"/>
              </a:ext>
            </a:extLst>
          </p:cNvPr>
          <p:cNvSpPr/>
          <p:nvPr/>
        </p:nvSpPr>
        <p:spPr>
          <a:xfrm>
            <a:off x="-1" y="672615"/>
            <a:ext cx="5955994" cy="3786307"/>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indent="0" algn="ctr" fontAlgn="auto">
              <a:lnSpc>
                <a:spcPct val="100000"/>
              </a:lnSpc>
              <a:spcBef>
                <a:spcPts val="0"/>
              </a:spcBef>
              <a:spcAft>
                <a:spcPts val="0"/>
              </a:spcAft>
              <a:buClrTx/>
              <a:buSzTx/>
              <a:buFontTx/>
              <a:buNone/>
              <a:tabLst/>
            </a:pPr>
            <a:endParaRPr kumimoji="0" lang="en-US" sz="1200" b="1" i="0" u="none" strike="noStrike" cap="none" spc="0" normalizeH="0" baseline="0" noProof="0">
              <a:ln>
                <a:noFill/>
              </a:ln>
              <a:solidFill>
                <a:srgbClr val="575555"/>
              </a:solidFill>
              <a:effectLst/>
              <a:uLnTx/>
              <a:uFillTx/>
              <a:latin typeface="Nexa Bold" panose="00000800000000000000" pitchFamily="2" charset="0"/>
            </a:endParaRPr>
          </a:p>
        </p:txBody>
      </p:sp>
      <p:pic>
        <p:nvPicPr>
          <p:cNvPr id="10" name="Picture 9">
            <a:extLst>
              <a:ext uri="{FF2B5EF4-FFF2-40B4-BE49-F238E27FC236}">
                <a16:creationId xmlns:a16="http://schemas.microsoft.com/office/drawing/2014/main" id="{D05B9309-AED6-0180-78B1-87A05603AAB3}"/>
              </a:ext>
            </a:extLst>
          </p:cNvPr>
          <p:cNvPicPr>
            <a:picLocks noChangeAspect="1"/>
          </p:cNvPicPr>
          <p:nvPr/>
        </p:nvPicPr>
        <p:blipFill rotWithShape="1">
          <a:blip r:embed="rId3" cstate="email">
            <a:extLst>
              <a:ext uri="{BEBA8EAE-BF5A-486C-A8C5-ECC9F3942E4B}">
                <a14:imgProps xmlns:a14="http://schemas.microsoft.com/office/drawing/2010/main">
                  <a14:imgLayer r:embed="rId4">
                    <a14:imgEffect>
                      <a14:artisticBlur/>
                    </a14:imgEffect>
                  </a14:imgLayer>
                </a14:imgProps>
              </a:ext>
              <a:ext uri="{28A0092B-C50C-407E-A947-70E740481C1C}">
                <a14:useLocalDpi xmlns:a14="http://schemas.microsoft.com/office/drawing/2010/main"/>
              </a:ext>
            </a:extLst>
          </a:blip>
          <a:srcRect/>
          <a:stretch/>
        </p:blipFill>
        <p:spPr>
          <a:xfrm>
            <a:off x="4850202" y="-1"/>
            <a:ext cx="4291172" cy="5138737"/>
          </a:xfrm>
          <a:custGeom>
            <a:avLst/>
            <a:gdLst>
              <a:gd name="connsiteX0" fmla="*/ 1105916 w 5721563"/>
              <a:gd name="connsiteY0" fmla="*/ 0 h 6851649"/>
              <a:gd name="connsiteX1" fmla="*/ 5721563 w 5721563"/>
              <a:gd name="connsiteY1" fmla="*/ 0 h 6851649"/>
              <a:gd name="connsiteX2" fmla="*/ 5721563 w 5721563"/>
              <a:gd name="connsiteY2" fmla="*/ 6851649 h 6851649"/>
              <a:gd name="connsiteX3" fmla="*/ 563823 w 5721563"/>
              <a:gd name="connsiteY3" fmla="*/ 6851649 h 6851649"/>
              <a:gd name="connsiteX4" fmla="*/ 568538 w 5721563"/>
              <a:gd name="connsiteY4" fmla="*/ 6848651 h 6851649"/>
              <a:gd name="connsiteX5" fmla="*/ 568537 w 5721563"/>
              <a:gd name="connsiteY5" fmla="*/ 6848651 h 6851649"/>
              <a:gd name="connsiteX6" fmla="*/ 563822 w 5721563"/>
              <a:gd name="connsiteY6" fmla="*/ 6851649 h 6851649"/>
              <a:gd name="connsiteX7" fmla="*/ 0 w 5721563"/>
              <a:gd name="connsiteY7" fmla="*/ 6851649 h 6851649"/>
              <a:gd name="connsiteX8" fmla="*/ 167413 w 5721563"/>
              <a:gd name="connsiteY8" fmla="*/ 5814448 h 6851649"/>
              <a:gd name="connsiteX9" fmla="*/ 925593 w 5721563"/>
              <a:gd name="connsiteY9" fmla="*/ 5814448 h 6851649"/>
              <a:gd name="connsiteX10" fmla="*/ 925593 w 5721563"/>
              <a:gd name="connsiteY10" fmla="*/ 5814447 h 6851649"/>
              <a:gd name="connsiteX11" fmla="*/ 167413 w 5721563"/>
              <a:gd name="connsiteY11" fmla="*/ 5814447 h 6851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1563" h="6851649">
                <a:moveTo>
                  <a:pt x="1105916" y="0"/>
                </a:moveTo>
                <a:lnTo>
                  <a:pt x="5721563" y="0"/>
                </a:lnTo>
                <a:lnTo>
                  <a:pt x="5721563" y="6851649"/>
                </a:lnTo>
                <a:lnTo>
                  <a:pt x="563823" y="6851649"/>
                </a:lnTo>
                <a:lnTo>
                  <a:pt x="568538" y="6848651"/>
                </a:lnTo>
                <a:lnTo>
                  <a:pt x="568537" y="6848651"/>
                </a:lnTo>
                <a:lnTo>
                  <a:pt x="563822" y="6851649"/>
                </a:lnTo>
                <a:lnTo>
                  <a:pt x="0" y="6851649"/>
                </a:lnTo>
                <a:lnTo>
                  <a:pt x="167413" y="5814448"/>
                </a:lnTo>
                <a:lnTo>
                  <a:pt x="925593" y="5814448"/>
                </a:lnTo>
                <a:lnTo>
                  <a:pt x="925593" y="5814447"/>
                </a:lnTo>
                <a:lnTo>
                  <a:pt x="167413" y="5814447"/>
                </a:lnTo>
                <a:close/>
              </a:path>
            </a:pathLst>
          </a:custGeom>
          <a:effectLst>
            <a:outerShdw blurRad="190500" dist="63500" dir="10800000" algn="r" rotWithShape="0">
              <a:prstClr val="black">
                <a:alpha val="40000"/>
              </a:prstClr>
            </a:outerShdw>
          </a:effectLst>
        </p:spPr>
      </p:pic>
      <p:sp>
        <p:nvSpPr>
          <p:cNvPr id="11" name="Freeform 5">
            <a:extLst>
              <a:ext uri="{FF2B5EF4-FFF2-40B4-BE49-F238E27FC236}">
                <a16:creationId xmlns:a16="http://schemas.microsoft.com/office/drawing/2014/main" id="{3C7B6CB1-5EDB-923B-FA49-C67308606A5B}"/>
              </a:ext>
            </a:extLst>
          </p:cNvPr>
          <p:cNvSpPr/>
          <p:nvPr/>
        </p:nvSpPr>
        <p:spPr>
          <a:xfrm>
            <a:off x="4850202" y="1025"/>
            <a:ext cx="4291172" cy="5145940"/>
          </a:xfrm>
          <a:custGeom>
            <a:avLst/>
            <a:gdLst>
              <a:gd name="connsiteX0" fmla="*/ 1107467 w 5721563"/>
              <a:gd name="connsiteY0" fmla="*/ 0 h 6861253"/>
              <a:gd name="connsiteX1" fmla="*/ 5721563 w 5721563"/>
              <a:gd name="connsiteY1" fmla="*/ 0 h 6861253"/>
              <a:gd name="connsiteX2" fmla="*/ 5721563 w 5721563"/>
              <a:gd name="connsiteY2" fmla="*/ 6861253 h 6861253"/>
              <a:gd name="connsiteX3" fmla="*/ 563823 w 5721563"/>
              <a:gd name="connsiteY3" fmla="*/ 6861253 h 6861253"/>
              <a:gd name="connsiteX4" fmla="*/ 568538 w 5721563"/>
              <a:gd name="connsiteY4" fmla="*/ 6858255 h 6861253"/>
              <a:gd name="connsiteX5" fmla="*/ 568537 w 5721563"/>
              <a:gd name="connsiteY5" fmla="*/ 6858255 h 6861253"/>
              <a:gd name="connsiteX6" fmla="*/ 563822 w 5721563"/>
              <a:gd name="connsiteY6" fmla="*/ 6861253 h 6861253"/>
              <a:gd name="connsiteX7" fmla="*/ 0 w 5721563"/>
              <a:gd name="connsiteY7" fmla="*/ 6861253 h 6861253"/>
              <a:gd name="connsiteX8" fmla="*/ 167413 w 5721563"/>
              <a:gd name="connsiteY8" fmla="*/ 5824052 h 6861253"/>
              <a:gd name="connsiteX9" fmla="*/ 925593 w 5721563"/>
              <a:gd name="connsiteY9" fmla="*/ 5824052 h 6861253"/>
              <a:gd name="connsiteX10" fmla="*/ 925593 w 5721563"/>
              <a:gd name="connsiteY10" fmla="*/ 5824051 h 6861253"/>
              <a:gd name="connsiteX11" fmla="*/ 167413 w 5721563"/>
              <a:gd name="connsiteY11" fmla="*/ 5824051 h 6861253"/>
              <a:gd name="connsiteX12" fmla="*/ 1107466 w 5721563"/>
              <a:gd name="connsiteY12" fmla="*/ 2 h 6861253"/>
              <a:gd name="connsiteX13" fmla="*/ 1635383 w 5721563"/>
              <a:gd name="connsiteY13" fmla="*/ 2 h 6861253"/>
              <a:gd name="connsiteX14" fmla="*/ 1697942 w 5721563"/>
              <a:gd name="connsiteY14" fmla="*/ 8479 h 6861253"/>
              <a:gd name="connsiteX15" fmla="*/ 1697942 w 5721563"/>
              <a:gd name="connsiteY15" fmla="*/ 8478 h 6861253"/>
              <a:gd name="connsiteX16" fmla="*/ 1635383 w 5721563"/>
              <a:gd name="connsiteY16" fmla="*/ 1 h 6861253"/>
              <a:gd name="connsiteX17" fmla="*/ 1107466 w 5721563"/>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21563" h="6861253">
                <a:moveTo>
                  <a:pt x="1107467" y="0"/>
                </a:moveTo>
                <a:lnTo>
                  <a:pt x="5721563" y="0"/>
                </a:lnTo>
                <a:lnTo>
                  <a:pt x="5721563"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pic>
        <p:nvPicPr>
          <p:cNvPr id="12" name="Picture 11">
            <a:extLst>
              <a:ext uri="{FF2B5EF4-FFF2-40B4-BE49-F238E27FC236}">
                <a16:creationId xmlns:a16="http://schemas.microsoft.com/office/drawing/2014/main" id="{E96C820B-6146-5274-87F4-F4ADABAC3BBE}"/>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a:ext>
            </a:extLst>
          </a:blip>
          <a:srcRect/>
          <a:stretch/>
        </p:blipFill>
        <p:spPr>
          <a:xfrm>
            <a:off x="1" y="2"/>
            <a:ext cx="1988357" cy="5143499"/>
          </a:xfrm>
          <a:custGeom>
            <a:avLst/>
            <a:gdLst>
              <a:gd name="connsiteX0" fmla="*/ 0 w 2651142"/>
              <a:gd name="connsiteY0" fmla="*/ 0 h 6857999"/>
              <a:gd name="connsiteX1" fmla="*/ 2651142 w 2651142"/>
              <a:gd name="connsiteY1" fmla="*/ 0 h 6857999"/>
              <a:gd name="connsiteX2" fmla="*/ 2407857 w 2651142"/>
              <a:gd name="connsiteY2" fmla="*/ 1021264 h 6857999"/>
              <a:gd name="connsiteX3" fmla="*/ 2407856 w 2651142"/>
              <a:gd name="connsiteY3" fmla="*/ 1021263 h 6857999"/>
              <a:gd name="connsiteX4" fmla="*/ 1017425 w 2651142"/>
              <a:gd name="connsiteY4" fmla="*/ 6857999 h 6857999"/>
              <a:gd name="connsiteX5" fmla="*/ 0 w 2651142"/>
              <a:gd name="connsiteY5"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51142" h="6857999">
                <a:moveTo>
                  <a:pt x="0" y="0"/>
                </a:moveTo>
                <a:lnTo>
                  <a:pt x="2651142" y="0"/>
                </a:lnTo>
                <a:lnTo>
                  <a:pt x="2407857" y="1021264"/>
                </a:lnTo>
                <a:lnTo>
                  <a:pt x="2407856" y="1021263"/>
                </a:lnTo>
                <a:lnTo>
                  <a:pt x="1017425" y="6857999"/>
                </a:lnTo>
                <a:lnTo>
                  <a:pt x="0" y="6857999"/>
                </a:lnTo>
                <a:close/>
              </a:path>
            </a:pathLst>
          </a:custGeom>
          <a:effectLst>
            <a:outerShdw blurRad="190500" dist="63500" algn="l" rotWithShape="0">
              <a:schemeClr val="tx1">
                <a:alpha val="40000"/>
              </a:schemeClr>
            </a:outerShdw>
          </a:effectLst>
        </p:spPr>
      </p:pic>
      <p:sp>
        <p:nvSpPr>
          <p:cNvPr id="13" name="Freeform 3">
            <a:extLst>
              <a:ext uri="{FF2B5EF4-FFF2-40B4-BE49-F238E27FC236}">
                <a16:creationId xmlns:a16="http://schemas.microsoft.com/office/drawing/2014/main" id="{1A0DDE5D-4777-B08A-2647-12D5477E9833}"/>
              </a:ext>
            </a:extLst>
          </p:cNvPr>
          <p:cNvSpPr/>
          <p:nvPr/>
        </p:nvSpPr>
        <p:spPr>
          <a:xfrm>
            <a:off x="1" y="1"/>
            <a:ext cx="1988357"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Slide Number Placeholder 5">
            <a:extLst>
              <a:ext uri="{FF2B5EF4-FFF2-40B4-BE49-F238E27FC236}">
                <a16:creationId xmlns:a16="http://schemas.microsoft.com/office/drawing/2014/main" id="{79576508-C3AB-24AD-F740-5F6616E4F6FA}"/>
              </a:ext>
            </a:extLst>
          </p:cNvPr>
          <p:cNvSpPr>
            <a:spLocks noGrp="1"/>
          </p:cNvSpPr>
          <p:nvPr>
            <p:ph type="sldNum" sz="quarter" idx="12"/>
          </p:nvPr>
        </p:nvSpPr>
        <p:spPr>
          <a:xfrm>
            <a:off x="8226757" y="4965936"/>
            <a:ext cx="400722" cy="172800"/>
          </a:xfrm>
        </p:spPr>
        <p:txBody>
          <a:bodyPr/>
          <a:lstStyle>
            <a:lvl1pPr>
              <a:defRPr>
                <a:solidFill>
                  <a:schemeClr val="bg1"/>
                </a:solidFill>
              </a:defRPr>
            </a:lvl1pPr>
          </a:lstStyle>
          <a:p>
            <a:fld id="{94EAE7B1-68BD-4D2B-934C-E322FB164993}" type="slidenum">
              <a:rPr lang="en-AE" smtClean="0"/>
              <a:pPr/>
              <a:t>‹#›</a:t>
            </a:fld>
            <a:endParaRPr lang="en-AE"/>
          </a:p>
        </p:txBody>
      </p:sp>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p>
            <a:endParaRPr lang="en-AE"/>
          </a:p>
        </p:txBody>
      </p:sp>
      <p:sp>
        <p:nvSpPr>
          <p:cNvPr id="4" name="Date Placeholder 3">
            <a:extLst>
              <a:ext uri="{FF2B5EF4-FFF2-40B4-BE49-F238E27FC236}">
                <a16:creationId xmlns:a16="http://schemas.microsoft.com/office/drawing/2014/main" id="{2683FD35-8C2A-0BCB-DD09-A9A08621D9DD}"/>
              </a:ext>
            </a:extLst>
          </p:cNvPr>
          <p:cNvSpPr>
            <a:spLocks noGrp="1"/>
          </p:cNvSpPr>
          <p:nvPr>
            <p:ph type="dt" sz="half" idx="10"/>
          </p:nvPr>
        </p:nvSpPr>
        <p:spPr>
          <a:xfrm>
            <a:off x="7767355" y="4458922"/>
            <a:ext cx="860124" cy="278336"/>
          </a:xfrm>
        </p:spPr>
        <p:txBody>
          <a:bodyPr/>
          <a:lstStyle>
            <a:lvl1pPr>
              <a:defRPr sz="800">
                <a:solidFill>
                  <a:schemeClr val="bg1"/>
                </a:solidFill>
              </a:defRPr>
            </a:lvl1pPr>
          </a:lstStyle>
          <a:p>
            <a:r>
              <a:rPr lang="en-US"/>
              <a:t>14/01/2024</a:t>
            </a:r>
            <a:endParaRPr lang="en-AE"/>
          </a:p>
        </p:txBody>
      </p:sp>
      <p:sp>
        <p:nvSpPr>
          <p:cNvPr id="42" name="TextBox 41">
            <a:extLst>
              <a:ext uri="{FF2B5EF4-FFF2-40B4-BE49-F238E27FC236}">
                <a16:creationId xmlns:a16="http://schemas.microsoft.com/office/drawing/2014/main" id="{68580F38-CC0A-FE6C-E89A-46049CBE5BA0}"/>
              </a:ext>
            </a:extLst>
          </p:cNvPr>
          <p:cNvSpPr txBox="1"/>
          <p:nvPr/>
        </p:nvSpPr>
        <p:spPr>
          <a:xfrm>
            <a:off x="148009" y="123171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ECAC4">
                    <a:lumMod val="60000"/>
                    <a:lumOff val="40000"/>
                  </a:srgbClr>
                </a:solidFill>
                <a:effectLst/>
                <a:uLnTx/>
                <a:uFillTx/>
                <a:latin typeface="+mn-lt"/>
                <a:ea typeface="+mn-ea"/>
                <a:cs typeface="+mn-cs"/>
              </a:rPr>
              <a:t>GENEVA | DUBAI | CINCINNATI</a:t>
            </a:r>
          </a:p>
        </p:txBody>
      </p:sp>
      <p:grpSp>
        <p:nvGrpSpPr>
          <p:cNvPr id="14" name="Group 13">
            <a:extLst>
              <a:ext uri="{FF2B5EF4-FFF2-40B4-BE49-F238E27FC236}">
                <a16:creationId xmlns:a16="http://schemas.microsoft.com/office/drawing/2014/main" id="{3C9BE3AC-8698-3E97-66CD-4A446BC0646A}"/>
              </a:ext>
            </a:extLst>
          </p:cNvPr>
          <p:cNvGrpSpPr>
            <a:grpSpLocks noChangeAspect="1"/>
          </p:cNvGrpSpPr>
          <p:nvPr/>
        </p:nvGrpSpPr>
        <p:grpSpPr>
          <a:xfrm>
            <a:off x="250461" y="210563"/>
            <a:ext cx="1188566" cy="1011018"/>
            <a:chOff x="2716311" y="648027"/>
            <a:chExt cx="6759377" cy="5739971"/>
          </a:xfrm>
        </p:grpSpPr>
        <p:grpSp>
          <p:nvGrpSpPr>
            <p:cNvPr id="15" name="Graphic 2">
              <a:extLst>
                <a:ext uri="{FF2B5EF4-FFF2-40B4-BE49-F238E27FC236}">
                  <a16:creationId xmlns:a16="http://schemas.microsoft.com/office/drawing/2014/main" id="{8F18DC8C-CB34-1852-CA92-C5D03763ED2C}"/>
                </a:ext>
              </a:extLst>
            </p:cNvPr>
            <p:cNvGrpSpPr/>
            <p:nvPr/>
          </p:nvGrpSpPr>
          <p:grpSpPr>
            <a:xfrm>
              <a:off x="2716311" y="5613022"/>
              <a:ext cx="6269002" cy="774976"/>
              <a:chOff x="2766490" y="5410804"/>
              <a:chExt cx="6269002" cy="774976"/>
            </a:xfrm>
            <a:solidFill>
              <a:schemeClr val="accent1"/>
            </a:solidFill>
          </p:grpSpPr>
          <p:grpSp>
            <p:nvGrpSpPr>
              <p:cNvPr id="30" name="Graphic 2">
                <a:extLst>
                  <a:ext uri="{FF2B5EF4-FFF2-40B4-BE49-F238E27FC236}">
                    <a16:creationId xmlns:a16="http://schemas.microsoft.com/office/drawing/2014/main" id="{0ABD8B8E-CB03-925C-D134-035D815D03C0}"/>
                  </a:ext>
                </a:extLst>
              </p:cNvPr>
              <p:cNvGrpSpPr/>
              <p:nvPr/>
            </p:nvGrpSpPr>
            <p:grpSpPr>
              <a:xfrm>
                <a:off x="2766490" y="5426323"/>
                <a:ext cx="3923857" cy="759457"/>
                <a:chOff x="2766490" y="5426323"/>
                <a:chExt cx="3923857" cy="759457"/>
              </a:xfrm>
              <a:solidFill>
                <a:srgbClr val="FFFFFF"/>
              </a:solidFill>
            </p:grpSpPr>
            <p:sp>
              <p:nvSpPr>
                <p:cNvPr id="35" name="Freeform 83">
                  <a:extLst>
                    <a:ext uri="{FF2B5EF4-FFF2-40B4-BE49-F238E27FC236}">
                      <a16:creationId xmlns:a16="http://schemas.microsoft.com/office/drawing/2014/main" id="{F68DD96B-1DA1-A7CE-690E-C1837D96DD45}"/>
                    </a:ext>
                  </a:extLst>
                </p:cNvPr>
                <p:cNvSpPr/>
                <p:nvPr/>
              </p:nvSpPr>
              <p:spPr>
                <a:xfrm>
                  <a:off x="2766490" y="5436796"/>
                  <a:ext cx="564644" cy="739368"/>
                </a:xfrm>
                <a:custGeom>
                  <a:avLst/>
                  <a:gdLst>
                    <a:gd name="connsiteX0" fmla="*/ 56981 w 564644"/>
                    <a:gd name="connsiteY0" fmla="*/ 483741 h 739368"/>
                    <a:gd name="connsiteX1" fmla="*/ 56981 w 564644"/>
                    <a:gd name="connsiteY1" fmla="*/ 739368 h 739368"/>
                    <a:gd name="connsiteX2" fmla="*/ 0 w 564644"/>
                    <a:gd name="connsiteY2" fmla="*/ 739368 h 739368"/>
                    <a:gd name="connsiteX3" fmla="*/ 0 w 564644"/>
                    <a:gd name="connsiteY3" fmla="*/ 0 h 739368"/>
                    <a:gd name="connsiteX4" fmla="*/ 324000 w 564644"/>
                    <a:gd name="connsiteY4" fmla="*/ 0 h 739368"/>
                    <a:gd name="connsiteX5" fmla="*/ 324000 w 564644"/>
                    <a:gd name="connsiteY5" fmla="*/ 483741 h 739368"/>
                    <a:gd name="connsiteX6" fmla="*/ 56981 w 564644"/>
                    <a:gd name="connsiteY6" fmla="*/ 483741 h 739368"/>
                    <a:gd name="connsiteX7" fmla="*/ 56981 w 564644"/>
                    <a:gd name="connsiteY7" fmla="*/ 52839 h 739368"/>
                    <a:gd name="connsiteX8" fmla="*/ 56981 w 564644"/>
                    <a:gd name="connsiteY8" fmla="*/ 432044 h 739368"/>
                    <a:gd name="connsiteX9" fmla="*/ 324000 w 564644"/>
                    <a:gd name="connsiteY9" fmla="*/ 432044 h 739368"/>
                    <a:gd name="connsiteX10" fmla="*/ 324000 w 564644"/>
                    <a:gd name="connsiteY10" fmla="*/ 52839 h 739368"/>
                    <a:gd name="connsiteX11" fmla="*/ 56981 w 564644"/>
                    <a:gd name="connsiteY11" fmla="*/ 52839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4644" h="739368">
                      <a:moveTo>
                        <a:pt x="56981" y="483741"/>
                      </a:moveTo>
                      <a:lnTo>
                        <a:pt x="56981" y="739368"/>
                      </a:lnTo>
                      <a:lnTo>
                        <a:pt x="0" y="739368"/>
                      </a:lnTo>
                      <a:lnTo>
                        <a:pt x="0" y="0"/>
                      </a:lnTo>
                      <a:cubicBezTo>
                        <a:pt x="107683" y="0"/>
                        <a:pt x="216317" y="0"/>
                        <a:pt x="324000" y="0"/>
                      </a:cubicBezTo>
                      <a:cubicBezTo>
                        <a:pt x="644860" y="0"/>
                        <a:pt x="644860" y="483741"/>
                        <a:pt x="324000" y="483741"/>
                      </a:cubicBezTo>
                      <a:lnTo>
                        <a:pt x="56981" y="483741"/>
                      </a:lnTo>
                      <a:close/>
                      <a:moveTo>
                        <a:pt x="56981" y="52839"/>
                      </a:moveTo>
                      <a:lnTo>
                        <a:pt x="56981" y="432044"/>
                      </a:lnTo>
                      <a:lnTo>
                        <a:pt x="324000" y="432044"/>
                      </a:lnTo>
                      <a:cubicBezTo>
                        <a:pt x="569901" y="432044"/>
                        <a:pt x="569901" y="52839"/>
                        <a:pt x="324000" y="52839"/>
                      </a:cubicBezTo>
                      <a:lnTo>
                        <a:pt x="56981" y="52839"/>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6" name="Freeform 84">
                  <a:extLst>
                    <a:ext uri="{FF2B5EF4-FFF2-40B4-BE49-F238E27FC236}">
                      <a16:creationId xmlns:a16="http://schemas.microsoft.com/office/drawing/2014/main" id="{10F03CED-5877-D5E4-21C2-CA5DB8AEBC7A}"/>
                    </a:ext>
                  </a:extLst>
                </p:cNvPr>
                <p:cNvSpPr/>
                <p:nvPr/>
              </p:nvSpPr>
              <p:spPr>
                <a:xfrm>
                  <a:off x="3457771" y="5436796"/>
                  <a:ext cx="588925" cy="739368"/>
                </a:xfrm>
                <a:custGeom>
                  <a:avLst/>
                  <a:gdLst>
                    <a:gd name="connsiteX0" fmla="*/ 588926 w 588925"/>
                    <a:gd name="connsiteY0" fmla="*/ 739368 h 739368"/>
                    <a:gd name="connsiteX1" fmla="*/ 513967 w 588925"/>
                    <a:gd name="connsiteY1" fmla="*/ 739368 h 739368"/>
                    <a:gd name="connsiteX2" fmla="*/ 258553 w 588925"/>
                    <a:gd name="connsiteY2" fmla="*/ 459463 h 739368"/>
                    <a:gd name="connsiteX3" fmla="*/ 56981 w 588925"/>
                    <a:gd name="connsiteY3" fmla="*/ 459463 h 739368"/>
                    <a:gd name="connsiteX4" fmla="*/ 56981 w 588925"/>
                    <a:gd name="connsiteY4" fmla="*/ 739368 h 739368"/>
                    <a:gd name="connsiteX5" fmla="*/ 0 w 588925"/>
                    <a:gd name="connsiteY5" fmla="*/ 739368 h 739368"/>
                    <a:gd name="connsiteX6" fmla="*/ 0 w 588925"/>
                    <a:gd name="connsiteY6" fmla="*/ 0 h 739368"/>
                    <a:gd name="connsiteX7" fmla="*/ 325046 w 588925"/>
                    <a:gd name="connsiteY7" fmla="*/ 0 h 739368"/>
                    <a:gd name="connsiteX8" fmla="*/ 567808 w 588925"/>
                    <a:gd name="connsiteY8" fmla="*/ 230303 h 739368"/>
                    <a:gd name="connsiteX9" fmla="*/ 328185 w 588925"/>
                    <a:gd name="connsiteY9" fmla="*/ 456322 h 739368"/>
                    <a:gd name="connsiteX10" fmla="*/ 588926 w 588925"/>
                    <a:gd name="connsiteY10" fmla="*/ 739368 h 739368"/>
                    <a:gd name="connsiteX11" fmla="*/ 56981 w 588925"/>
                    <a:gd name="connsiteY11" fmla="*/ 405577 h 739368"/>
                    <a:gd name="connsiteX12" fmla="*/ 318673 w 588925"/>
                    <a:gd name="connsiteY12" fmla="*/ 405577 h 739368"/>
                    <a:gd name="connsiteX13" fmla="*/ 505500 w 588925"/>
                    <a:gd name="connsiteY13" fmla="*/ 229161 h 739368"/>
                    <a:gd name="connsiteX14" fmla="*/ 325046 w 588925"/>
                    <a:gd name="connsiteY14" fmla="*/ 52744 h 739368"/>
                    <a:gd name="connsiteX15" fmla="*/ 56981 w 588925"/>
                    <a:gd name="connsiteY15" fmla="*/ 52744 h 739368"/>
                    <a:gd name="connsiteX16" fmla="*/ 56981 w 588925"/>
                    <a:gd name="connsiteY16" fmla="*/ 405577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8925" h="739368">
                      <a:moveTo>
                        <a:pt x="588926" y="739368"/>
                      </a:moveTo>
                      <a:lnTo>
                        <a:pt x="513967" y="739368"/>
                      </a:lnTo>
                      <a:lnTo>
                        <a:pt x="258553" y="459463"/>
                      </a:lnTo>
                      <a:lnTo>
                        <a:pt x="56981" y="459463"/>
                      </a:lnTo>
                      <a:lnTo>
                        <a:pt x="56981" y="739368"/>
                      </a:lnTo>
                      <a:lnTo>
                        <a:pt x="0" y="739368"/>
                      </a:lnTo>
                      <a:lnTo>
                        <a:pt x="0" y="0"/>
                      </a:lnTo>
                      <a:cubicBezTo>
                        <a:pt x="108729" y="0"/>
                        <a:pt x="216317" y="0"/>
                        <a:pt x="325046" y="0"/>
                      </a:cubicBezTo>
                      <a:cubicBezTo>
                        <a:pt x="485429" y="0"/>
                        <a:pt x="566762" y="115104"/>
                        <a:pt x="567808" y="230303"/>
                      </a:cubicBezTo>
                      <a:cubicBezTo>
                        <a:pt x="568854" y="350738"/>
                        <a:pt x="489709" y="456322"/>
                        <a:pt x="328185" y="456322"/>
                      </a:cubicBezTo>
                      <a:lnTo>
                        <a:pt x="588926" y="739368"/>
                      </a:lnTo>
                      <a:close/>
                      <a:moveTo>
                        <a:pt x="56981" y="405577"/>
                      </a:moveTo>
                      <a:lnTo>
                        <a:pt x="318673" y="405577"/>
                      </a:lnTo>
                      <a:cubicBezTo>
                        <a:pt x="447473" y="405577"/>
                        <a:pt x="504454" y="332745"/>
                        <a:pt x="505500" y="229161"/>
                      </a:cubicBezTo>
                      <a:cubicBezTo>
                        <a:pt x="506547" y="142523"/>
                        <a:pt x="447473" y="52744"/>
                        <a:pt x="325046" y="52744"/>
                      </a:cubicBezTo>
                      <a:lnTo>
                        <a:pt x="56981" y="52744"/>
                      </a:lnTo>
                      <a:lnTo>
                        <a:pt x="56981" y="40557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7" name="Freeform 85">
                  <a:extLst>
                    <a:ext uri="{FF2B5EF4-FFF2-40B4-BE49-F238E27FC236}">
                      <a16:creationId xmlns:a16="http://schemas.microsoft.com/office/drawing/2014/main" id="{FB8D96B5-B02C-DC96-FAF7-E127C0F461F8}"/>
                    </a:ext>
                  </a:extLst>
                </p:cNvPr>
                <p:cNvSpPr/>
                <p:nvPr/>
              </p:nvSpPr>
              <p:spPr>
                <a:xfrm>
                  <a:off x="4142679" y="5436796"/>
                  <a:ext cx="55934" cy="739368"/>
                </a:xfrm>
                <a:custGeom>
                  <a:avLst/>
                  <a:gdLst>
                    <a:gd name="connsiteX0" fmla="*/ 0 w 55934"/>
                    <a:gd name="connsiteY0" fmla="*/ 739368 h 739368"/>
                    <a:gd name="connsiteX1" fmla="*/ 0 w 55934"/>
                    <a:gd name="connsiteY1" fmla="*/ 0 h 739368"/>
                    <a:gd name="connsiteX2" fmla="*/ 55934 w 55934"/>
                    <a:gd name="connsiteY2" fmla="*/ 0 h 739368"/>
                    <a:gd name="connsiteX3" fmla="*/ 55934 w 55934"/>
                    <a:gd name="connsiteY3" fmla="*/ 739368 h 739368"/>
                    <a:gd name="connsiteX4" fmla="*/ 0 w 55934"/>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4"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8" name="Freeform 86">
                  <a:extLst>
                    <a:ext uri="{FF2B5EF4-FFF2-40B4-BE49-F238E27FC236}">
                      <a16:creationId xmlns:a16="http://schemas.microsoft.com/office/drawing/2014/main" id="{04C49869-5DD2-A808-424B-80A9311C6CC4}"/>
                    </a:ext>
                  </a:extLst>
                </p:cNvPr>
                <p:cNvSpPr/>
                <p:nvPr/>
              </p:nvSpPr>
              <p:spPr>
                <a:xfrm>
                  <a:off x="4322062" y="5428322"/>
                  <a:ext cx="649070" cy="756315"/>
                </a:xfrm>
                <a:custGeom>
                  <a:avLst/>
                  <a:gdLst>
                    <a:gd name="connsiteX0" fmla="*/ 649071 w 649070"/>
                    <a:gd name="connsiteY0" fmla="*/ 645400 h 756315"/>
                    <a:gd name="connsiteX1" fmla="*/ 379959 w 649070"/>
                    <a:gd name="connsiteY1" fmla="*/ 756315 h 756315"/>
                    <a:gd name="connsiteX2" fmla="*/ 25 w 649070"/>
                    <a:gd name="connsiteY2" fmla="*/ 382346 h 756315"/>
                    <a:gd name="connsiteX3" fmla="*/ 379959 w 649070"/>
                    <a:gd name="connsiteY3" fmla="*/ 0 h 756315"/>
                    <a:gd name="connsiteX4" fmla="*/ 649071 w 649070"/>
                    <a:gd name="connsiteY4" fmla="*/ 110915 h 756315"/>
                    <a:gd name="connsiteX5" fmla="*/ 610069 w 649070"/>
                    <a:gd name="connsiteY5" fmla="*/ 144713 h 756315"/>
                    <a:gd name="connsiteX6" fmla="*/ 379959 w 649070"/>
                    <a:gd name="connsiteY6" fmla="*/ 50745 h 756315"/>
                    <a:gd name="connsiteX7" fmla="*/ 54913 w 649070"/>
                    <a:gd name="connsiteY7" fmla="*/ 380347 h 756315"/>
                    <a:gd name="connsiteX8" fmla="*/ 379959 w 649070"/>
                    <a:gd name="connsiteY8" fmla="*/ 703571 h 756315"/>
                    <a:gd name="connsiteX9" fmla="*/ 611116 w 649070"/>
                    <a:gd name="connsiteY9" fmla="*/ 609508 h 756315"/>
                    <a:gd name="connsiteX10" fmla="*/ 649071 w 649070"/>
                    <a:gd name="connsiteY10" fmla="*/ 645400 h 75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9070" h="756315">
                      <a:moveTo>
                        <a:pt x="649071" y="645400"/>
                      </a:moveTo>
                      <a:cubicBezTo>
                        <a:pt x="575158" y="719375"/>
                        <a:pt x="477083" y="756315"/>
                        <a:pt x="379959" y="756315"/>
                      </a:cubicBezTo>
                      <a:cubicBezTo>
                        <a:pt x="130919" y="756315"/>
                        <a:pt x="1072" y="581993"/>
                        <a:pt x="25" y="382346"/>
                      </a:cubicBezTo>
                      <a:cubicBezTo>
                        <a:pt x="-2068" y="184794"/>
                        <a:pt x="126638" y="0"/>
                        <a:pt x="379959" y="0"/>
                      </a:cubicBezTo>
                      <a:cubicBezTo>
                        <a:pt x="477083" y="0"/>
                        <a:pt x="575253" y="36940"/>
                        <a:pt x="649071" y="110915"/>
                      </a:cubicBezTo>
                      <a:lnTo>
                        <a:pt x="610069" y="144713"/>
                      </a:lnTo>
                      <a:cubicBezTo>
                        <a:pt x="546715" y="81306"/>
                        <a:pt x="463384" y="50745"/>
                        <a:pt x="379959" y="50745"/>
                      </a:cubicBezTo>
                      <a:cubicBezTo>
                        <a:pt x="164688" y="50745"/>
                        <a:pt x="53866" y="202884"/>
                        <a:pt x="54913" y="380347"/>
                      </a:cubicBezTo>
                      <a:cubicBezTo>
                        <a:pt x="57006" y="553622"/>
                        <a:pt x="166781" y="703571"/>
                        <a:pt x="379959" y="703571"/>
                      </a:cubicBezTo>
                      <a:cubicBezTo>
                        <a:pt x="463384" y="703571"/>
                        <a:pt x="547761" y="671868"/>
                        <a:pt x="611116" y="609508"/>
                      </a:cubicBezTo>
                      <a:lnTo>
                        <a:pt x="649071" y="64540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9" name="Freeform 87">
                  <a:extLst>
                    <a:ext uri="{FF2B5EF4-FFF2-40B4-BE49-F238E27FC236}">
                      <a16:creationId xmlns:a16="http://schemas.microsoft.com/office/drawing/2014/main" id="{C106382A-C958-823B-CE68-5A98A52F9510}"/>
                    </a:ext>
                  </a:extLst>
                </p:cNvPr>
                <p:cNvSpPr/>
                <p:nvPr/>
              </p:nvSpPr>
              <p:spPr>
                <a:xfrm>
                  <a:off x="5106212" y="5436796"/>
                  <a:ext cx="55933" cy="739368"/>
                </a:xfrm>
                <a:custGeom>
                  <a:avLst/>
                  <a:gdLst>
                    <a:gd name="connsiteX0" fmla="*/ 0 w 55933"/>
                    <a:gd name="connsiteY0" fmla="*/ 739368 h 739368"/>
                    <a:gd name="connsiteX1" fmla="*/ 0 w 55933"/>
                    <a:gd name="connsiteY1" fmla="*/ 0 h 739368"/>
                    <a:gd name="connsiteX2" fmla="*/ 55934 w 55933"/>
                    <a:gd name="connsiteY2" fmla="*/ 0 h 739368"/>
                    <a:gd name="connsiteX3" fmla="*/ 55934 w 55933"/>
                    <a:gd name="connsiteY3" fmla="*/ 739368 h 739368"/>
                    <a:gd name="connsiteX4" fmla="*/ 0 w 55933"/>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3"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0" name="Freeform 88">
                  <a:extLst>
                    <a:ext uri="{FF2B5EF4-FFF2-40B4-BE49-F238E27FC236}">
                      <a16:creationId xmlns:a16="http://schemas.microsoft.com/office/drawing/2014/main" id="{BEE40984-60B1-DBC8-511E-362BA13FD540}"/>
                    </a:ext>
                  </a:extLst>
                </p:cNvPr>
                <p:cNvSpPr/>
                <p:nvPr/>
              </p:nvSpPr>
              <p:spPr>
                <a:xfrm>
                  <a:off x="5325763" y="5436796"/>
                  <a:ext cx="577320" cy="739368"/>
                </a:xfrm>
                <a:custGeom>
                  <a:avLst/>
                  <a:gdLst>
                    <a:gd name="connsiteX0" fmla="*/ 24257 w 577320"/>
                    <a:gd name="connsiteY0" fmla="*/ 0 h 739368"/>
                    <a:gd name="connsiteX1" fmla="*/ 521386 w 577320"/>
                    <a:gd name="connsiteY1" fmla="*/ 611602 h 739368"/>
                    <a:gd name="connsiteX2" fmla="*/ 521386 w 577320"/>
                    <a:gd name="connsiteY2" fmla="*/ 0 h 739368"/>
                    <a:gd name="connsiteX3" fmla="*/ 577321 w 577320"/>
                    <a:gd name="connsiteY3" fmla="*/ 0 h 739368"/>
                    <a:gd name="connsiteX4" fmla="*/ 577321 w 577320"/>
                    <a:gd name="connsiteY4" fmla="*/ 739368 h 739368"/>
                    <a:gd name="connsiteX5" fmla="*/ 555156 w 577320"/>
                    <a:gd name="connsiteY5" fmla="*/ 739368 h 739368"/>
                    <a:gd name="connsiteX6" fmla="*/ 56980 w 577320"/>
                    <a:gd name="connsiteY6" fmla="*/ 128813 h 739368"/>
                    <a:gd name="connsiteX7" fmla="*/ 56980 w 577320"/>
                    <a:gd name="connsiteY7" fmla="*/ 739368 h 739368"/>
                    <a:gd name="connsiteX8" fmla="*/ 0 w 577320"/>
                    <a:gd name="connsiteY8" fmla="*/ 739368 h 739368"/>
                    <a:gd name="connsiteX9" fmla="*/ 0 w 577320"/>
                    <a:gd name="connsiteY9" fmla="*/ 0 h 739368"/>
                    <a:gd name="connsiteX10" fmla="*/ 24257 w 577320"/>
                    <a:gd name="connsiteY10" fmla="*/ 0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7320" h="739368">
                      <a:moveTo>
                        <a:pt x="24257" y="0"/>
                      </a:moveTo>
                      <a:lnTo>
                        <a:pt x="521386" y="611602"/>
                      </a:lnTo>
                      <a:lnTo>
                        <a:pt x="521386" y="0"/>
                      </a:lnTo>
                      <a:lnTo>
                        <a:pt x="577321" y="0"/>
                      </a:lnTo>
                      <a:lnTo>
                        <a:pt x="577321" y="739368"/>
                      </a:lnTo>
                      <a:lnTo>
                        <a:pt x="555156" y="739368"/>
                      </a:lnTo>
                      <a:lnTo>
                        <a:pt x="56980" y="128813"/>
                      </a:lnTo>
                      <a:lnTo>
                        <a:pt x="56980" y="739368"/>
                      </a:lnTo>
                      <a:lnTo>
                        <a:pt x="0" y="739368"/>
                      </a:lnTo>
                      <a:lnTo>
                        <a:pt x="0" y="0"/>
                      </a:lnTo>
                      <a:lnTo>
                        <a:pt x="24257"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1" name="Freeform 89">
                  <a:extLst>
                    <a:ext uri="{FF2B5EF4-FFF2-40B4-BE49-F238E27FC236}">
                      <a16:creationId xmlns:a16="http://schemas.microsoft.com/office/drawing/2014/main" id="{2BD65524-C210-8EFC-7588-9BF658D7BB35}"/>
                    </a:ext>
                  </a:extLst>
                </p:cNvPr>
                <p:cNvSpPr/>
                <p:nvPr/>
              </p:nvSpPr>
              <p:spPr>
                <a:xfrm>
                  <a:off x="6030738" y="5426323"/>
                  <a:ext cx="659609" cy="759457"/>
                </a:xfrm>
                <a:custGeom>
                  <a:avLst/>
                  <a:gdLst>
                    <a:gd name="connsiteX0" fmla="*/ 618420 w 659609"/>
                    <a:gd name="connsiteY0" fmla="*/ 146713 h 759457"/>
                    <a:gd name="connsiteX1" fmla="*/ 380985 w 659609"/>
                    <a:gd name="connsiteY1" fmla="*/ 51697 h 759457"/>
                    <a:gd name="connsiteX2" fmla="*/ 54893 w 659609"/>
                    <a:gd name="connsiteY2" fmla="*/ 381300 h 759457"/>
                    <a:gd name="connsiteX3" fmla="*/ 380985 w 659609"/>
                    <a:gd name="connsiteY3" fmla="*/ 705571 h 759457"/>
                    <a:gd name="connsiteX4" fmla="*/ 605768 w 659609"/>
                    <a:gd name="connsiteY4" fmla="*/ 619980 h 759457"/>
                    <a:gd name="connsiteX5" fmla="*/ 605768 w 659609"/>
                    <a:gd name="connsiteY5" fmla="*/ 412908 h 759457"/>
                    <a:gd name="connsiteX6" fmla="*/ 348262 w 659609"/>
                    <a:gd name="connsiteY6" fmla="*/ 412908 h 759457"/>
                    <a:gd name="connsiteX7" fmla="*/ 348262 w 659609"/>
                    <a:gd name="connsiteY7" fmla="*/ 363306 h 759457"/>
                    <a:gd name="connsiteX8" fmla="*/ 659610 w 659609"/>
                    <a:gd name="connsiteY8" fmla="*/ 363306 h 759457"/>
                    <a:gd name="connsiteX9" fmla="*/ 659610 w 659609"/>
                    <a:gd name="connsiteY9" fmla="*/ 640069 h 759457"/>
                    <a:gd name="connsiteX10" fmla="*/ 380985 w 659609"/>
                    <a:gd name="connsiteY10" fmla="*/ 759457 h 759457"/>
                    <a:gd name="connsiteX11" fmla="*/ 5 w 659609"/>
                    <a:gd name="connsiteY11" fmla="*/ 382347 h 759457"/>
                    <a:gd name="connsiteX12" fmla="*/ 380985 w 659609"/>
                    <a:gd name="connsiteY12" fmla="*/ 0 h 759457"/>
                    <a:gd name="connsiteX13" fmla="*/ 651143 w 659609"/>
                    <a:gd name="connsiteY13" fmla="*/ 110915 h 759457"/>
                    <a:gd name="connsiteX14" fmla="*/ 618420 w 659609"/>
                    <a:gd name="connsiteY14" fmla="*/ 146713 h 759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59609" h="759457">
                      <a:moveTo>
                        <a:pt x="618420" y="146713"/>
                      </a:moveTo>
                      <a:cubicBezTo>
                        <a:pt x="554020" y="83305"/>
                        <a:pt x="464316" y="51697"/>
                        <a:pt x="380985" y="51697"/>
                      </a:cubicBezTo>
                      <a:cubicBezTo>
                        <a:pt x="164669" y="51697"/>
                        <a:pt x="53846" y="210119"/>
                        <a:pt x="54893" y="381300"/>
                      </a:cubicBezTo>
                      <a:cubicBezTo>
                        <a:pt x="54893" y="555622"/>
                        <a:pt x="165715" y="705571"/>
                        <a:pt x="380985" y="705571"/>
                      </a:cubicBezTo>
                      <a:cubicBezTo>
                        <a:pt x="460130" y="705571"/>
                        <a:pt x="542414" y="678152"/>
                        <a:pt x="605768" y="619980"/>
                      </a:cubicBezTo>
                      <a:lnTo>
                        <a:pt x="605768" y="412908"/>
                      </a:lnTo>
                      <a:lnTo>
                        <a:pt x="348262" y="412908"/>
                      </a:lnTo>
                      <a:lnTo>
                        <a:pt x="348262" y="363306"/>
                      </a:lnTo>
                      <a:lnTo>
                        <a:pt x="659610" y="363306"/>
                      </a:lnTo>
                      <a:lnTo>
                        <a:pt x="659610" y="640069"/>
                      </a:lnTo>
                      <a:cubicBezTo>
                        <a:pt x="582558" y="717186"/>
                        <a:pt x="490761" y="759457"/>
                        <a:pt x="380985" y="759457"/>
                      </a:cubicBezTo>
                      <a:cubicBezTo>
                        <a:pt x="129757" y="759457"/>
                        <a:pt x="5" y="584088"/>
                        <a:pt x="5" y="382347"/>
                      </a:cubicBezTo>
                      <a:cubicBezTo>
                        <a:pt x="-1041" y="150997"/>
                        <a:pt x="156202" y="0"/>
                        <a:pt x="380985" y="0"/>
                      </a:cubicBezTo>
                      <a:cubicBezTo>
                        <a:pt x="478109" y="0"/>
                        <a:pt x="576279" y="36940"/>
                        <a:pt x="651143" y="110915"/>
                      </a:cubicBezTo>
                      <a:lnTo>
                        <a:pt x="618420" y="146713"/>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31" name="Graphic 2">
                <a:extLst>
                  <a:ext uri="{FF2B5EF4-FFF2-40B4-BE49-F238E27FC236}">
                    <a16:creationId xmlns:a16="http://schemas.microsoft.com/office/drawing/2014/main" id="{C333E2DD-6716-DEEE-2BFE-99DFB84871BA}"/>
                  </a:ext>
                </a:extLst>
              </p:cNvPr>
              <p:cNvGrpSpPr/>
              <p:nvPr/>
            </p:nvGrpSpPr>
            <p:grpSpPr>
              <a:xfrm>
                <a:off x="6870802" y="5410804"/>
                <a:ext cx="2164690" cy="771262"/>
                <a:chOff x="6870802" y="5410804"/>
                <a:chExt cx="2164690" cy="771262"/>
              </a:xfrm>
              <a:solidFill>
                <a:srgbClr val="00A099"/>
              </a:solidFill>
            </p:grpSpPr>
            <p:sp>
              <p:nvSpPr>
                <p:cNvPr id="32" name="Freeform 80">
                  <a:extLst>
                    <a:ext uri="{FF2B5EF4-FFF2-40B4-BE49-F238E27FC236}">
                      <a16:creationId xmlns:a16="http://schemas.microsoft.com/office/drawing/2014/main" id="{9319B22D-C99A-D2F1-498B-4B9C564373E3}"/>
                    </a:ext>
                  </a:extLst>
                </p:cNvPr>
                <p:cNvSpPr/>
                <p:nvPr/>
              </p:nvSpPr>
              <p:spPr>
                <a:xfrm>
                  <a:off x="6870802" y="5410804"/>
                  <a:ext cx="758943" cy="771262"/>
                </a:xfrm>
                <a:custGeom>
                  <a:avLst/>
                  <a:gdLst>
                    <a:gd name="connsiteX0" fmla="*/ 758916 w 758943"/>
                    <a:gd name="connsiteY0" fmla="*/ 388821 h 771262"/>
                    <a:gd name="connsiteX1" fmla="*/ 379934 w 758943"/>
                    <a:gd name="connsiteY1" fmla="*/ 771263 h 771262"/>
                    <a:gd name="connsiteX2" fmla="*/ 0 w 758943"/>
                    <a:gd name="connsiteY2" fmla="*/ 389868 h 771262"/>
                    <a:gd name="connsiteX3" fmla="*/ 379934 w 758943"/>
                    <a:gd name="connsiteY3" fmla="*/ 0 h 771262"/>
                    <a:gd name="connsiteX4" fmla="*/ 758916 w 758943"/>
                    <a:gd name="connsiteY4" fmla="*/ 388821 h 771262"/>
                    <a:gd name="connsiteX5" fmla="*/ 137267 w 758943"/>
                    <a:gd name="connsiteY5" fmla="*/ 392058 h 771262"/>
                    <a:gd name="connsiteX6" fmla="*/ 380029 w 758943"/>
                    <a:gd name="connsiteY6" fmla="*/ 643497 h 771262"/>
                    <a:gd name="connsiteX7" fmla="*/ 621744 w 758943"/>
                    <a:gd name="connsiteY7" fmla="*/ 391010 h 771262"/>
                    <a:gd name="connsiteX8" fmla="*/ 380029 w 758943"/>
                    <a:gd name="connsiteY8" fmla="*/ 126910 h 771262"/>
                    <a:gd name="connsiteX9" fmla="*/ 137267 w 758943"/>
                    <a:gd name="connsiteY9" fmla="*/ 392058 h 771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8943" h="771262">
                      <a:moveTo>
                        <a:pt x="758916" y="388821"/>
                      </a:moveTo>
                      <a:cubicBezTo>
                        <a:pt x="756824" y="579994"/>
                        <a:pt x="639628" y="771263"/>
                        <a:pt x="379934" y="771263"/>
                      </a:cubicBezTo>
                      <a:cubicBezTo>
                        <a:pt x="120239" y="771263"/>
                        <a:pt x="0" y="584279"/>
                        <a:pt x="0" y="389868"/>
                      </a:cubicBezTo>
                      <a:cubicBezTo>
                        <a:pt x="0" y="195458"/>
                        <a:pt x="124520" y="0"/>
                        <a:pt x="379934" y="0"/>
                      </a:cubicBezTo>
                      <a:cubicBezTo>
                        <a:pt x="634396" y="95"/>
                        <a:pt x="761104" y="195553"/>
                        <a:pt x="758916" y="388821"/>
                      </a:cubicBezTo>
                      <a:close/>
                      <a:moveTo>
                        <a:pt x="137267" y="392058"/>
                      </a:moveTo>
                      <a:cubicBezTo>
                        <a:pt x="140406" y="513540"/>
                        <a:pt x="205853" y="643497"/>
                        <a:pt x="380029" y="643497"/>
                      </a:cubicBezTo>
                      <a:cubicBezTo>
                        <a:pt x="554205" y="643497"/>
                        <a:pt x="619652" y="512493"/>
                        <a:pt x="621744" y="391010"/>
                      </a:cubicBezTo>
                      <a:cubicBezTo>
                        <a:pt x="623837" y="266291"/>
                        <a:pt x="554205" y="126910"/>
                        <a:pt x="380029" y="126910"/>
                      </a:cubicBezTo>
                      <a:cubicBezTo>
                        <a:pt x="205758" y="126910"/>
                        <a:pt x="134033" y="267338"/>
                        <a:pt x="137267" y="392058"/>
                      </a:cubicBez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3" name="Freeform 81">
                  <a:extLst>
                    <a:ext uri="{FF2B5EF4-FFF2-40B4-BE49-F238E27FC236}">
                      <a16:creationId xmlns:a16="http://schemas.microsoft.com/office/drawing/2014/main" id="{F8E4FF81-4674-1F29-AF58-33CDDE5DFAF8}"/>
                    </a:ext>
                  </a:extLst>
                </p:cNvPr>
                <p:cNvSpPr/>
                <p:nvPr/>
              </p:nvSpPr>
              <p:spPr>
                <a:xfrm>
                  <a:off x="7742443" y="5424609"/>
                  <a:ext cx="614419" cy="741653"/>
                </a:xfrm>
                <a:custGeom>
                  <a:avLst/>
                  <a:gdLst>
                    <a:gd name="connsiteX0" fmla="*/ 475060 w 614419"/>
                    <a:gd name="connsiteY0" fmla="*/ 0 h 741653"/>
                    <a:gd name="connsiteX1" fmla="*/ 614419 w 614419"/>
                    <a:gd name="connsiteY1" fmla="*/ 0 h 741653"/>
                    <a:gd name="connsiteX2" fmla="*/ 614419 w 614419"/>
                    <a:gd name="connsiteY2" fmla="*/ 740607 h 741653"/>
                    <a:gd name="connsiteX3" fmla="*/ 527855 w 614419"/>
                    <a:gd name="connsiteY3" fmla="*/ 740607 h 741653"/>
                    <a:gd name="connsiteX4" fmla="*/ 527855 w 614419"/>
                    <a:gd name="connsiteY4" fmla="*/ 741654 h 741653"/>
                    <a:gd name="connsiteX5" fmla="*/ 139359 w 614419"/>
                    <a:gd name="connsiteY5" fmla="*/ 241918 h 741653"/>
                    <a:gd name="connsiteX6" fmla="*/ 139359 w 614419"/>
                    <a:gd name="connsiteY6" fmla="*/ 740607 h 741653"/>
                    <a:gd name="connsiteX7" fmla="*/ 0 w 614419"/>
                    <a:gd name="connsiteY7" fmla="*/ 740607 h 741653"/>
                    <a:gd name="connsiteX8" fmla="*/ 0 w 614419"/>
                    <a:gd name="connsiteY8" fmla="*/ 1047 h 741653"/>
                    <a:gd name="connsiteX9" fmla="*/ 113010 w 614419"/>
                    <a:gd name="connsiteY9" fmla="*/ 1047 h 741653"/>
                    <a:gd name="connsiteX10" fmla="*/ 475060 w 614419"/>
                    <a:gd name="connsiteY10" fmla="*/ 459559 h 741653"/>
                    <a:gd name="connsiteX11" fmla="*/ 475060 w 614419"/>
                    <a:gd name="connsiteY11" fmla="*/ 0 h 74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4419" h="741653">
                      <a:moveTo>
                        <a:pt x="475060" y="0"/>
                      </a:moveTo>
                      <a:lnTo>
                        <a:pt x="614419" y="0"/>
                      </a:lnTo>
                      <a:lnTo>
                        <a:pt x="614419" y="740607"/>
                      </a:lnTo>
                      <a:lnTo>
                        <a:pt x="527855" y="740607"/>
                      </a:lnTo>
                      <a:lnTo>
                        <a:pt x="527855" y="741654"/>
                      </a:lnTo>
                      <a:lnTo>
                        <a:pt x="139359" y="241918"/>
                      </a:lnTo>
                      <a:lnTo>
                        <a:pt x="139359" y="740607"/>
                      </a:lnTo>
                      <a:lnTo>
                        <a:pt x="0" y="740607"/>
                      </a:lnTo>
                      <a:lnTo>
                        <a:pt x="0" y="1047"/>
                      </a:lnTo>
                      <a:lnTo>
                        <a:pt x="113010" y="1047"/>
                      </a:lnTo>
                      <a:lnTo>
                        <a:pt x="475060" y="459559"/>
                      </a:lnTo>
                      <a:lnTo>
                        <a:pt x="475060" y="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4" name="Freeform 82">
                  <a:extLst>
                    <a:ext uri="{FF2B5EF4-FFF2-40B4-BE49-F238E27FC236}">
                      <a16:creationId xmlns:a16="http://schemas.microsoft.com/office/drawing/2014/main" id="{CFED5D82-DEBA-E23A-418C-2F22CFFDA5C7}"/>
                    </a:ext>
                  </a:extLst>
                </p:cNvPr>
                <p:cNvSpPr/>
                <p:nvPr/>
              </p:nvSpPr>
              <p:spPr>
                <a:xfrm>
                  <a:off x="8482429" y="5425656"/>
                  <a:ext cx="553063" cy="739559"/>
                </a:xfrm>
                <a:custGeom>
                  <a:avLst/>
                  <a:gdLst>
                    <a:gd name="connsiteX0" fmla="*/ 553064 w 553063"/>
                    <a:gd name="connsiteY0" fmla="*/ 739560 h 739559"/>
                    <a:gd name="connsiteX1" fmla="*/ 0 w 553063"/>
                    <a:gd name="connsiteY1" fmla="*/ 739560 h 739559"/>
                    <a:gd name="connsiteX2" fmla="*/ 0 w 553063"/>
                    <a:gd name="connsiteY2" fmla="*/ 0 h 739559"/>
                    <a:gd name="connsiteX3" fmla="*/ 553064 w 553063"/>
                    <a:gd name="connsiteY3" fmla="*/ 0 h 739559"/>
                    <a:gd name="connsiteX4" fmla="*/ 553064 w 553063"/>
                    <a:gd name="connsiteY4" fmla="*/ 135288 h 739559"/>
                    <a:gd name="connsiteX5" fmla="*/ 138219 w 553063"/>
                    <a:gd name="connsiteY5" fmla="*/ 135288 h 739559"/>
                    <a:gd name="connsiteX6" fmla="*/ 138219 w 553063"/>
                    <a:gd name="connsiteY6" fmla="*/ 305325 h 739559"/>
                    <a:gd name="connsiteX7" fmla="*/ 538224 w 553063"/>
                    <a:gd name="connsiteY7" fmla="*/ 305325 h 739559"/>
                    <a:gd name="connsiteX8" fmla="*/ 538224 w 553063"/>
                    <a:gd name="connsiteY8" fmla="*/ 435281 h 739559"/>
                    <a:gd name="connsiteX9" fmla="*/ 138219 w 553063"/>
                    <a:gd name="connsiteY9" fmla="*/ 435281 h 739559"/>
                    <a:gd name="connsiteX10" fmla="*/ 138219 w 553063"/>
                    <a:gd name="connsiteY10" fmla="*/ 602177 h 739559"/>
                    <a:gd name="connsiteX11" fmla="*/ 553064 w 553063"/>
                    <a:gd name="connsiteY11" fmla="*/ 602177 h 739559"/>
                    <a:gd name="connsiteX12" fmla="*/ 553064 w 553063"/>
                    <a:gd name="connsiteY12" fmla="*/ 739560 h 739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3063" h="739559">
                      <a:moveTo>
                        <a:pt x="553064" y="739560"/>
                      </a:moveTo>
                      <a:lnTo>
                        <a:pt x="0" y="739560"/>
                      </a:lnTo>
                      <a:cubicBezTo>
                        <a:pt x="0" y="493452"/>
                        <a:pt x="0" y="246203"/>
                        <a:pt x="0" y="0"/>
                      </a:cubicBezTo>
                      <a:lnTo>
                        <a:pt x="553064" y="0"/>
                      </a:lnTo>
                      <a:lnTo>
                        <a:pt x="553064" y="135288"/>
                      </a:lnTo>
                      <a:lnTo>
                        <a:pt x="138219" y="135288"/>
                      </a:lnTo>
                      <a:lnTo>
                        <a:pt x="138219" y="305325"/>
                      </a:lnTo>
                      <a:lnTo>
                        <a:pt x="538224" y="305325"/>
                      </a:lnTo>
                      <a:lnTo>
                        <a:pt x="538224" y="435281"/>
                      </a:lnTo>
                      <a:lnTo>
                        <a:pt x="138219" y="435281"/>
                      </a:lnTo>
                      <a:lnTo>
                        <a:pt x="138219" y="602177"/>
                      </a:lnTo>
                      <a:lnTo>
                        <a:pt x="553064" y="602177"/>
                      </a:lnTo>
                      <a:lnTo>
                        <a:pt x="553064" y="73956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grpSp>
          <p:nvGrpSpPr>
            <p:cNvPr id="16" name="Graphic 2">
              <a:extLst>
                <a:ext uri="{FF2B5EF4-FFF2-40B4-BE49-F238E27FC236}">
                  <a16:creationId xmlns:a16="http://schemas.microsoft.com/office/drawing/2014/main" id="{19371E7A-A782-A690-6062-3E65185373BA}"/>
                </a:ext>
              </a:extLst>
            </p:cNvPr>
            <p:cNvGrpSpPr/>
            <p:nvPr/>
          </p:nvGrpSpPr>
          <p:grpSpPr>
            <a:xfrm>
              <a:off x="2716311" y="648027"/>
              <a:ext cx="2950814" cy="4756864"/>
              <a:chOff x="4425584" y="267785"/>
              <a:chExt cx="2950814" cy="4756864"/>
            </a:xfrm>
            <a:solidFill>
              <a:schemeClr val="accent1"/>
            </a:solidFill>
          </p:grpSpPr>
          <p:grpSp>
            <p:nvGrpSpPr>
              <p:cNvPr id="20" name="Graphic 2">
                <a:extLst>
                  <a:ext uri="{FF2B5EF4-FFF2-40B4-BE49-F238E27FC236}">
                    <a16:creationId xmlns:a16="http://schemas.microsoft.com/office/drawing/2014/main" id="{AC910508-C21C-3348-F469-04B81474BE27}"/>
                  </a:ext>
                </a:extLst>
              </p:cNvPr>
              <p:cNvGrpSpPr/>
              <p:nvPr/>
            </p:nvGrpSpPr>
            <p:grpSpPr>
              <a:xfrm>
                <a:off x="5720269" y="2764575"/>
                <a:ext cx="1656129" cy="1882392"/>
                <a:chOff x="5720269" y="2764575"/>
                <a:chExt cx="1656129" cy="1882392"/>
              </a:xfrm>
              <a:solidFill>
                <a:schemeClr val="accent1"/>
              </a:solidFill>
            </p:grpSpPr>
            <p:grpSp>
              <p:nvGrpSpPr>
                <p:cNvPr id="23" name="Graphic 2">
                  <a:extLst>
                    <a:ext uri="{FF2B5EF4-FFF2-40B4-BE49-F238E27FC236}">
                      <a16:creationId xmlns:a16="http://schemas.microsoft.com/office/drawing/2014/main" id="{D20E1906-556D-B4F9-8589-E54EE3A0CEDC}"/>
                    </a:ext>
                  </a:extLst>
                </p:cNvPr>
                <p:cNvGrpSpPr/>
                <p:nvPr/>
              </p:nvGrpSpPr>
              <p:grpSpPr>
                <a:xfrm>
                  <a:off x="5720269" y="2764575"/>
                  <a:ext cx="1656129" cy="1882392"/>
                  <a:chOff x="5720269" y="2764575"/>
                  <a:chExt cx="1656129" cy="1882392"/>
                </a:xfrm>
                <a:solidFill>
                  <a:srgbClr val="00A099"/>
                </a:solidFill>
              </p:grpSpPr>
              <p:sp>
                <p:nvSpPr>
                  <p:cNvPr id="27" name="Freeform 75">
                    <a:extLst>
                      <a:ext uri="{FF2B5EF4-FFF2-40B4-BE49-F238E27FC236}">
                        <a16:creationId xmlns:a16="http://schemas.microsoft.com/office/drawing/2014/main" id="{97F3DB1C-118D-C7C1-AEDF-E9042CD75175}"/>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8" name="Freeform 76">
                    <a:extLst>
                      <a:ext uri="{FF2B5EF4-FFF2-40B4-BE49-F238E27FC236}">
                        <a16:creationId xmlns:a16="http://schemas.microsoft.com/office/drawing/2014/main" id="{FEC144EF-E175-4BB7-B63D-DE5D17782173}"/>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9" name="Freeform 77">
                    <a:extLst>
                      <a:ext uri="{FF2B5EF4-FFF2-40B4-BE49-F238E27FC236}">
                        <a16:creationId xmlns:a16="http://schemas.microsoft.com/office/drawing/2014/main" id="{CA644BE9-5F83-8F12-86DC-E1CCD1C7D762}"/>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4" name="Freeform 72">
                  <a:extLst>
                    <a:ext uri="{FF2B5EF4-FFF2-40B4-BE49-F238E27FC236}">
                      <a16:creationId xmlns:a16="http://schemas.microsoft.com/office/drawing/2014/main" id="{1D00B076-EBB8-556C-3DFC-71759BD4C335}"/>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5" name="Freeform 73">
                  <a:extLst>
                    <a:ext uri="{FF2B5EF4-FFF2-40B4-BE49-F238E27FC236}">
                      <a16:creationId xmlns:a16="http://schemas.microsoft.com/office/drawing/2014/main" id="{2F7ED081-C999-8758-67C9-DAFC71A8E23E}"/>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6" name="Freeform 74">
                  <a:extLst>
                    <a:ext uri="{FF2B5EF4-FFF2-40B4-BE49-F238E27FC236}">
                      <a16:creationId xmlns:a16="http://schemas.microsoft.com/office/drawing/2014/main" id="{9D7A7B74-5E3E-31B5-21CB-36444F102446}"/>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1" name="Freeform 69">
                <a:extLst>
                  <a:ext uri="{FF2B5EF4-FFF2-40B4-BE49-F238E27FC236}">
                    <a16:creationId xmlns:a16="http://schemas.microsoft.com/office/drawing/2014/main" id="{1D585580-D909-3DE5-6253-F807672B018B}"/>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Freeform 70">
                <a:extLst>
                  <a:ext uri="{FF2B5EF4-FFF2-40B4-BE49-F238E27FC236}">
                    <a16:creationId xmlns:a16="http://schemas.microsoft.com/office/drawing/2014/main" id="{E3E7C6BC-9D2C-45E8-3135-B9B8BF5A1398}"/>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17" name="Graphic 2">
              <a:extLst>
                <a:ext uri="{FF2B5EF4-FFF2-40B4-BE49-F238E27FC236}">
                  <a16:creationId xmlns:a16="http://schemas.microsoft.com/office/drawing/2014/main" id="{C5D47B62-9857-773D-6817-770CDFB9066E}"/>
                </a:ext>
              </a:extLst>
            </p:cNvPr>
            <p:cNvGrpSpPr/>
            <p:nvPr/>
          </p:nvGrpSpPr>
          <p:grpSpPr>
            <a:xfrm>
              <a:off x="9002626" y="5508867"/>
              <a:ext cx="473062" cy="244679"/>
              <a:chOff x="9052805" y="5306649"/>
              <a:chExt cx="473062" cy="244679"/>
            </a:xfrm>
            <a:solidFill>
              <a:schemeClr val="accent4"/>
            </a:solidFill>
          </p:grpSpPr>
          <p:sp>
            <p:nvSpPr>
              <p:cNvPr id="18" name="Freeform 66">
                <a:extLst>
                  <a:ext uri="{FF2B5EF4-FFF2-40B4-BE49-F238E27FC236}">
                    <a16:creationId xmlns:a16="http://schemas.microsoft.com/office/drawing/2014/main" id="{40E5A50E-3316-61F4-53F7-A2A6DD0471DA}"/>
                  </a:ext>
                </a:extLst>
              </p:cNvPr>
              <p:cNvSpPr/>
              <p:nvPr/>
            </p:nvSpPr>
            <p:spPr>
              <a:xfrm>
                <a:off x="9052805" y="5306649"/>
                <a:ext cx="183783" cy="244679"/>
              </a:xfrm>
              <a:custGeom>
                <a:avLst/>
                <a:gdLst>
                  <a:gd name="connsiteX0" fmla="*/ 111868 w 183783"/>
                  <a:gd name="connsiteY0" fmla="*/ 244679 h 244679"/>
                  <a:gd name="connsiteX1" fmla="*/ 71915 w 183783"/>
                  <a:gd name="connsiteY1" fmla="*/ 244679 h 244679"/>
                  <a:gd name="connsiteX2" fmla="*/ 71915 w 183783"/>
                  <a:gd name="connsiteY2" fmla="*/ 34274 h 244679"/>
                  <a:gd name="connsiteX3" fmla="*/ 0 w 183783"/>
                  <a:gd name="connsiteY3" fmla="*/ 34274 h 244679"/>
                  <a:gd name="connsiteX4" fmla="*/ 0 w 183783"/>
                  <a:gd name="connsiteY4" fmla="*/ 0 h 244679"/>
                  <a:gd name="connsiteX5" fmla="*/ 183784 w 183783"/>
                  <a:gd name="connsiteY5" fmla="*/ 0 h 244679"/>
                  <a:gd name="connsiteX6" fmla="*/ 183784 w 183783"/>
                  <a:gd name="connsiteY6" fmla="*/ 34274 h 244679"/>
                  <a:gd name="connsiteX7" fmla="*/ 111868 w 183783"/>
                  <a:gd name="connsiteY7" fmla="*/ 34274 h 244679"/>
                  <a:gd name="connsiteX8" fmla="*/ 111868 w 183783"/>
                  <a:gd name="connsiteY8"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783" h="244679">
                    <a:moveTo>
                      <a:pt x="111868" y="244679"/>
                    </a:moveTo>
                    <a:lnTo>
                      <a:pt x="71915" y="244679"/>
                    </a:lnTo>
                    <a:lnTo>
                      <a:pt x="71915" y="34274"/>
                    </a:lnTo>
                    <a:lnTo>
                      <a:pt x="0" y="34274"/>
                    </a:lnTo>
                    <a:lnTo>
                      <a:pt x="0" y="0"/>
                    </a:lnTo>
                    <a:lnTo>
                      <a:pt x="183784" y="0"/>
                    </a:lnTo>
                    <a:lnTo>
                      <a:pt x="183784" y="34274"/>
                    </a:lnTo>
                    <a:lnTo>
                      <a:pt x="111868" y="34274"/>
                    </a:lnTo>
                    <a:lnTo>
                      <a:pt x="111868"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Freeform 67">
                <a:extLst>
                  <a:ext uri="{FF2B5EF4-FFF2-40B4-BE49-F238E27FC236}">
                    <a16:creationId xmlns:a16="http://schemas.microsoft.com/office/drawing/2014/main" id="{1A318567-5E5D-2409-051F-2200CB67401E}"/>
                  </a:ext>
                </a:extLst>
              </p:cNvPr>
              <p:cNvSpPr/>
              <p:nvPr/>
            </p:nvSpPr>
            <p:spPr>
              <a:xfrm>
                <a:off x="9274164" y="5306649"/>
                <a:ext cx="251703" cy="244679"/>
              </a:xfrm>
              <a:custGeom>
                <a:avLst/>
                <a:gdLst>
                  <a:gd name="connsiteX0" fmla="*/ 105590 w 251703"/>
                  <a:gd name="connsiteY0" fmla="*/ 244679 h 244679"/>
                  <a:gd name="connsiteX1" fmla="*/ 34721 w 251703"/>
                  <a:gd name="connsiteY1" fmla="*/ 40368 h 244679"/>
                  <a:gd name="connsiteX2" fmla="*/ 33389 w 251703"/>
                  <a:gd name="connsiteY2" fmla="*/ 40368 h 244679"/>
                  <a:gd name="connsiteX3" fmla="*/ 36243 w 251703"/>
                  <a:gd name="connsiteY3" fmla="*/ 125672 h 244679"/>
                  <a:gd name="connsiteX4" fmla="*/ 36243 w 251703"/>
                  <a:gd name="connsiteY4" fmla="*/ 244679 h 244679"/>
                  <a:gd name="connsiteX5" fmla="*/ 0 w 251703"/>
                  <a:gd name="connsiteY5" fmla="*/ 244679 h 244679"/>
                  <a:gd name="connsiteX6" fmla="*/ 0 w 251703"/>
                  <a:gd name="connsiteY6" fmla="*/ 0 h 244679"/>
                  <a:gd name="connsiteX7" fmla="*/ 56315 w 251703"/>
                  <a:gd name="connsiteY7" fmla="*/ 0 h 244679"/>
                  <a:gd name="connsiteX8" fmla="*/ 124235 w 251703"/>
                  <a:gd name="connsiteY8" fmla="*/ 194601 h 244679"/>
                  <a:gd name="connsiteX9" fmla="*/ 125282 w 251703"/>
                  <a:gd name="connsiteY9" fmla="*/ 194601 h 244679"/>
                  <a:gd name="connsiteX10" fmla="*/ 195199 w 251703"/>
                  <a:gd name="connsiteY10" fmla="*/ 0 h 244679"/>
                  <a:gd name="connsiteX11" fmla="*/ 251704 w 251703"/>
                  <a:gd name="connsiteY11" fmla="*/ 0 h 244679"/>
                  <a:gd name="connsiteX12" fmla="*/ 251704 w 251703"/>
                  <a:gd name="connsiteY12" fmla="*/ 244679 h 244679"/>
                  <a:gd name="connsiteX13" fmla="*/ 213083 w 251703"/>
                  <a:gd name="connsiteY13" fmla="*/ 244679 h 244679"/>
                  <a:gd name="connsiteX14" fmla="*/ 213083 w 251703"/>
                  <a:gd name="connsiteY14" fmla="*/ 123673 h 244679"/>
                  <a:gd name="connsiteX15" fmla="*/ 214034 w 251703"/>
                  <a:gd name="connsiteY15" fmla="*/ 76165 h 244679"/>
                  <a:gd name="connsiteX16" fmla="*/ 215651 w 251703"/>
                  <a:gd name="connsiteY16" fmla="*/ 40653 h 244679"/>
                  <a:gd name="connsiteX17" fmla="*/ 214319 w 251703"/>
                  <a:gd name="connsiteY17" fmla="*/ 40653 h 244679"/>
                  <a:gd name="connsiteX18" fmla="*/ 140882 w 251703"/>
                  <a:gd name="connsiteY18" fmla="*/ 244679 h 244679"/>
                  <a:gd name="connsiteX19" fmla="*/ 105590 w 251703"/>
                  <a:gd name="connsiteY19"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1703" h="244679">
                    <a:moveTo>
                      <a:pt x="105590" y="244679"/>
                    </a:moveTo>
                    <a:lnTo>
                      <a:pt x="34721" y="40368"/>
                    </a:lnTo>
                    <a:lnTo>
                      <a:pt x="33389" y="40368"/>
                    </a:lnTo>
                    <a:cubicBezTo>
                      <a:pt x="35292" y="70738"/>
                      <a:pt x="36243" y="99205"/>
                      <a:pt x="36243" y="125672"/>
                    </a:cubicBezTo>
                    <a:lnTo>
                      <a:pt x="36243" y="244679"/>
                    </a:lnTo>
                    <a:lnTo>
                      <a:pt x="0" y="244679"/>
                    </a:lnTo>
                    <a:lnTo>
                      <a:pt x="0" y="0"/>
                    </a:lnTo>
                    <a:lnTo>
                      <a:pt x="56315" y="0"/>
                    </a:lnTo>
                    <a:lnTo>
                      <a:pt x="124235" y="194601"/>
                    </a:lnTo>
                    <a:lnTo>
                      <a:pt x="125282" y="194601"/>
                    </a:lnTo>
                    <a:lnTo>
                      <a:pt x="195199" y="0"/>
                    </a:lnTo>
                    <a:lnTo>
                      <a:pt x="251704" y="0"/>
                    </a:lnTo>
                    <a:lnTo>
                      <a:pt x="251704" y="244679"/>
                    </a:lnTo>
                    <a:lnTo>
                      <a:pt x="213083" y="244679"/>
                    </a:lnTo>
                    <a:lnTo>
                      <a:pt x="213083" y="123673"/>
                    </a:lnTo>
                    <a:cubicBezTo>
                      <a:pt x="213083" y="111486"/>
                      <a:pt x="213368" y="95682"/>
                      <a:pt x="214034" y="76165"/>
                    </a:cubicBezTo>
                    <a:cubicBezTo>
                      <a:pt x="214605" y="56648"/>
                      <a:pt x="215175" y="44842"/>
                      <a:pt x="215651" y="40653"/>
                    </a:cubicBezTo>
                    <a:lnTo>
                      <a:pt x="214319" y="40653"/>
                    </a:lnTo>
                    <a:lnTo>
                      <a:pt x="140882" y="244679"/>
                    </a:lnTo>
                    <a:lnTo>
                      <a:pt x="105590"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Nexa Book" panose="00000400000000000000" pitchFamily="50" charset="0"/>
                  <a:ea typeface="+mn-ea"/>
                  <a:cs typeface="+mn-cs"/>
                </a:endParaRPr>
              </a:p>
            </p:txBody>
          </p:sp>
        </p:grpSp>
      </p:grpSp>
      <p:cxnSp>
        <p:nvCxnSpPr>
          <p:cNvPr id="43" name="Straight Connector 42">
            <a:extLst>
              <a:ext uri="{FF2B5EF4-FFF2-40B4-BE49-F238E27FC236}">
                <a16:creationId xmlns:a16="http://schemas.microsoft.com/office/drawing/2014/main" id="{515DAD2E-0239-2629-81B9-6C35ED1D55BB}"/>
              </a:ext>
            </a:extLst>
          </p:cNvPr>
          <p:cNvCxnSpPr>
            <a:cxnSpLocks/>
          </p:cNvCxnSpPr>
          <p:nvPr/>
        </p:nvCxnSpPr>
        <p:spPr>
          <a:xfrm>
            <a:off x="5703569" y="2990850"/>
            <a:ext cx="2939228" cy="0"/>
          </a:xfrm>
          <a:prstGeom prst="line">
            <a:avLst/>
          </a:prstGeom>
          <a:ln w="25400" cap="rnd">
            <a:solidFill>
              <a:srgbClr val="CBEAE7"/>
            </a:solidFill>
            <a:round/>
          </a:ln>
        </p:spPr>
        <p:style>
          <a:lnRef idx="1">
            <a:schemeClr val="accent1"/>
          </a:lnRef>
          <a:fillRef idx="0">
            <a:schemeClr val="accent1"/>
          </a:fillRef>
          <a:effectRef idx="0">
            <a:schemeClr val="accent1"/>
          </a:effectRef>
          <a:fontRef idx="minor">
            <a:schemeClr val="tx1"/>
          </a:fontRef>
        </p:style>
      </p:cxnSp>
      <p:sp>
        <p:nvSpPr>
          <p:cNvPr id="3" name="Subtitle 2">
            <a:extLst>
              <a:ext uri="{FF2B5EF4-FFF2-40B4-BE49-F238E27FC236}">
                <a16:creationId xmlns:a16="http://schemas.microsoft.com/office/drawing/2014/main" id="{F85FF42B-03AC-FAA8-76CA-353BF5B90CFA}"/>
              </a:ext>
            </a:extLst>
          </p:cNvPr>
          <p:cNvSpPr>
            <a:spLocks noGrp="1"/>
          </p:cNvSpPr>
          <p:nvPr>
            <p:ph type="subTitle" idx="1"/>
          </p:nvPr>
        </p:nvSpPr>
        <p:spPr>
          <a:xfrm>
            <a:off x="5703569" y="3094356"/>
            <a:ext cx="2947981" cy="1241425"/>
          </a:xfrm>
        </p:spPr>
        <p:txBody>
          <a:bodyPr>
            <a:normAutofit/>
          </a:bodyPr>
          <a:lstStyle>
            <a:lvl1pPr marL="0" indent="0" algn="l">
              <a:buNone/>
              <a:defRPr sz="1800">
                <a:solidFill>
                  <a:schemeClr val="bg1"/>
                </a:solidFill>
              </a:defRPr>
            </a:lvl1pPr>
            <a:lvl2pPr marL="457189" indent="0" algn="ctr">
              <a:buNone/>
              <a:defRPr sz="2000"/>
            </a:lvl2pPr>
            <a:lvl3pPr marL="914378" indent="0" algn="ctr">
              <a:buNone/>
              <a:defRPr sz="1800"/>
            </a:lvl3pPr>
            <a:lvl4pPr marL="1371566" indent="0" algn="ctr">
              <a:buNone/>
              <a:defRPr sz="1600"/>
            </a:lvl4pPr>
            <a:lvl5pPr marL="1828754" indent="0" algn="ctr">
              <a:buNone/>
              <a:defRPr sz="1600"/>
            </a:lvl5pPr>
            <a:lvl6pPr marL="2285943" indent="0" algn="ctr">
              <a:buNone/>
              <a:defRPr sz="1600"/>
            </a:lvl6pPr>
            <a:lvl7pPr marL="2743132" indent="0" algn="ctr">
              <a:buNone/>
              <a:defRPr sz="1600"/>
            </a:lvl7pPr>
            <a:lvl8pPr marL="3200320" indent="0" algn="ctr">
              <a:buNone/>
              <a:defRPr sz="1600"/>
            </a:lvl8pPr>
            <a:lvl9pPr marL="3657509" indent="0" algn="ctr">
              <a:buNone/>
              <a:defRPr sz="1600"/>
            </a:lvl9pPr>
          </a:lstStyle>
          <a:p>
            <a:r>
              <a:rPr lang="en-US"/>
              <a:t>Click to edit Master subtitle style</a:t>
            </a:r>
            <a:endParaRPr lang="en-AE"/>
          </a:p>
        </p:txBody>
      </p:sp>
      <p:sp>
        <p:nvSpPr>
          <p:cNvPr id="2" name="Title 1">
            <a:extLst>
              <a:ext uri="{FF2B5EF4-FFF2-40B4-BE49-F238E27FC236}">
                <a16:creationId xmlns:a16="http://schemas.microsoft.com/office/drawing/2014/main" id="{8A6E9D5E-1E87-5800-4BA2-D8CE197C69E0}"/>
              </a:ext>
            </a:extLst>
          </p:cNvPr>
          <p:cNvSpPr>
            <a:spLocks noGrp="1"/>
          </p:cNvSpPr>
          <p:nvPr>
            <p:ph type="ctrTitle"/>
          </p:nvPr>
        </p:nvSpPr>
        <p:spPr>
          <a:xfrm>
            <a:off x="5703569" y="1100455"/>
            <a:ext cx="2947981" cy="1790700"/>
          </a:xfrm>
        </p:spPr>
        <p:txBody>
          <a:bodyPr anchor="b">
            <a:normAutofit/>
          </a:bodyPr>
          <a:lstStyle>
            <a:lvl1pPr algn="l">
              <a:defRPr sz="2000">
                <a:solidFill>
                  <a:schemeClr val="bg1"/>
                </a:solidFill>
              </a:defRPr>
            </a:lvl1pPr>
          </a:lstStyle>
          <a:p>
            <a:r>
              <a:rPr lang="en-US"/>
              <a:t>Click to edit Master title style</a:t>
            </a:r>
            <a:endParaRPr lang="en-AE"/>
          </a:p>
        </p:txBody>
      </p:sp>
    </p:spTree>
    <p:extLst>
      <p:ext uri="{BB962C8B-B14F-4D97-AF65-F5344CB8AC3E}">
        <p14:creationId xmlns:p14="http://schemas.microsoft.com/office/powerpoint/2010/main" val="263667030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Do Not Use">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C49DD4C-BEC7-0BC9-89AD-417A87846BDF}"/>
              </a:ext>
            </a:extLst>
          </p:cNvPr>
          <p:cNvGraphicFramePr>
            <a:graphicFrameLocks noChangeAspect="1"/>
          </p:cNvGraphicFramePr>
          <p:nvPr userDrawn="1">
            <p:custDataLst>
              <p:tags r:id="rId1"/>
            </p:custDataLst>
            <p:extLst>
              <p:ext uri="{D42A27DB-BD31-4B8C-83A1-F6EECF244321}">
                <p14:modId xmlns:p14="http://schemas.microsoft.com/office/powerpoint/2010/main" val="40556111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3" name="think-cell data - do not delete" hidden="1">
                        <a:extLst>
                          <a:ext uri="{FF2B5EF4-FFF2-40B4-BE49-F238E27FC236}">
                            <a16:creationId xmlns:a16="http://schemas.microsoft.com/office/drawing/2014/main" id="{AC49DD4C-BEC7-0BC9-89AD-417A87846B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8" name="Picture Placeholder 14">
            <a:extLst>
              <a:ext uri="{FF2B5EF4-FFF2-40B4-BE49-F238E27FC236}">
                <a16:creationId xmlns:a16="http://schemas.microsoft.com/office/drawing/2014/main" id="{F43B1177-EE3F-37B2-D435-8F8EEBF4A0DE}"/>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4889" y="-2727"/>
            <a:ext cx="9153693" cy="5148952"/>
          </a:xfrm>
          <a:prstGeom prst="rect">
            <a:avLst/>
          </a:prstGeom>
          <a:noFill/>
        </p:spPr>
      </p:pic>
      <p:grpSp>
        <p:nvGrpSpPr>
          <p:cNvPr id="9" name="Graphic 2">
            <a:extLst>
              <a:ext uri="{FF2B5EF4-FFF2-40B4-BE49-F238E27FC236}">
                <a16:creationId xmlns:a16="http://schemas.microsoft.com/office/drawing/2014/main" id="{629D7DF9-2FFB-CA9B-D0E1-CD0F4E78F8CB}"/>
              </a:ext>
            </a:extLst>
          </p:cNvPr>
          <p:cNvGrpSpPr>
            <a:grpSpLocks noChangeAspect="1"/>
          </p:cNvGrpSpPr>
          <p:nvPr/>
        </p:nvGrpSpPr>
        <p:grpSpPr>
          <a:xfrm>
            <a:off x="4804" y="2"/>
            <a:ext cx="468178" cy="756000"/>
            <a:chOff x="4425584" y="267785"/>
            <a:chExt cx="2950814" cy="4756864"/>
          </a:xfrm>
          <a:solidFill>
            <a:schemeClr val="accent1"/>
          </a:solidFill>
        </p:grpSpPr>
        <p:grpSp>
          <p:nvGrpSpPr>
            <p:cNvPr id="10" name="Graphic 2">
              <a:extLst>
                <a:ext uri="{FF2B5EF4-FFF2-40B4-BE49-F238E27FC236}">
                  <a16:creationId xmlns:a16="http://schemas.microsoft.com/office/drawing/2014/main" id="{63854936-3707-C179-ED0A-C3178706CFDE}"/>
                </a:ext>
              </a:extLst>
            </p:cNvPr>
            <p:cNvGrpSpPr/>
            <p:nvPr/>
          </p:nvGrpSpPr>
          <p:grpSpPr>
            <a:xfrm>
              <a:off x="5720269" y="2764575"/>
              <a:ext cx="1656129" cy="1882392"/>
              <a:chOff x="5720269" y="2764575"/>
              <a:chExt cx="1656129" cy="1882392"/>
            </a:xfrm>
            <a:solidFill>
              <a:schemeClr val="accent1"/>
            </a:solidFill>
          </p:grpSpPr>
          <p:grpSp>
            <p:nvGrpSpPr>
              <p:cNvPr id="13" name="Graphic 2">
                <a:extLst>
                  <a:ext uri="{FF2B5EF4-FFF2-40B4-BE49-F238E27FC236}">
                    <a16:creationId xmlns:a16="http://schemas.microsoft.com/office/drawing/2014/main" id="{A7E7E6A8-212F-B2F6-B689-DE5392E9A650}"/>
                  </a:ext>
                </a:extLst>
              </p:cNvPr>
              <p:cNvGrpSpPr/>
              <p:nvPr/>
            </p:nvGrpSpPr>
            <p:grpSpPr>
              <a:xfrm>
                <a:off x="5720269" y="2764575"/>
                <a:ext cx="1656129" cy="1882392"/>
                <a:chOff x="5720269" y="2764575"/>
                <a:chExt cx="1656129" cy="1882392"/>
              </a:xfrm>
              <a:solidFill>
                <a:srgbClr val="00A099"/>
              </a:solidFill>
            </p:grpSpPr>
            <p:sp>
              <p:nvSpPr>
                <p:cNvPr id="17" name="Freeform 75">
                  <a:extLst>
                    <a:ext uri="{FF2B5EF4-FFF2-40B4-BE49-F238E27FC236}">
                      <a16:creationId xmlns:a16="http://schemas.microsoft.com/office/drawing/2014/main" id="{E8DF4AF7-11ED-705B-8D7C-92BF33AFCFF1}"/>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6">
                  <a:extLst>
                    <a:ext uri="{FF2B5EF4-FFF2-40B4-BE49-F238E27FC236}">
                      <a16:creationId xmlns:a16="http://schemas.microsoft.com/office/drawing/2014/main" id="{CEA1F491-23EA-A95A-5186-B16499A0534B}"/>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Freeform 77">
                  <a:extLst>
                    <a:ext uri="{FF2B5EF4-FFF2-40B4-BE49-F238E27FC236}">
                      <a16:creationId xmlns:a16="http://schemas.microsoft.com/office/drawing/2014/main" id="{FE9A57D5-2AEE-950A-9E9D-C2530527BEBD}"/>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4" name="Freeform 72">
                <a:extLst>
                  <a:ext uri="{FF2B5EF4-FFF2-40B4-BE49-F238E27FC236}">
                    <a16:creationId xmlns:a16="http://schemas.microsoft.com/office/drawing/2014/main" id="{D4439610-ABFF-850C-DB57-C92AE4670F78}"/>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3">
                <a:extLst>
                  <a:ext uri="{FF2B5EF4-FFF2-40B4-BE49-F238E27FC236}">
                    <a16:creationId xmlns:a16="http://schemas.microsoft.com/office/drawing/2014/main" id="{F2E99D1C-7A3E-362C-5368-A22764FD0A2D}"/>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4">
                <a:extLst>
                  <a:ext uri="{FF2B5EF4-FFF2-40B4-BE49-F238E27FC236}">
                    <a16:creationId xmlns:a16="http://schemas.microsoft.com/office/drawing/2014/main" id="{57B39A8B-4C2E-E73B-2939-F44C5C8945DB}"/>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69">
              <a:extLst>
                <a:ext uri="{FF2B5EF4-FFF2-40B4-BE49-F238E27FC236}">
                  <a16:creationId xmlns:a16="http://schemas.microsoft.com/office/drawing/2014/main" id="{B01CFC8D-EAAB-072D-666C-B7D3E1B97F1C}"/>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0">
              <a:extLst>
                <a:ext uri="{FF2B5EF4-FFF2-40B4-BE49-F238E27FC236}">
                  <a16:creationId xmlns:a16="http://schemas.microsoft.com/office/drawing/2014/main" id="{365F49D4-B7AD-09E3-423E-6B7FBB9562D4}"/>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pic>
        <p:nvPicPr>
          <p:cNvPr id="20" name="Picture 19">
            <a:extLst>
              <a:ext uri="{FF2B5EF4-FFF2-40B4-BE49-F238E27FC236}">
                <a16:creationId xmlns:a16="http://schemas.microsoft.com/office/drawing/2014/main" id="{CC1F151B-8AE3-1C6A-A9DE-541335FA1F34}"/>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t="-126"/>
          <a:stretch/>
        </p:blipFill>
        <p:spPr>
          <a:xfrm>
            <a:off x="5759872" y="1"/>
            <a:ext cx="3384128" cy="5142476"/>
          </a:xfrm>
          <a:custGeom>
            <a:avLst/>
            <a:gdLst>
              <a:gd name="connsiteX0" fmla="*/ 1105105 w 4512171"/>
              <a:gd name="connsiteY0" fmla="*/ 0 h 6846621"/>
              <a:gd name="connsiteX1" fmla="*/ 4512171 w 4512171"/>
              <a:gd name="connsiteY1" fmla="*/ 0 h 6846621"/>
              <a:gd name="connsiteX2" fmla="*/ 4512171 w 4512171"/>
              <a:gd name="connsiteY2" fmla="*/ 6846621 h 6846621"/>
              <a:gd name="connsiteX3" fmla="*/ 563823 w 4512171"/>
              <a:gd name="connsiteY3" fmla="*/ 6846621 h 6846621"/>
              <a:gd name="connsiteX4" fmla="*/ 568538 w 4512171"/>
              <a:gd name="connsiteY4" fmla="*/ 6843623 h 6846621"/>
              <a:gd name="connsiteX5" fmla="*/ 568537 w 4512171"/>
              <a:gd name="connsiteY5" fmla="*/ 6843623 h 6846621"/>
              <a:gd name="connsiteX6" fmla="*/ 563822 w 4512171"/>
              <a:gd name="connsiteY6" fmla="*/ 6846621 h 6846621"/>
              <a:gd name="connsiteX7" fmla="*/ 0 w 4512171"/>
              <a:gd name="connsiteY7" fmla="*/ 6846621 h 6846621"/>
              <a:gd name="connsiteX8" fmla="*/ 167413 w 4512171"/>
              <a:gd name="connsiteY8" fmla="*/ 5809420 h 6846621"/>
              <a:gd name="connsiteX9" fmla="*/ 925593 w 4512171"/>
              <a:gd name="connsiteY9" fmla="*/ 5809420 h 6846621"/>
              <a:gd name="connsiteX10" fmla="*/ 925593 w 4512171"/>
              <a:gd name="connsiteY10" fmla="*/ 5809419 h 6846621"/>
              <a:gd name="connsiteX11" fmla="*/ 167413 w 4512171"/>
              <a:gd name="connsiteY11" fmla="*/ 5809419 h 6846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12171" h="6846621">
                <a:moveTo>
                  <a:pt x="1105105" y="0"/>
                </a:moveTo>
                <a:lnTo>
                  <a:pt x="4512171" y="0"/>
                </a:lnTo>
                <a:lnTo>
                  <a:pt x="4512171" y="6846621"/>
                </a:lnTo>
                <a:lnTo>
                  <a:pt x="563823" y="6846621"/>
                </a:lnTo>
                <a:lnTo>
                  <a:pt x="568538" y="6843623"/>
                </a:lnTo>
                <a:lnTo>
                  <a:pt x="568537" y="6843623"/>
                </a:lnTo>
                <a:lnTo>
                  <a:pt x="563822" y="6846621"/>
                </a:lnTo>
                <a:lnTo>
                  <a:pt x="0" y="6846621"/>
                </a:lnTo>
                <a:lnTo>
                  <a:pt x="167413" y="5809420"/>
                </a:lnTo>
                <a:lnTo>
                  <a:pt x="925593" y="5809420"/>
                </a:lnTo>
                <a:lnTo>
                  <a:pt x="925593" y="5809419"/>
                </a:lnTo>
                <a:lnTo>
                  <a:pt x="167413" y="5809419"/>
                </a:lnTo>
                <a:close/>
              </a:path>
            </a:pathLst>
          </a:custGeom>
          <a:noFill/>
          <a:effectLst>
            <a:outerShdw blurRad="190500" dist="63500" dir="10800000" algn="r" rotWithShape="0">
              <a:prstClr val="black">
                <a:alpha val="40000"/>
              </a:prstClr>
            </a:outerShdw>
          </a:effectLst>
        </p:spPr>
      </p:pic>
      <p:sp>
        <p:nvSpPr>
          <p:cNvPr id="21" name="Freeform 8">
            <a:extLst>
              <a:ext uri="{FF2B5EF4-FFF2-40B4-BE49-F238E27FC236}">
                <a16:creationId xmlns:a16="http://schemas.microsoft.com/office/drawing/2014/main" id="{446F043B-249B-6492-7BBD-7C2766E2E242}"/>
              </a:ext>
            </a:extLst>
          </p:cNvPr>
          <p:cNvSpPr/>
          <p:nvPr/>
        </p:nvSpPr>
        <p:spPr>
          <a:xfrm>
            <a:off x="5754984"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cxnSp>
        <p:nvCxnSpPr>
          <p:cNvPr id="22" name="Straight Connector 21">
            <a:extLst>
              <a:ext uri="{FF2B5EF4-FFF2-40B4-BE49-F238E27FC236}">
                <a16:creationId xmlns:a16="http://schemas.microsoft.com/office/drawing/2014/main" id="{0723795D-9378-7FB7-C711-11F7C20ADEDF}"/>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 name="Date Placeholder 3">
            <a:extLst>
              <a:ext uri="{FF2B5EF4-FFF2-40B4-BE49-F238E27FC236}">
                <a16:creationId xmlns:a16="http://schemas.microsoft.com/office/drawing/2014/main" id="{6D101FA7-7D28-FDAD-48FE-E07FB61C5D2D}"/>
              </a:ext>
            </a:extLst>
          </p:cNvPr>
          <p:cNvSpPr>
            <a:spLocks noGrp="1"/>
          </p:cNvSpPr>
          <p:nvPr>
            <p:ph type="dt" sz="half" idx="10"/>
          </p:nvPr>
        </p:nvSpPr>
        <p:spPr>
          <a:xfrm>
            <a:off x="7632340" y="4972050"/>
            <a:ext cx="609508" cy="171450"/>
          </a:xfrm>
        </p:spPr>
        <p:txBody>
          <a:bodyPr/>
          <a:lstStyle/>
          <a:p>
            <a:r>
              <a:rPr lang="en-US"/>
              <a:t>14/01/2024</a:t>
            </a:r>
            <a:endParaRPr lang="en-AE"/>
          </a:p>
        </p:txBody>
      </p:sp>
      <p:sp>
        <p:nvSpPr>
          <p:cNvPr id="5" name="Footer Placeholder 4">
            <a:extLst>
              <a:ext uri="{FF2B5EF4-FFF2-40B4-BE49-F238E27FC236}">
                <a16:creationId xmlns:a16="http://schemas.microsoft.com/office/drawing/2014/main" id="{AD0C0B73-0DB1-780D-7425-9640441AB632}"/>
              </a:ext>
            </a:extLst>
          </p:cNvPr>
          <p:cNvSpPr>
            <a:spLocks noGrp="1"/>
          </p:cNvSpPr>
          <p:nvPr>
            <p:ph type="ftr" sz="quarter" idx="11"/>
          </p:nvPr>
        </p:nvSpPr>
        <p:spPr>
          <a:xfrm>
            <a:off x="10468" y="4970700"/>
            <a:ext cx="6451742" cy="174151"/>
          </a:xfrm>
        </p:spPr>
        <p:txBody>
          <a:bodyPr/>
          <a:lstStyle/>
          <a:p>
            <a:endParaRPr lang="en-AE"/>
          </a:p>
        </p:txBody>
      </p:sp>
      <p:sp>
        <p:nvSpPr>
          <p:cNvPr id="6" name="Slide Number Placeholder 5">
            <a:extLst>
              <a:ext uri="{FF2B5EF4-FFF2-40B4-BE49-F238E27FC236}">
                <a16:creationId xmlns:a16="http://schemas.microsoft.com/office/drawing/2014/main" id="{24D63120-A813-93F1-01F3-776638B9173A}"/>
              </a:ext>
            </a:extLst>
          </p:cNvPr>
          <p:cNvSpPr>
            <a:spLocks noGrp="1"/>
          </p:cNvSpPr>
          <p:nvPr>
            <p:ph type="sldNum" sz="quarter" idx="12"/>
          </p:nvPr>
        </p:nvSpPr>
        <p:spPr>
          <a:xfrm>
            <a:off x="8246921" y="4972050"/>
            <a:ext cx="400722" cy="172800"/>
          </a:xfrm>
        </p:spPr>
        <p:txBody>
          <a:bodyPr/>
          <a:lstStyle/>
          <a:p>
            <a:fld id="{94EAE7B1-68BD-4D2B-934C-E322FB164993}" type="slidenum">
              <a:rPr lang="en-AE" smtClean="0"/>
              <a:t>‹#›</a:t>
            </a:fld>
            <a:endParaRPr lang="en-AE"/>
          </a:p>
        </p:txBody>
      </p:sp>
      <p:sp>
        <p:nvSpPr>
          <p:cNvPr id="3" name="Text Placeholder 2">
            <a:extLst>
              <a:ext uri="{FF2B5EF4-FFF2-40B4-BE49-F238E27FC236}">
                <a16:creationId xmlns:a16="http://schemas.microsoft.com/office/drawing/2014/main" id="{3CF23CEE-D176-2ACA-AFD6-3460F2D4CC4A}"/>
              </a:ext>
            </a:extLst>
          </p:cNvPr>
          <p:cNvSpPr>
            <a:spLocks noGrp="1"/>
          </p:cNvSpPr>
          <p:nvPr>
            <p:ph type="body" idx="1"/>
          </p:nvPr>
        </p:nvSpPr>
        <p:spPr>
          <a:xfrm>
            <a:off x="6597254" y="3646169"/>
            <a:ext cx="2025253" cy="921069"/>
          </a:xfrm>
        </p:spPr>
        <p:txBody>
          <a:bodyPr>
            <a:normAutofit/>
          </a:bodyPr>
          <a:lstStyle>
            <a:lvl1pPr marL="0" indent="0">
              <a:buNone/>
              <a:defRPr sz="1600">
                <a:solidFill>
                  <a:schemeClr val="accent3"/>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2" name="Title 1">
            <a:extLst>
              <a:ext uri="{FF2B5EF4-FFF2-40B4-BE49-F238E27FC236}">
                <a16:creationId xmlns:a16="http://schemas.microsoft.com/office/drawing/2014/main" id="{BF9CBF70-D70A-FEF8-91EC-8B6050371200}"/>
              </a:ext>
            </a:extLst>
          </p:cNvPr>
          <p:cNvSpPr>
            <a:spLocks noGrp="1"/>
          </p:cNvSpPr>
          <p:nvPr>
            <p:ph type="title"/>
          </p:nvPr>
        </p:nvSpPr>
        <p:spPr>
          <a:xfrm>
            <a:off x="6597254" y="2122169"/>
            <a:ext cx="2025253" cy="1392380"/>
          </a:xfrm>
        </p:spPr>
        <p:txBody>
          <a:bodyPr vert="horz" anchor="b">
            <a:normAutofit/>
          </a:bodyPr>
          <a:lstStyle>
            <a:lvl1pPr>
              <a:defRPr sz="2000"/>
            </a:lvl1pPr>
          </a:lstStyle>
          <a:p>
            <a:r>
              <a:rPr lang="en-US"/>
              <a:t>Click to edit Master title style</a:t>
            </a:r>
            <a:endParaRPr lang="en-AE"/>
          </a:p>
        </p:txBody>
      </p:sp>
    </p:spTree>
    <p:extLst>
      <p:ext uri="{BB962C8B-B14F-4D97-AF65-F5344CB8AC3E}">
        <p14:creationId xmlns:p14="http://schemas.microsoft.com/office/powerpoint/2010/main" val="165505906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p:txBody>
          <a:bodyPr/>
          <a:lstStyle/>
          <a:p>
            <a:r>
              <a:rPr lang="en-US"/>
              <a:t>14/01/2024</a:t>
            </a:r>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p>
            <a:fld id="{7B1F438D-4EAF-094E-9162-80CF3EF77236}" type="slidenum">
              <a:rPr lang="en-US" smtClean="0"/>
              <a:pPr/>
              <a:t>‹#›</a:t>
            </a:fld>
            <a:endParaRPr lang="en-US"/>
          </a:p>
        </p:txBody>
      </p:sp>
      <p:sp>
        <p:nvSpPr>
          <p:cNvPr id="6" name="Rectangle 5">
            <a:extLst>
              <a:ext uri="{FF2B5EF4-FFF2-40B4-BE49-F238E27FC236}">
                <a16:creationId xmlns:a16="http://schemas.microsoft.com/office/drawing/2014/main" id="{C23E11E8-3E35-AAEF-F947-C1F8475AD957}"/>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7182453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Date Placeholder 4">
            <a:extLst>
              <a:ext uri="{FF2B5EF4-FFF2-40B4-BE49-F238E27FC236}">
                <a16:creationId xmlns:a16="http://schemas.microsoft.com/office/drawing/2014/main" id="{86BD3F46-FE40-E8E1-1A94-2F5EA06F0399}"/>
              </a:ext>
            </a:extLst>
          </p:cNvPr>
          <p:cNvSpPr>
            <a:spLocks noGrp="1"/>
          </p:cNvSpPr>
          <p:nvPr>
            <p:ph type="dt" sz="half" idx="14"/>
          </p:nvPr>
        </p:nvSpPr>
        <p:spPr>
          <a:xfrm>
            <a:off x="7024385" y="4972050"/>
            <a:ext cx="609508" cy="171450"/>
          </a:xfrm>
        </p:spPr>
        <p:txBody>
          <a:bodyPr/>
          <a:lstStyle/>
          <a:p>
            <a:r>
              <a:rPr lang="en-US"/>
              <a:t>14/01/2024</a:t>
            </a:r>
          </a:p>
        </p:txBody>
      </p:sp>
      <p:sp>
        <p:nvSpPr>
          <p:cNvPr id="9" name="Footer Placeholder 8">
            <a:extLst>
              <a:ext uri="{FF2B5EF4-FFF2-40B4-BE49-F238E27FC236}">
                <a16:creationId xmlns:a16="http://schemas.microsoft.com/office/drawing/2014/main" id="{70E0A28E-1EB0-50D3-1E79-8B5E8811D972}"/>
              </a:ext>
            </a:extLst>
          </p:cNvPr>
          <p:cNvSpPr>
            <a:spLocks noGrp="1"/>
          </p:cNvSpPr>
          <p:nvPr>
            <p:ph type="ftr" sz="quarter" idx="15"/>
          </p:nvPr>
        </p:nvSpPr>
        <p:spPr/>
        <p:txBody>
          <a:bodyPr/>
          <a:lstStyle/>
          <a:p>
            <a:endParaRPr lang="en-US"/>
          </a:p>
        </p:txBody>
      </p:sp>
      <p:sp>
        <p:nvSpPr>
          <p:cNvPr id="10" name="Slide Number Placeholder 9">
            <a:extLst>
              <a:ext uri="{FF2B5EF4-FFF2-40B4-BE49-F238E27FC236}">
                <a16:creationId xmlns:a16="http://schemas.microsoft.com/office/drawing/2014/main" id="{691B4B0F-DC2F-D7E5-8DC4-79399C81417D}"/>
              </a:ext>
            </a:extLst>
          </p:cNvPr>
          <p:cNvSpPr>
            <a:spLocks noGrp="1"/>
          </p:cNvSpPr>
          <p:nvPr>
            <p:ph type="sldNum" sz="quarter" idx="16"/>
          </p:nvPr>
        </p:nvSpPr>
        <p:spPr>
          <a:xfrm>
            <a:off x="7638966" y="4972050"/>
            <a:ext cx="400722" cy="172800"/>
          </a:xfrm>
        </p:spPr>
        <p:txBody>
          <a:bodyPr/>
          <a:lstStyle/>
          <a:p>
            <a:fld id="{7B1F438D-4EAF-094E-9162-80CF3EF77236}" type="slidenum">
              <a:rPr lang="en-US" smtClean="0"/>
              <a:pPr/>
              <a:t>‹#›</a:t>
            </a:fld>
            <a:endParaRPr lang="en-US"/>
          </a:p>
        </p:txBody>
      </p:sp>
      <p:sp>
        <p:nvSpPr>
          <p:cNvPr id="3" name="Rectangle 2">
            <a:extLst>
              <a:ext uri="{FF2B5EF4-FFF2-40B4-BE49-F238E27FC236}">
                <a16:creationId xmlns:a16="http://schemas.microsoft.com/office/drawing/2014/main" id="{6D389ABA-0526-2391-30B6-A64A102ACA47}"/>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5765715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31342241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Title 2">
            <a:extLst>
              <a:ext uri="{FF2B5EF4-FFF2-40B4-BE49-F238E27FC236}">
                <a16:creationId xmlns:a16="http://schemas.microsoft.com/office/drawing/2014/main" id="{B1651EB0-1B2C-14E2-AF80-EC037348B6D8}"/>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641130388"/>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DD49198D-D2DB-4074-8A13-E1E3A8E5A2C8}" type="datetime1">
              <a:rPr lang="en-US" smtClean="0"/>
              <a:t>8/15/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86011862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24127196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3800948119"/>
      </p:ext>
    </p:extLst>
  </p:cSld>
  <p:clrMapOvr>
    <a:overrideClrMapping bg1="lt1" tx1="dk1" bg2="lt2" tx2="dk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06674806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40000" y="792000"/>
            <a:ext cx="8100000" cy="361488"/>
          </a:xfrm>
          <a:prstGeom prst="rect">
            <a:avLst/>
          </a:prstGeom>
        </p:spPr>
        <p:txBody>
          <a:bodyPr/>
          <a:lstStyle>
            <a:lvl1pPr marL="0" indent="0">
              <a:spcBef>
                <a:spcPts val="0"/>
              </a:spcBef>
              <a:buNone/>
              <a:defRPr sz="1200" b="0" i="0">
                <a:solidFill>
                  <a:schemeClr val="accent3"/>
                </a:solidFill>
                <a:latin typeface="+mj-lt"/>
              </a:defRPr>
            </a:lvl1pPr>
          </a:lstStyle>
          <a:p>
            <a:pPr lvl="0"/>
            <a:r>
              <a:rPr lang="nl-NL"/>
              <a:t>Subtitle | Chart Title</a:t>
            </a:r>
          </a:p>
        </p:txBody>
      </p:sp>
      <p:sp>
        <p:nvSpPr>
          <p:cNvPr id="3" name="Title 2">
            <a:extLst>
              <a:ext uri="{FF2B5EF4-FFF2-40B4-BE49-F238E27FC236}">
                <a16:creationId xmlns:a16="http://schemas.microsoft.com/office/drawing/2014/main" id="{2BE900DD-787F-F12D-4277-5A85E59EB274}"/>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288280782"/>
      </p:ext>
    </p:extLst>
  </p:cSld>
  <p:clrMapOvr>
    <a:overrideClrMapping bg1="lt1" tx1="dk1" bg2="lt2" tx2="dk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373231981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40000" y="792000"/>
            <a:ext cx="8100000" cy="360000"/>
          </a:xfrm>
          <a:prstGeom prst="rect">
            <a:avLst/>
          </a:prstGeom>
        </p:spPr>
        <p:txBody>
          <a:bodyPr/>
          <a:lstStyle>
            <a:lvl1pPr marL="0" indent="0">
              <a:spcBef>
                <a:spcPts val="0"/>
              </a:spcBef>
              <a:buNone/>
              <a:defRPr sz="1200" b="0" i="0">
                <a:solidFill>
                  <a:schemeClr val="accent3"/>
                </a:solidFill>
                <a:latin typeface="+mj-lt"/>
              </a:defRPr>
            </a:lvl1pPr>
          </a:lstStyle>
          <a:p>
            <a:pPr lvl="0"/>
            <a:r>
              <a:rPr lang="nl-NL"/>
              <a:t>Subtitle | Chart Title</a:t>
            </a:r>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489845005"/>
      </p:ext>
    </p:extLst>
  </p:cSld>
  <p:clrMapOvr>
    <a:overrideClrMapping bg1="lt1" tx1="dk1" bg2="lt2" tx2="dk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397524158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40000" y="1170000"/>
            <a:ext cx="8100000" cy="3562338"/>
          </a:xfrm>
          <a:prstGeom prst="rect">
            <a:avLst/>
          </a:prstGeom>
        </p:spPr>
        <p:txBody>
          <a:bodyPr/>
          <a:lstStyle>
            <a:lvl1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40000" y="792000"/>
            <a:ext cx="8100000" cy="360000"/>
          </a:xfrm>
          <a:prstGeom prst="rect">
            <a:avLst/>
          </a:prstGeom>
        </p:spPr>
        <p:txBody>
          <a:bodyPr/>
          <a:lstStyle>
            <a:lvl1pPr marL="0" indent="0">
              <a:spcBef>
                <a:spcPts val="0"/>
              </a:spcBef>
              <a:buNone/>
              <a:defRPr sz="1200" b="0" i="0">
                <a:solidFill>
                  <a:schemeClr val="accent3"/>
                </a:solidFill>
                <a:latin typeface="+mj-lt"/>
              </a:defRPr>
            </a:lvl1pPr>
          </a:lstStyle>
          <a:p>
            <a:pPr lvl="0"/>
            <a:r>
              <a:rPr lang="nl-NL"/>
              <a:t>Subtitle | Chart Title</a:t>
            </a:r>
          </a:p>
        </p:txBody>
      </p:sp>
      <p:sp>
        <p:nvSpPr>
          <p:cNvPr id="4" name="Title 3">
            <a:extLst>
              <a:ext uri="{FF2B5EF4-FFF2-40B4-BE49-F238E27FC236}">
                <a16:creationId xmlns:a16="http://schemas.microsoft.com/office/drawing/2014/main" id="{000572A4-4DF5-BB36-E43B-660A53DAB752}"/>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333989017"/>
      </p:ext>
    </p:extLst>
  </p:cSld>
  <p:clrMapOvr>
    <a:overrideClrMapping bg1="lt1" tx1="dk1" bg2="lt2" tx2="dk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164803906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40000" y="1170000"/>
            <a:ext cx="8100000" cy="3564106"/>
          </a:xfrm>
          <a:prstGeom prst="rect">
            <a:avLst/>
          </a:prstGeom>
        </p:spPr>
        <p:txBody>
          <a:bodyPr/>
          <a:lstStyle>
            <a:lvl1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40000" y="792000"/>
            <a:ext cx="8100000" cy="360000"/>
          </a:xfrm>
          <a:prstGeom prst="rect">
            <a:avLst/>
          </a:prstGeom>
        </p:spPr>
        <p:txBody>
          <a:bodyPr/>
          <a:lstStyle>
            <a:lvl1pPr marL="0" indent="0">
              <a:spcBef>
                <a:spcPts val="0"/>
              </a:spcBef>
              <a:buNone/>
              <a:defRPr sz="1200" b="0" i="0">
                <a:solidFill>
                  <a:schemeClr val="accent3"/>
                </a:solidFill>
                <a:latin typeface="+mj-lt"/>
              </a:defRPr>
            </a:lvl1pPr>
          </a:lstStyle>
          <a:p>
            <a:pPr lvl="0"/>
            <a:r>
              <a:rPr lang="nl-NL"/>
              <a:t>Subtitle | Chart Title</a:t>
            </a:r>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04425144"/>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53286423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40000" y="1170000"/>
            <a:ext cx="8100000" cy="3562338"/>
          </a:xfrm>
          <a:prstGeom prst="rect">
            <a:avLst/>
          </a:prstGeom>
        </p:spPr>
        <p:txBody>
          <a:bodyPr/>
          <a:lstStyle>
            <a:lvl1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741807930"/>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07496494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40000" y="1170000"/>
            <a:ext cx="8100000" cy="3564000"/>
          </a:xfrm>
          <a:prstGeom prst="rect">
            <a:avLst/>
          </a:prstGeom>
        </p:spPr>
        <p:txBody>
          <a:bodyPr/>
          <a:lstStyle>
            <a:lvl1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737385599"/>
      </p:ext>
    </p:extLst>
  </p:cSld>
  <p:clrMapOvr>
    <a:overrideClrMapping bg1="lt1" tx1="dk1" bg2="lt2" tx2="dk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388166210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44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40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66F0BCB3-A29A-3BA0-DE6E-5CB8402A35EF}"/>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72551841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7150856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44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40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43652917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23074124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43999"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40000"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44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40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26642667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D60AA34-8ED1-465F-95C6-78626713C4BB}" type="datetime1">
              <a:rPr lang="en-US" smtClean="0"/>
              <a:t>8/1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06833378"/>
      </p:ext>
    </p:extLst>
  </p:cSld>
  <p:clrMapOvr>
    <a:overrideClrMapping bg1="lt1" tx1="dk1" bg2="lt2" tx2="dk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35188237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43999"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40000"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44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40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24E3F0CE-DD8E-4EC3-5C51-97C93E3C1EB2}"/>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91915239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229017794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43999"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40000"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294690178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404501497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43999"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40000"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257759304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Rectangle 3">
            <a:extLst>
              <a:ext uri="{FF2B5EF4-FFF2-40B4-BE49-F238E27FC236}">
                <a16:creationId xmlns:a16="http://schemas.microsoft.com/office/drawing/2014/main" id="{5B500120-DEA7-2D41-C308-0727387FE75E}"/>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37ABD646-1E0B-3FBE-22E5-80CC40B4CFA0}"/>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05163493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p:txBody>
          <a:bodyPr/>
          <a:lstStyle/>
          <a:p>
            <a:r>
              <a:rPr lang="en-US"/>
              <a:t>14/01/2024</a:t>
            </a:r>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p>
            <a:fld id="{94EAE7B1-68BD-4D2B-934C-E322FB164993}" type="slidenum">
              <a:rPr lang="en-AE" smtClean="0"/>
              <a:t>‹#›</a:t>
            </a:fld>
            <a:endParaRPr lang="en-AE"/>
          </a:p>
        </p:txBody>
      </p:sp>
      <p:sp>
        <p:nvSpPr>
          <p:cNvPr id="8" name="Rectangle 7">
            <a:extLst>
              <a:ext uri="{FF2B5EF4-FFF2-40B4-BE49-F238E27FC236}">
                <a16:creationId xmlns:a16="http://schemas.microsoft.com/office/drawing/2014/main" id="{874B915C-2BD4-24F2-64EC-C6844A8180FD}"/>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a:lvl1pPr>
            <a:lvl2pPr>
              <a:defRPr sz="1000"/>
            </a:lvl2pPr>
            <a:lvl3pPr>
              <a:defRPr sz="900"/>
            </a:lvl3pPr>
            <a:lvl4pPr>
              <a:defRPr sz="800"/>
            </a:lvl4pPr>
            <a:lvl5pPr>
              <a:defRPr sz="8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51224742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p:txBody>
          <a:bodyPr/>
          <a:lstStyle/>
          <a:p>
            <a:r>
              <a:rPr lang="en-US"/>
              <a:t>14/01/2024</a:t>
            </a:r>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p>
            <a:fld id="{94EAE7B1-68BD-4D2B-934C-E322FB164993}" type="slidenum">
              <a:rPr lang="en-AE" smtClean="0"/>
              <a:t>‹#›</a:t>
            </a:fld>
            <a:endParaRPr lang="en-AE"/>
          </a:p>
        </p:txBody>
      </p:sp>
      <p:sp>
        <p:nvSpPr>
          <p:cNvPr id="8" name="Rectangle 7">
            <a:extLst>
              <a:ext uri="{FF2B5EF4-FFF2-40B4-BE49-F238E27FC236}">
                <a16:creationId xmlns:a16="http://schemas.microsoft.com/office/drawing/2014/main" id="{3EC7A3A5-41C2-4360-F048-23818B219F71}"/>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82959672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07464045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p:txBody>
          <a:bodyPr/>
          <a:lstStyle/>
          <a:p>
            <a:r>
              <a:rPr lang="en-US"/>
              <a:t>14/01/2024</a:t>
            </a:r>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90452021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p:txBody>
          <a:bodyPr/>
          <a:lstStyle/>
          <a:p>
            <a:r>
              <a:rPr lang="en-US"/>
              <a:t>14/01/2024</a:t>
            </a:r>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p>
            <a:fld id="{94EAE7B1-68BD-4D2B-934C-E322FB164993}" type="slidenum">
              <a:rPr lang="en-AE" smtClean="0"/>
              <a:t>‹#›</a:t>
            </a:fld>
            <a:endParaRPr lang="en-AE"/>
          </a:p>
        </p:txBody>
      </p:sp>
      <p:sp>
        <p:nvSpPr>
          <p:cNvPr id="7" name="Rectangle 6">
            <a:extLst>
              <a:ext uri="{FF2B5EF4-FFF2-40B4-BE49-F238E27FC236}">
                <a16:creationId xmlns:a16="http://schemas.microsoft.com/office/drawing/2014/main" id="{B87DA450-A697-524F-0871-5E0366A37E4B}"/>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68263653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8_Title slide">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59A1619F-DB93-48B7-1FAD-2291BB7DB9B8}"/>
              </a:ext>
            </a:extLst>
          </p:cNvPr>
          <p:cNvSpPr/>
          <p:nvPr/>
        </p:nvSpPr>
        <p:spPr>
          <a:xfrm flipV="1">
            <a:off x="298174" y="756404"/>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16" name="think-cell data - do not delete" hidden="1">
            <a:extLst>
              <a:ext uri="{FF2B5EF4-FFF2-40B4-BE49-F238E27FC236}">
                <a16:creationId xmlns:a16="http://schemas.microsoft.com/office/drawing/2014/main" id="{D9BAD769-40C0-FE34-B5C5-38375D7E11EE}"/>
              </a:ext>
            </a:extLst>
          </p:cNvPr>
          <p:cNvGraphicFramePr>
            <a:graphicFrameLocks noChangeAspect="1"/>
          </p:cNvGraphicFramePr>
          <p:nvPr>
            <p:custDataLst>
              <p:tags r:id="rId1"/>
            </p:custDataLst>
            <p:extLst>
              <p:ext uri="{D42A27DB-BD31-4B8C-83A1-F6EECF244321}">
                <p14:modId xmlns:p14="http://schemas.microsoft.com/office/powerpoint/2010/main" val="36167813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6" name="think-cell data - do not delete" hidden="1">
                        <a:extLst>
                          <a:ext uri="{FF2B5EF4-FFF2-40B4-BE49-F238E27FC236}">
                            <a16:creationId xmlns:a16="http://schemas.microsoft.com/office/drawing/2014/main" id="{D9BAD769-40C0-FE34-B5C5-38375D7E11EE}"/>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96722100-8CAE-E97B-B308-61A1A7041CF5}"/>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a:ext>
            </a:extLst>
          </a:blip>
          <a:srcRect/>
          <a:stretch/>
        </p:blipFill>
        <p:spPr>
          <a:xfrm>
            <a:off x="1" y="2"/>
            <a:ext cx="1988357" cy="5143499"/>
          </a:xfrm>
          <a:custGeom>
            <a:avLst/>
            <a:gdLst>
              <a:gd name="connsiteX0" fmla="*/ 0 w 2651142"/>
              <a:gd name="connsiteY0" fmla="*/ 0 h 6857999"/>
              <a:gd name="connsiteX1" fmla="*/ 2651142 w 2651142"/>
              <a:gd name="connsiteY1" fmla="*/ 0 h 6857999"/>
              <a:gd name="connsiteX2" fmla="*/ 2407857 w 2651142"/>
              <a:gd name="connsiteY2" fmla="*/ 1021264 h 6857999"/>
              <a:gd name="connsiteX3" fmla="*/ 2407856 w 2651142"/>
              <a:gd name="connsiteY3" fmla="*/ 1021263 h 6857999"/>
              <a:gd name="connsiteX4" fmla="*/ 1017425 w 2651142"/>
              <a:gd name="connsiteY4" fmla="*/ 6857999 h 6857999"/>
              <a:gd name="connsiteX5" fmla="*/ 0 w 2651142"/>
              <a:gd name="connsiteY5"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51142" h="6857999">
                <a:moveTo>
                  <a:pt x="0" y="0"/>
                </a:moveTo>
                <a:lnTo>
                  <a:pt x="2651142" y="0"/>
                </a:lnTo>
                <a:lnTo>
                  <a:pt x="2407857" y="1021264"/>
                </a:lnTo>
                <a:lnTo>
                  <a:pt x="2407856" y="1021263"/>
                </a:lnTo>
                <a:lnTo>
                  <a:pt x="1017425" y="6857999"/>
                </a:lnTo>
                <a:lnTo>
                  <a:pt x="0" y="6857999"/>
                </a:lnTo>
                <a:close/>
              </a:path>
            </a:pathLst>
          </a:custGeom>
          <a:effectLst>
            <a:outerShdw blurRad="190500" dist="63500" algn="l" rotWithShape="0">
              <a:prstClr val="black">
                <a:alpha val="40000"/>
              </a:prstClr>
            </a:outerShdw>
          </a:effectLst>
        </p:spPr>
      </p:pic>
      <p:sp>
        <p:nvSpPr>
          <p:cNvPr id="4" name="Freeform 3">
            <a:extLst>
              <a:ext uri="{FF2B5EF4-FFF2-40B4-BE49-F238E27FC236}">
                <a16:creationId xmlns:a16="http://schemas.microsoft.com/office/drawing/2014/main" id="{83DCC929-4FEB-3B38-06E1-E3D49DC8AFB4}"/>
              </a:ext>
            </a:extLst>
          </p:cNvPr>
          <p:cNvSpPr/>
          <p:nvPr/>
        </p:nvSpPr>
        <p:spPr>
          <a:xfrm>
            <a:off x="1" y="1"/>
            <a:ext cx="1988357"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pic>
        <p:nvPicPr>
          <p:cNvPr id="5" name="Picture 4">
            <a:extLst>
              <a:ext uri="{FF2B5EF4-FFF2-40B4-BE49-F238E27FC236}">
                <a16:creationId xmlns:a16="http://schemas.microsoft.com/office/drawing/2014/main" id="{6D94320F-F81C-BDE2-973C-917BEC531509}"/>
              </a:ext>
            </a:extLst>
          </p:cNvPr>
          <p:cNvPicPr>
            <a:picLocks noChangeAspect="1"/>
          </p:cNvPicPr>
          <p:nvPr/>
        </p:nvPicPr>
        <p:blipFill rotWithShape="1">
          <a:blip r:embed="rId7" cstate="email">
            <a:extLst>
              <a:ext uri="{BEBA8EAE-BF5A-486C-A8C5-ECC9F3942E4B}">
                <a14:imgProps xmlns:a14="http://schemas.microsoft.com/office/drawing/2010/main">
                  <a14:imgLayer r:embed="rId8">
                    <a14:imgEffect>
                      <a14:artisticBlur/>
                    </a14:imgEffect>
                  </a14:imgLayer>
                </a14:imgProps>
              </a:ext>
              <a:ext uri="{28A0092B-C50C-407E-A947-70E740481C1C}">
                <a14:useLocalDpi xmlns:a14="http://schemas.microsoft.com/office/drawing/2010/main"/>
              </a:ext>
            </a:extLst>
          </a:blip>
          <a:srcRect/>
          <a:stretch/>
        </p:blipFill>
        <p:spPr>
          <a:xfrm>
            <a:off x="4850202" y="-1"/>
            <a:ext cx="4291172" cy="5138737"/>
          </a:xfrm>
          <a:custGeom>
            <a:avLst/>
            <a:gdLst>
              <a:gd name="connsiteX0" fmla="*/ 1105916 w 5721563"/>
              <a:gd name="connsiteY0" fmla="*/ 0 h 6851649"/>
              <a:gd name="connsiteX1" fmla="*/ 5721563 w 5721563"/>
              <a:gd name="connsiteY1" fmla="*/ 0 h 6851649"/>
              <a:gd name="connsiteX2" fmla="*/ 5721563 w 5721563"/>
              <a:gd name="connsiteY2" fmla="*/ 6851649 h 6851649"/>
              <a:gd name="connsiteX3" fmla="*/ 563823 w 5721563"/>
              <a:gd name="connsiteY3" fmla="*/ 6851649 h 6851649"/>
              <a:gd name="connsiteX4" fmla="*/ 568538 w 5721563"/>
              <a:gd name="connsiteY4" fmla="*/ 6848651 h 6851649"/>
              <a:gd name="connsiteX5" fmla="*/ 568537 w 5721563"/>
              <a:gd name="connsiteY5" fmla="*/ 6848651 h 6851649"/>
              <a:gd name="connsiteX6" fmla="*/ 563822 w 5721563"/>
              <a:gd name="connsiteY6" fmla="*/ 6851649 h 6851649"/>
              <a:gd name="connsiteX7" fmla="*/ 0 w 5721563"/>
              <a:gd name="connsiteY7" fmla="*/ 6851649 h 6851649"/>
              <a:gd name="connsiteX8" fmla="*/ 167413 w 5721563"/>
              <a:gd name="connsiteY8" fmla="*/ 5814448 h 6851649"/>
              <a:gd name="connsiteX9" fmla="*/ 925593 w 5721563"/>
              <a:gd name="connsiteY9" fmla="*/ 5814448 h 6851649"/>
              <a:gd name="connsiteX10" fmla="*/ 925593 w 5721563"/>
              <a:gd name="connsiteY10" fmla="*/ 5814447 h 6851649"/>
              <a:gd name="connsiteX11" fmla="*/ 167413 w 5721563"/>
              <a:gd name="connsiteY11" fmla="*/ 5814447 h 6851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1563" h="6851649">
                <a:moveTo>
                  <a:pt x="1105916" y="0"/>
                </a:moveTo>
                <a:lnTo>
                  <a:pt x="5721563" y="0"/>
                </a:lnTo>
                <a:lnTo>
                  <a:pt x="5721563" y="6851649"/>
                </a:lnTo>
                <a:lnTo>
                  <a:pt x="563823" y="6851649"/>
                </a:lnTo>
                <a:lnTo>
                  <a:pt x="568538" y="6848651"/>
                </a:lnTo>
                <a:lnTo>
                  <a:pt x="568537" y="6848651"/>
                </a:lnTo>
                <a:lnTo>
                  <a:pt x="563822" y="6851649"/>
                </a:lnTo>
                <a:lnTo>
                  <a:pt x="0" y="6851649"/>
                </a:lnTo>
                <a:lnTo>
                  <a:pt x="167413" y="5814448"/>
                </a:lnTo>
                <a:lnTo>
                  <a:pt x="925593" y="5814448"/>
                </a:lnTo>
                <a:lnTo>
                  <a:pt x="925593" y="5814447"/>
                </a:lnTo>
                <a:lnTo>
                  <a:pt x="167413" y="5814447"/>
                </a:lnTo>
                <a:close/>
              </a:path>
            </a:pathLst>
          </a:custGeom>
          <a:effectLst>
            <a:outerShdw blurRad="190500" dist="63500" dir="10800000" algn="r" rotWithShape="0">
              <a:prstClr val="black">
                <a:alpha val="40000"/>
              </a:prstClr>
            </a:outerShdw>
          </a:effectLst>
        </p:spPr>
      </p:pic>
      <p:sp>
        <p:nvSpPr>
          <p:cNvPr id="6" name="Freeform 5">
            <a:extLst>
              <a:ext uri="{FF2B5EF4-FFF2-40B4-BE49-F238E27FC236}">
                <a16:creationId xmlns:a16="http://schemas.microsoft.com/office/drawing/2014/main" id="{0788466C-26E7-8520-BF63-2D2A302D8236}"/>
              </a:ext>
            </a:extLst>
          </p:cNvPr>
          <p:cNvSpPr/>
          <p:nvPr/>
        </p:nvSpPr>
        <p:spPr>
          <a:xfrm>
            <a:off x="4850202" y="1025"/>
            <a:ext cx="4291172" cy="5145940"/>
          </a:xfrm>
          <a:custGeom>
            <a:avLst/>
            <a:gdLst>
              <a:gd name="connsiteX0" fmla="*/ 1107467 w 5721563"/>
              <a:gd name="connsiteY0" fmla="*/ 0 h 6861253"/>
              <a:gd name="connsiteX1" fmla="*/ 5721563 w 5721563"/>
              <a:gd name="connsiteY1" fmla="*/ 0 h 6861253"/>
              <a:gd name="connsiteX2" fmla="*/ 5721563 w 5721563"/>
              <a:gd name="connsiteY2" fmla="*/ 6861253 h 6861253"/>
              <a:gd name="connsiteX3" fmla="*/ 563823 w 5721563"/>
              <a:gd name="connsiteY3" fmla="*/ 6861253 h 6861253"/>
              <a:gd name="connsiteX4" fmla="*/ 568538 w 5721563"/>
              <a:gd name="connsiteY4" fmla="*/ 6858255 h 6861253"/>
              <a:gd name="connsiteX5" fmla="*/ 568537 w 5721563"/>
              <a:gd name="connsiteY5" fmla="*/ 6858255 h 6861253"/>
              <a:gd name="connsiteX6" fmla="*/ 563822 w 5721563"/>
              <a:gd name="connsiteY6" fmla="*/ 6861253 h 6861253"/>
              <a:gd name="connsiteX7" fmla="*/ 0 w 5721563"/>
              <a:gd name="connsiteY7" fmla="*/ 6861253 h 6861253"/>
              <a:gd name="connsiteX8" fmla="*/ 167413 w 5721563"/>
              <a:gd name="connsiteY8" fmla="*/ 5824052 h 6861253"/>
              <a:gd name="connsiteX9" fmla="*/ 925593 w 5721563"/>
              <a:gd name="connsiteY9" fmla="*/ 5824052 h 6861253"/>
              <a:gd name="connsiteX10" fmla="*/ 925593 w 5721563"/>
              <a:gd name="connsiteY10" fmla="*/ 5824051 h 6861253"/>
              <a:gd name="connsiteX11" fmla="*/ 167413 w 5721563"/>
              <a:gd name="connsiteY11" fmla="*/ 5824051 h 6861253"/>
              <a:gd name="connsiteX12" fmla="*/ 1107466 w 5721563"/>
              <a:gd name="connsiteY12" fmla="*/ 2 h 6861253"/>
              <a:gd name="connsiteX13" fmla="*/ 1635383 w 5721563"/>
              <a:gd name="connsiteY13" fmla="*/ 2 h 6861253"/>
              <a:gd name="connsiteX14" fmla="*/ 1697942 w 5721563"/>
              <a:gd name="connsiteY14" fmla="*/ 8479 h 6861253"/>
              <a:gd name="connsiteX15" fmla="*/ 1697942 w 5721563"/>
              <a:gd name="connsiteY15" fmla="*/ 8478 h 6861253"/>
              <a:gd name="connsiteX16" fmla="*/ 1635383 w 5721563"/>
              <a:gd name="connsiteY16" fmla="*/ 1 h 6861253"/>
              <a:gd name="connsiteX17" fmla="*/ 1107466 w 5721563"/>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21563" h="6861253">
                <a:moveTo>
                  <a:pt x="1107467" y="0"/>
                </a:moveTo>
                <a:lnTo>
                  <a:pt x="5721563" y="0"/>
                </a:lnTo>
                <a:lnTo>
                  <a:pt x="5721563"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5" name="TextBox 14">
            <a:extLst>
              <a:ext uri="{FF2B5EF4-FFF2-40B4-BE49-F238E27FC236}">
                <a16:creationId xmlns:a16="http://schemas.microsoft.com/office/drawing/2014/main" id="{F271CF6B-1425-57AD-B28D-FB20D16CD64C}"/>
              </a:ext>
            </a:extLst>
          </p:cNvPr>
          <p:cNvSpPr txBox="1"/>
          <p:nvPr/>
        </p:nvSpPr>
        <p:spPr>
          <a:xfrm>
            <a:off x="148009" y="123171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ECAC4">
                    <a:lumMod val="60000"/>
                    <a:lumOff val="40000"/>
                  </a:srgbClr>
                </a:solidFill>
                <a:effectLst/>
                <a:uLnTx/>
                <a:uFillTx/>
                <a:latin typeface="+mn-lt"/>
                <a:ea typeface="+mn-ea"/>
                <a:cs typeface="+mn-cs"/>
              </a:rPr>
              <a:t>GENEVA | DUBAI | CINCINNATI</a:t>
            </a:r>
          </a:p>
        </p:txBody>
      </p:sp>
      <p:grpSp>
        <p:nvGrpSpPr>
          <p:cNvPr id="7" name="Group 6">
            <a:extLst>
              <a:ext uri="{FF2B5EF4-FFF2-40B4-BE49-F238E27FC236}">
                <a16:creationId xmlns:a16="http://schemas.microsoft.com/office/drawing/2014/main" id="{87CB412D-5EC5-9211-8366-91E46B9AC972}"/>
              </a:ext>
            </a:extLst>
          </p:cNvPr>
          <p:cNvGrpSpPr>
            <a:grpSpLocks noChangeAspect="1"/>
          </p:cNvGrpSpPr>
          <p:nvPr/>
        </p:nvGrpSpPr>
        <p:grpSpPr>
          <a:xfrm>
            <a:off x="250461" y="210563"/>
            <a:ext cx="1188566" cy="1011018"/>
            <a:chOff x="2716311" y="648027"/>
            <a:chExt cx="6759377" cy="5739971"/>
          </a:xfrm>
        </p:grpSpPr>
        <p:grpSp>
          <p:nvGrpSpPr>
            <p:cNvPr id="8" name="Graphic 2">
              <a:extLst>
                <a:ext uri="{FF2B5EF4-FFF2-40B4-BE49-F238E27FC236}">
                  <a16:creationId xmlns:a16="http://schemas.microsoft.com/office/drawing/2014/main" id="{6662BBD5-F492-4C22-0B67-B55642E4DA2A}"/>
                </a:ext>
              </a:extLst>
            </p:cNvPr>
            <p:cNvGrpSpPr/>
            <p:nvPr/>
          </p:nvGrpSpPr>
          <p:grpSpPr>
            <a:xfrm>
              <a:off x="2716311" y="5613022"/>
              <a:ext cx="6269002" cy="774976"/>
              <a:chOff x="2766490" y="5410804"/>
              <a:chExt cx="6269002" cy="774976"/>
            </a:xfrm>
            <a:solidFill>
              <a:schemeClr val="accent1"/>
            </a:solidFill>
          </p:grpSpPr>
          <p:grpSp>
            <p:nvGrpSpPr>
              <p:cNvPr id="57" name="Graphic 2">
                <a:extLst>
                  <a:ext uri="{FF2B5EF4-FFF2-40B4-BE49-F238E27FC236}">
                    <a16:creationId xmlns:a16="http://schemas.microsoft.com/office/drawing/2014/main" id="{CD42DCB9-2FF2-C97C-8693-DE5C6B017E04}"/>
                  </a:ext>
                </a:extLst>
              </p:cNvPr>
              <p:cNvGrpSpPr/>
              <p:nvPr/>
            </p:nvGrpSpPr>
            <p:grpSpPr>
              <a:xfrm>
                <a:off x="2766490" y="5426323"/>
                <a:ext cx="3923857" cy="759457"/>
                <a:chOff x="2766490" y="5426323"/>
                <a:chExt cx="3923857" cy="759457"/>
              </a:xfrm>
              <a:solidFill>
                <a:srgbClr val="FFFFFF"/>
              </a:solidFill>
            </p:grpSpPr>
            <p:sp>
              <p:nvSpPr>
                <p:cNvPr id="62" name="Freeform 83">
                  <a:extLst>
                    <a:ext uri="{FF2B5EF4-FFF2-40B4-BE49-F238E27FC236}">
                      <a16:creationId xmlns:a16="http://schemas.microsoft.com/office/drawing/2014/main" id="{098C45A0-DB7D-8377-902A-9F2672B41C02}"/>
                    </a:ext>
                  </a:extLst>
                </p:cNvPr>
                <p:cNvSpPr/>
                <p:nvPr/>
              </p:nvSpPr>
              <p:spPr>
                <a:xfrm>
                  <a:off x="2766490" y="5436796"/>
                  <a:ext cx="564644" cy="739368"/>
                </a:xfrm>
                <a:custGeom>
                  <a:avLst/>
                  <a:gdLst>
                    <a:gd name="connsiteX0" fmla="*/ 56981 w 564644"/>
                    <a:gd name="connsiteY0" fmla="*/ 483741 h 739368"/>
                    <a:gd name="connsiteX1" fmla="*/ 56981 w 564644"/>
                    <a:gd name="connsiteY1" fmla="*/ 739368 h 739368"/>
                    <a:gd name="connsiteX2" fmla="*/ 0 w 564644"/>
                    <a:gd name="connsiteY2" fmla="*/ 739368 h 739368"/>
                    <a:gd name="connsiteX3" fmla="*/ 0 w 564644"/>
                    <a:gd name="connsiteY3" fmla="*/ 0 h 739368"/>
                    <a:gd name="connsiteX4" fmla="*/ 324000 w 564644"/>
                    <a:gd name="connsiteY4" fmla="*/ 0 h 739368"/>
                    <a:gd name="connsiteX5" fmla="*/ 324000 w 564644"/>
                    <a:gd name="connsiteY5" fmla="*/ 483741 h 739368"/>
                    <a:gd name="connsiteX6" fmla="*/ 56981 w 564644"/>
                    <a:gd name="connsiteY6" fmla="*/ 483741 h 739368"/>
                    <a:gd name="connsiteX7" fmla="*/ 56981 w 564644"/>
                    <a:gd name="connsiteY7" fmla="*/ 52839 h 739368"/>
                    <a:gd name="connsiteX8" fmla="*/ 56981 w 564644"/>
                    <a:gd name="connsiteY8" fmla="*/ 432044 h 739368"/>
                    <a:gd name="connsiteX9" fmla="*/ 324000 w 564644"/>
                    <a:gd name="connsiteY9" fmla="*/ 432044 h 739368"/>
                    <a:gd name="connsiteX10" fmla="*/ 324000 w 564644"/>
                    <a:gd name="connsiteY10" fmla="*/ 52839 h 739368"/>
                    <a:gd name="connsiteX11" fmla="*/ 56981 w 564644"/>
                    <a:gd name="connsiteY11" fmla="*/ 52839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4644" h="739368">
                      <a:moveTo>
                        <a:pt x="56981" y="483741"/>
                      </a:moveTo>
                      <a:lnTo>
                        <a:pt x="56981" y="739368"/>
                      </a:lnTo>
                      <a:lnTo>
                        <a:pt x="0" y="739368"/>
                      </a:lnTo>
                      <a:lnTo>
                        <a:pt x="0" y="0"/>
                      </a:lnTo>
                      <a:cubicBezTo>
                        <a:pt x="107683" y="0"/>
                        <a:pt x="216317" y="0"/>
                        <a:pt x="324000" y="0"/>
                      </a:cubicBezTo>
                      <a:cubicBezTo>
                        <a:pt x="644860" y="0"/>
                        <a:pt x="644860" y="483741"/>
                        <a:pt x="324000" y="483741"/>
                      </a:cubicBezTo>
                      <a:lnTo>
                        <a:pt x="56981" y="483741"/>
                      </a:lnTo>
                      <a:close/>
                      <a:moveTo>
                        <a:pt x="56981" y="52839"/>
                      </a:moveTo>
                      <a:lnTo>
                        <a:pt x="56981" y="432044"/>
                      </a:lnTo>
                      <a:lnTo>
                        <a:pt x="324000" y="432044"/>
                      </a:lnTo>
                      <a:cubicBezTo>
                        <a:pt x="569901" y="432044"/>
                        <a:pt x="569901" y="52839"/>
                        <a:pt x="324000" y="52839"/>
                      </a:cubicBezTo>
                      <a:lnTo>
                        <a:pt x="56981" y="52839"/>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3" name="Freeform 84">
                  <a:extLst>
                    <a:ext uri="{FF2B5EF4-FFF2-40B4-BE49-F238E27FC236}">
                      <a16:creationId xmlns:a16="http://schemas.microsoft.com/office/drawing/2014/main" id="{95BD3218-5044-95E6-AB2B-4178B1877736}"/>
                    </a:ext>
                  </a:extLst>
                </p:cNvPr>
                <p:cNvSpPr/>
                <p:nvPr/>
              </p:nvSpPr>
              <p:spPr>
                <a:xfrm>
                  <a:off x="3457771" y="5436796"/>
                  <a:ext cx="588925" cy="739368"/>
                </a:xfrm>
                <a:custGeom>
                  <a:avLst/>
                  <a:gdLst>
                    <a:gd name="connsiteX0" fmla="*/ 588926 w 588925"/>
                    <a:gd name="connsiteY0" fmla="*/ 739368 h 739368"/>
                    <a:gd name="connsiteX1" fmla="*/ 513967 w 588925"/>
                    <a:gd name="connsiteY1" fmla="*/ 739368 h 739368"/>
                    <a:gd name="connsiteX2" fmla="*/ 258553 w 588925"/>
                    <a:gd name="connsiteY2" fmla="*/ 459463 h 739368"/>
                    <a:gd name="connsiteX3" fmla="*/ 56981 w 588925"/>
                    <a:gd name="connsiteY3" fmla="*/ 459463 h 739368"/>
                    <a:gd name="connsiteX4" fmla="*/ 56981 w 588925"/>
                    <a:gd name="connsiteY4" fmla="*/ 739368 h 739368"/>
                    <a:gd name="connsiteX5" fmla="*/ 0 w 588925"/>
                    <a:gd name="connsiteY5" fmla="*/ 739368 h 739368"/>
                    <a:gd name="connsiteX6" fmla="*/ 0 w 588925"/>
                    <a:gd name="connsiteY6" fmla="*/ 0 h 739368"/>
                    <a:gd name="connsiteX7" fmla="*/ 325046 w 588925"/>
                    <a:gd name="connsiteY7" fmla="*/ 0 h 739368"/>
                    <a:gd name="connsiteX8" fmla="*/ 567808 w 588925"/>
                    <a:gd name="connsiteY8" fmla="*/ 230303 h 739368"/>
                    <a:gd name="connsiteX9" fmla="*/ 328185 w 588925"/>
                    <a:gd name="connsiteY9" fmla="*/ 456322 h 739368"/>
                    <a:gd name="connsiteX10" fmla="*/ 588926 w 588925"/>
                    <a:gd name="connsiteY10" fmla="*/ 739368 h 739368"/>
                    <a:gd name="connsiteX11" fmla="*/ 56981 w 588925"/>
                    <a:gd name="connsiteY11" fmla="*/ 405577 h 739368"/>
                    <a:gd name="connsiteX12" fmla="*/ 318673 w 588925"/>
                    <a:gd name="connsiteY12" fmla="*/ 405577 h 739368"/>
                    <a:gd name="connsiteX13" fmla="*/ 505500 w 588925"/>
                    <a:gd name="connsiteY13" fmla="*/ 229161 h 739368"/>
                    <a:gd name="connsiteX14" fmla="*/ 325046 w 588925"/>
                    <a:gd name="connsiteY14" fmla="*/ 52744 h 739368"/>
                    <a:gd name="connsiteX15" fmla="*/ 56981 w 588925"/>
                    <a:gd name="connsiteY15" fmla="*/ 52744 h 739368"/>
                    <a:gd name="connsiteX16" fmla="*/ 56981 w 588925"/>
                    <a:gd name="connsiteY16" fmla="*/ 405577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8925" h="739368">
                      <a:moveTo>
                        <a:pt x="588926" y="739368"/>
                      </a:moveTo>
                      <a:lnTo>
                        <a:pt x="513967" y="739368"/>
                      </a:lnTo>
                      <a:lnTo>
                        <a:pt x="258553" y="459463"/>
                      </a:lnTo>
                      <a:lnTo>
                        <a:pt x="56981" y="459463"/>
                      </a:lnTo>
                      <a:lnTo>
                        <a:pt x="56981" y="739368"/>
                      </a:lnTo>
                      <a:lnTo>
                        <a:pt x="0" y="739368"/>
                      </a:lnTo>
                      <a:lnTo>
                        <a:pt x="0" y="0"/>
                      </a:lnTo>
                      <a:cubicBezTo>
                        <a:pt x="108729" y="0"/>
                        <a:pt x="216317" y="0"/>
                        <a:pt x="325046" y="0"/>
                      </a:cubicBezTo>
                      <a:cubicBezTo>
                        <a:pt x="485429" y="0"/>
                        <a:pt x="566762" y="115104"/>
                        <a:pt x="567808" y="230303"/>
                      </a:cubicBezTo>
                      <a:cubicBezTo>
                        <a:pt x="568854" y="350738"/>
                        <a:pt x="489709" y="456322"/>
                        <a:pt x="328185" y="456322"/>
                      </a:cubicBezTo>
                      <a:lnTo>
                        <a:pt x="588926" y="739368"/>
                      </a:lnTo>
                      <a:close/>
                      <a:moveTo>
                        <a:pt x="56981" y="405577"/>
                      </a:moveTo>
                      <a:lnTo>
                        <a:pt x="318673" y="405577"/>
                      </a:lnTo>
                      <a:cubicBezTo>
                        <a:pt x="447473" y="405577"/>
                        <a:pt x="504454" y="332745"/>
                        <a:pt x="505500" y="229161"/>
                      </a:cubicBezTo>
                      <a:cubicBezTo>
                        <a:pt x="506547" y="142523"/>
                        <a:pt x="447473" y="52744"/>
                        <a:pt x="325046" y="52744"/>
                      </a:cubicBezTo>
                      <a:lnTo>
                        <a:pt x="56981" y="52744"/>
                      </a:lnTo>
                      <a:lnTo>
                        <a:pt x="56981" y="40557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4" name="Freeform 85">
                  <a:extLst>
                    <a:ext uri="{FF2B5EF4-FFF2-40B4-BE49-F238E27FC236}">
                      <a16:creationId xmlns:a16="http://schemas.microsoft.com/office/drawing/2014/main" id="{F46FE32A-4DFC-F4D6-F372-053F948A5814}"/>
                    </a:ext>
                  </a:extLst>
                </p:cNvPr>
                <p:cNvSpPr/>
                <p:nvPr/>
              </p:nvSpPr>
              <p:spPr>
                <a:xfrm>
                  <a:off x="4142679" y="5436796"/>
                  <a:ext cx="55934" cy="739368"/>
                </a:xfrm>
                <a:custGeom>
                  <a:avLst/>
                  <a:gdLst>
                    <a:gd name="connsiteX0" fmla="*/ 0 w 55934"/>
                    <a:gd name="connsiteY0" fmla="*/ 739368 h 739368"/>
                    <a:gd name="connsiteX1" fmla="*/ 0 w 55934"/>
                    <a:gd name="connsiteY1" fmla="*/ 0 h 739368"/>
                    <a:gd name="connsiteX2" fmla="*/ 55934 w 55934"/>
                    <a:gd name="connsiteY2" fmla="*/ 0 h 739368"/>
                    <a:gd name="connsiteX3" fmla="*/ 55934 w 55934"/>
                    <a:gd name="connsiteY3" fmla="*/ 739368 h 739368"/>
                    <a:gd name="connsiteX4" fmla="*/ 0 w 55934"/>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4"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5" name="Freeform 86">
                  <a:extLst>
                    <a:ext uri="{FF2B5EF4-FFF2-40B4-BE49-F238E27FC236}">
                      <a16:creationId xmlns:a16="http://schemas.microsoft.com/office/drawing/2014/main" id="{C9A4E959-983D-2D0E-50BB-11956BE6D0F7}"/>
                    </a:ext>
                  </a:extLst>
                </p:cNvPr>
                <p:cNvSpPr/>
                <p:nvPr/>
              </p:nvSpPr>
              <p:spPr>
                <a:xfrm>
                  <a:off x="4322062" y="5428322"/>
                  <a:ext cx="649070" cy="756315"/>
                </a:xfrm>
                <a:custGeom>
                  <a:avLst/>
                  <a:gdLst>
                    <a:gd name="connsiteX0" fmla="*/ 649071 w 649070"/>
                    <a:gd name="connsiteY0" fmla="*/ 645400 h 756315"/>
                    <a:gd name="connsiteX1" fmla="*/ 379959 w 649070"/>
                    <a:gd name="connsiteY1" fmla="*/ 756315 h 756315"/>
                    <a:gd name="connsiteX2" fmla="*/ 25 w 649070"/>
                    <a:gd name="connsiteY2" fmla="*/ 382346 h 756315"/>
                    <a:gd name="connsiteX3" fmla="*/ 379959 w 649070"/>
                    <a:gd name="connsiteY3" fmla="*/ 0 h 756315"/>
                    <a:gd name="connsiteX4" fmla="*/ 649071 w 649070"/>
                    <a:gd name="connsiteY4" fmla="*/ 110915 h 756315"/>
                    <a:gd name="connsiteX5" fmla="*/ 610069 w 649070"/>
                    <a:gd name="connsiteY5" fmla="*/ 144713 h 756315"/>
                    <a:gd name="connsiteX6" fmla="*/ 379959 w 649070"/>
                    <a:gd name="connsiteY6" fmla="*/ 50745 h 756315"/>
                    <a:gd name="connsiteX7" fmla="*/ 54913 w 649070"/>
                    <a:gd name="connsiteY7" fmla="*/ 380347 h 756315"/>
                    <a:gd name="connsiteX8" fmla="*/ 379959 w 649070"/>
                    <a:gd name="connsiteY8" fmla="*/ 703571 h 756315"/>
                    <a:gd name="connsiteX9" fmla="*/ 611116 w 649070"/>
                    <a:gd name="connsiteY9" fmla="*/ 609508 h 756315"/>
                    <a:gd name="connsiteX10" fmla="*/ 649071 w 649070"/>
                    <a:gd name="connsiteY10" fmla="*/ 645400 h 75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9070" h="756315">
                      <a:moveTo>
                        <a:pt x="649071" y="645400"/>
                      </a:moveTo>
                      <a:cubicBezTo>
                        <a:pt x="575158" y="719375"/>
                        <a:pt x="477083" y="756315"/>
                        <a:pt x="379959" y="756315"/>
                      </a:cubicBezTo>
                      <a:cubicBezTo>
                        <a:pt x="130919" y="756315"/>
                        <a:pt x="1072" y="581993"/>
                        <a:pt x="25" y="382346"/>
                      </a:cubicBezTo>
                      <a:cubicBezTo>
                        <a:pt x="-2068" y="184794"/>
                        <a:pt x="126638" y="0"/>
                        <a:pt x="379959" y="0"/>
                      </a:cubicBezTo>
                      <a:cubicBezTo>
                        <a:pt x="477083" y="0"/>
                        <a:pt x="575253" y="36940"/>
                        <a:pt x="649071" y="110915"/>
                      </a:cubicBezTo>
                      <a:lnTo>
                        <a:pt x="610069" y="144713"/>
                      </a:lnTo>
                      <a:cubicBezTo>
                        <a:pt x="546715" y="81306"/>
                        <a:pt x="463384" y="50745"/>
                        <a:pt x="379959" y="50745"/>
                      </a:cubicBezTo>
                      <a:cubicBezTo>
                        <a:pt x="164688" y="50745"/>
                        <a:pt x="53866" y="202884"/>
                        <a:pt x="54913" y="380347"/>
                      </a:cubicBezTo>
                      <a:cubicBezTo>
                        <a:pt x="57006" y="553622"/>
                        <a:pt x="166781" y="703571"/>
                        <a:pt x="379959" y="703571"/>
                      </a:cubicBezTo>
                      <a:cubicBezTo>
                        <a:pt x="463384" y="703571"/>
                        <a:pt x="547761" y="671868"/>
                        <a:pt x="611116" y="609508"/>
                      </a:cubicBezTo>
                      <a:lnTo>
                        <a:pt x="649071" y="64540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7" name="Freeform 87">
                  <a:extLst>
                    <a:ext uri="{FF2B5EF4-FFF2-40B4-BE49-F238E27FC236}">
                      <a16:creationId xmlns:a16="http://schemas.microsoft.com/office/drawing/2014/main" id="{575EE56F-2C3A-B3F8-721C-39BBB728B3D4}"/>
                    </a:ext>
                  </a:extLst>
                </p:cNvPr>
                <p:cNvSpPr/>
                <p:nvPr/>
              </p:nvSpPr>
              <p:spPr>
                <a:xfrm>
                  <a:off x="5106212" y="5436796"/>
                  <a:ext cx="55933" cy="739368"/>
                </a:xfrm>
                <a:custGeom>
                  <a:avLst/>
                  <a:gdLst>
                    <a:gd name="connsiteX0" fmla="*/ 0 w 55933"/>
                    <a:gd name="connsiteY0" fmla="*/ 739368 h 739368"/>
                    <a:gd name="connsiteX1" fmla="*/ 0 w 55933"/>
                    <a:gd name="connsiteY1" fmla="*/ 0 h 739368"/>
                    <a:gd name="connsiteX2" fmla="*/ 55934 w 55933"/>
                    <a:gd name="connsiteY2" fmla="*/ 0 h 739368"/>
                    <a:gd name="connsiteX3" fmla="*/ 55934 w 55933"/>
                    <a:gd name="connsiteY3" fmla="*/ 739368 h 739368"/>
                    <a:gd name="connsiteX4" fmla="*/ 0 w 55933"/>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3"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8" name="Freeform 88">
                  <a:extLst>
                    <a:ext uri="{FF2B5EF4-FFF2-40B4-BE49-F238E27FC236}">
                      <a16:creationId xmlns:a16="http://schemas.microsoft.com/office/drawing/2014/main" id="{CA76DB0E-96C8-A173-9103-376B0B33D753}"/>
                    </a:ext>
                  </a:extLst>
                </p:cNvPr>
                <p:cNvSpPr/>
                <p:nvPr/>
              </p:nvSpPr>
              <p:spPr>
                <a:xfrm>
                  <a:off x="5325763" y="5436796"/>
                  <a:ext cx="577320" cy="739368"/>
                </a:xfrm>
                <a:custGeom>
                  <a:avLst/>
                  <a:gdLst>
                    <a:gd name="connsiteX0" fmla="*/ 24257 w 577320"/>
                    <a:gd name="connsiteY0" fmla="*/ 0 h 739368"/>
                    <a:gd name="connsiteX1" fmla="*/ 521386 w 577320"/>
                    <a:gd name="connsiteY1" fmla="*/ 611602 h 739368"/>
                    <a:gd name="connsiteX2" fmla="*/ 521386 w 577320"/>
                    <a:gd name="connsiteY2" fmla="*/ 0 h 739368"/>
                    <a:gd name="connsiteX3" fmla="*/ 577321 w 577320"/>
                    <a:gd name="connsiteY3" fmla="*/ 0 h 739368"/>
                    <a:gd name="connsiteX4" fmla="*/ 577321 w 577320"/>
                    <a:gd name="connsiteY4" fmla="*/ 739368 h 739368"/>
                    <a:gd name="connsiteX5" fmla="*/ 555156 w 577320"/>
                    <a:gd name="connsiteY5" fmla="*/ 739368 h 739368"/>
                    <a:gd name="connsiteX6" fmla="*/ 56980 w 577320"/>
                    <a:gd name="connsiteY6" fmla="*/ 128813 h 739368"/>
                    <a:gd name="connsiteX7" fmla="*/ 56980 w 577320"/>
                    <a:gd name="connsiteY7" fmla="*/ 739368 h 739368"/>
                    <a:gd name="connsiteX8" fmla="*/ 0 w 577320"/>
                    <a:gd name="connsiteY8" fmla="*/ 739368 h 739368"/>
                    <a:gd name="connsiteX9" fmla="*/ 0 w 577320"/>
                    <a:gd name="connsiteY9" fmla="*/ 0 h 739368"/>
                    <a:gd name="connsiteX10" fmla="*/ 24257 w 577320"/>
                    <a:gd name="connsiteY10" fmla="*/ 0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7320" h="739368">
                      <a:moveTo>
                        <a:pt x="24257" y="0"/>
                      </a:moveTo>
                      <a:lnTo>
                        <a:pt x="521386" y="611602"/>
                      </a:lnTo>
                      <a:lnTo>
                        <a:pt x="521386" y="0"/>
                      </a:lnTo>
                      <a:lnTo>
                        <a:pt x="577321" y="0"/>
                      </a:lnTo>
                      <a:lnTo>
                        <a:pt x="577321" y="739368"/>
                      </a:lnTo>
                      <a:lnTo>
                        <a:pt x="555156" y="739368"/>
                      </a:lnTo>
                      <a:lnTo>
                        <a:pt x="56980" y="128813"/>
                      </a:lnTo>
                      <a:lnTo>
                        <a:pt x="56980" y="739368"/>
                      </a:lnTo>
                      <a:lnTo>
                        <a:pt x="0" y="739368"/>
                      </a:lnTo>
                      <a:lnTo>
                        <a:pt x="0" y="0"/>
                      </a:lnTo>
                      <a:lnTo>
                        <a:pt x="24257"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9" name="Freeform 89">
                  <a:extLst>
                    <a:ext uri="{FF2B5EF4-FFF2-40B4-BE49-F238E27FC236}">
                      <a16:creationId xmlns:a16="http://schemas.microsoft.com/office/drawing/2014/main" id="{819901E0-017D-C922-0F6A-54CEF0DDAFA2}"/>
                    </a:ext>
                  </a:extLst>
                </p:cNvPr>
                <p:cNvSpPr/>
                <p:nvPr/>
              </p:nvSpPr>
              <p:spPr>
                <a:xfrm>
                  <a:off x="6030738" y="5426323"/>
                  <a:ext cx="659609" cy="759457"/>
                </a:xfrm>
                <a:custGeom>
                  <a:avLst/>
                  <a:gdLst>
                    <a:gd name="connsiteX0" fmla="*/ 618420 w 659609"/>
                    <a:gd name="connsiteY0" fmla="*/ 146713 h 759457"/>
                    <a:gd name="connsiteX1" fmla="*/ 380985 w 659609"/>
                    <a:gd name="connsiteY1" fmla="*/ 51697 h 759457"/>
                    <a:gd name="connsiteX2" fmla="*/ 54893 w 659609"/>
                    <a:gd name="connsiteY2" fmla="*/ 381300 h 759457"/>
                    <a:gd name="connsiteX3" fmla="*/ 380985 w 659609"/>
                    <a:gd name="connsiteY3" fmla="*/ 705571 h 759457"/>
                    <a:gd name="connsiteX4" fmla="*/ 605768 w 659609"/>
                    <a:gd name="connsiteY4" fmla="*/ 619980 h 759457"/>
                    <a:gd name="connsiteX5" fmla="*/ 605768 w 659609"/>
                    <a:gd name="connsiteY5" fmla="*/ 412908 h 759457"/>
                    <a:gd name="connsiteX6" fmla="*/ 348262 w 659609"/>
                    <a:gd name="connsiteY6" fmla="*/ 412908 h 759457"/>
                    <a:gd name="connsiteX7" fmla="*/ 348262 w 659609"/>
                    <a:gd name="connsiteY7" fmla="*/ 363306 h 759457"/>
                    <a:gd name="connsiteX8" fmla="*/ 659610 w 659609"/>
                    <a:gd name="connsiteY8" fmla="*/ 363306 h 759457"/>
                    <a:gd name="connsiteX9" fmla="*/ 659610 w 659609"/>
                    <a:gd name="connsiteY9" fmla="*/ 640069 h 759457"/>
                    <a:gd name="connsiteX10" fmla="*/ 380985 w 659609"/>
                    <a:gd name="connsiteY10" fmla="*/ 759457 h 759457"/>
                    <a:gd name="connsiteX11" fmla="*/ 5 w 659609"/>
                    <a:gd name="connsiteY11" fmla="*/ 382347 h 759457"/>
                    <a:gd name="connsiteX12" fmla="*/ 380985 w 659609"/>
                    <a:gd name="connsiteY12" fmla="*/ 0 h 759457"/>
                    <a:gd name="connsiteX13" fmla="*/ 651143 w 659609"/>
                    <a:gd name="connsiteY13" fmla="*/ 110915 h 759457"/>
                    <a:gd name="connsiteX14" fmla="*/ 618420 w 659609"/>
                    <a:gd name="connsiteY14" fmla="*/ 146713 h 759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59609" h="759457">
                      <a:moveTo>
                        <a:pt x="618420" y="146713"/>
                      </a:moveTo>
                      <a:cubicBezTo>
                        <a:pt x="554020" y="83305"/>
                        <a:pt x="464316" y="51697"/>
                        <a:pt x="380985" y="51697"/>
                      </a:cubicBezTo>
                      <a:cubicBezTo>
                        <a:pt x="164669" y="51697"/>
                        <a:pt x="53846" y="210119"/>
                        <a:pt x="54893" y="381300"/>
                      </a:cubicBezTo>
                      <a:cubicBezTo>
                        <a:pt x="54893" y="555622"/>
                        <a:pt x="165715" y="705571"/>
                        <a:pt x="380985" y="705571"/>
                      </a:cubicBezTo>
                      <a:cubicBezTo>
                        <a:pt x="460130" y="705571"/>
                        <a:pt x="542414" y="678152"/>
                        <a:pt x="605768" y="619980"/>
                      </a:cubicBezTo>
                      <a:lnTo>
                        <a:pt x="605768" y="412908"/>
                      </a:lnTo>
                      <a:lnTo>
                        <a:pt x="348262" y="412908"/>
                      </a:lnTo>
                      <a:lnTo>
                        <a:pt x="348262" y="363306"/>
                      </a:lnTo>
                      <a:lnTo>
                        <a:pt x="659610" y="363306"/>
                      </a:lnTo>
                      <a:lnTo>
                        <a:pt x="659610" y="640069"/>
                      </a:lnTo>
                      <a:cubicBezTo>
                        <a:pt x="582558" y="717186"/>
                        <a:pt x="490761" y="759457"/>
                        <a:pt x="380985" y="759457"/>
                      </a:cubicBezTo>
                      <a:cubicBezTo>
                        <a:pt x="129757" y="759457"/>
                        <a:pt x="5" y="584088"/>
                        <a:pt x="5" y="382347"/>
                      </a:cubicBezTo>
                      <a:cubicBezTo>
                        <a:pt x="-1041" y="150997"/>
                        <a:pt x="156202" y="0"/>
                        <a:pt x="380985" y="0"/>
                      </a:cubicBezTo>
                      <a:cubicBezTo>
                        <a:pt x="478109" y="0"/>
                        <a:pt x="576279" y="36940"/>
                        <a:pt x="651143" y="110915"/>
                      </a:cubicBezTo>
                      <a:lnTo>
                        <a:pt x="618420" y="146713"/>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58" name="Graphic 2">
                <a:extLst>
                  <a:ext uri="{FF2B5EF4-FFF2-40B4-BE49-F238E27FC236}">
                    <a16:creationId xmlns:a16="http://schemas.microsoft.com/office/drawing/2014/main" id="{2E4296B1-AC57-D498-8F39-EC75483EA371}"/>
                  </a:ext>
                </a:extLst>
              </p:cNvPr>
              <p:cNvGrpSpPr/>
              <p:nvPr/>
            </p:nvGrpSpPr>
            <p:grpSpPr>
              <a:xfrm>
                <a:off x="6870802" y="5410804"/>
                <a:ext cx="2164690" cy="771262"/>
                <a:chOff x="6870802" y="5410804"/>
                <a:chExt cx="2164690" cy="771262"/>
              </a:xfrm>
              <a:solidFill>
                <a:srgbClr val="00A099"/>
              </a:solidFill>
            </p:grpSpPr>
            <p:sp>
              <p:nvSpPr>
                <p:cNvPr id="59" name="Freeform 80">
                  <a:extLst>
                    <a:ext uri="{FF2B5EF4-FFF2-40B4-BE49-F238E27FC236}">
                      <a16:creationId xmlns:a16="http://schemas.microsoft.com/office/drawing/2014/main" id="{A9D03C93-2A1A-B1A3-C4A3-55BAE0558E36}"/>
                    </a:ext>
                  </a:extLst>
                </p:cNvPr>
                <p:cNvSpPr/>
                <p:nvPr/>
              </p:nvSpPr>
              <p:spPr>
                <a:xfrm>
                  <a:off x="6870802" y="5410804"/>
                  <a:ext cx="758943" cy="771262"/>
                </a:xfrm>
                <a:custGeom>
                  <a:avLst/>
                  <a:gdLst>
                    <a:gd name="connsiteX0" fmla="*/ 758916 w 758943"/>
                    <a:gd name="connsiteY0" fmla="*/ 388821 h 771262"/>
                    <a:gd name="connsiteX1" fmla="*/ 379934 w 758943"/>
                    <a:gd name="connsiteY1" fmla="*/ 771263 h 771262"/>
                    <a:gd name="connsiteX2" fmla="*/ 0 w 758943"/>
                    <a:gd name="connsiteY2" fmla="*/ 389868 h 771262"/>
                    <a:gd name="connsiteX3" fmla="*/ 379934 w 758943"/>
                    <a:gd name="connsiteY3" fmla="*/ 0 h 771262"/>
                    <a:gd name="connsiteX4" fmla="*/ 758916 w 758943"/>
                    <a:gd name="connsiteY4" fmla="*/ 388821 h 771262"/>
                    <a:gd name="connsiteX5" fmla="*/ 137267 w 758943"/>
                    <a:gd name="connsiteY5" fmla="*/ 392058 h 771262"/>
                    <a:gd name="connsiteX6" fmla="*/ 380029 w 758943"/>
                    <a:gd name="connsiteY6" fmla="*/ 643497 h 771262"/>
                    <a:gd name="connsiteX7" fmla="*/ 621744 w 758943"/>
                    <a:gd name="connsiteY7" fmla="*/ 391010 h 771262"/>
                    <a:gd name="connsiteX8" fmla="*/ 380029 w 758943"/>
                    <a:gd name="connsiteY8" fmla="*/ 126910 h 771262"/>
                    <a:gd name="connsiteX9" fmla="*/ 137267 w 758943"/>
                    <a:gd name="connsiteY9" fmla="*/ 392058 h 771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8943" h="771262">
                      <a:moveTo>
                        <a:pt x="758916" y="388821"/>
                      </a:moveTo>
                      <a:cubicBezTo>
                        <a:pt x="756824" y="579994"/>
                        <a:pt x="639628" y="771263"/>
                        <a:pt x="379934" y="771263"/>
                      </a:cubicBezTo>
                      <a:cubicBezTo>
                        <a:pt x="120239" y="771263"/>
                        <a:pt x="0" y="584279"/>
                        <a:pt x="0" y="389868"/>
                      </a:cubicBezTo>
                      <a:cubicBezTo>
                        <a:pt x="0" y="195458"/>
                        <a:pt x="124520" y="0"/>
                        <a:pt x="379934" y="0"/>
                      </a:cubicBezTo>
                      <a:cubicBezTo>
                        <a:pt x="634396" y="95"/>
                        <a:pt x="761104" y="195553"/>
                        <a:pt x="758916" y="388821"/>
                      </a:cubicBezTo>
                      <a:close/>
                      <a:moveTo>
                        <a:pt x="137267" y="392058"/>
                      </a:moveTo>
                      <a:cubicBezTo>
                        <a:pt x="140406" y="513540"/>
                        <a:pt x="205853" y="643497"/>
                        <a:pt x="380029" y="643497"/>
                      </a:cubicBezTo>
                      <a:cubicBezTo>
                        <a:pt x="554205" y="643497"/>
                        <a:pt x="619652" y="512493"/>
                        <a:pt x="621744" y="391010"/>
                      </a:cubicBezTo>
                      <a:cubicBezTo>
                        <a:pt x="623837" y="266291"/>
                        <a:pt x="554205" y="126910"/>
                        <a:pt x="380029" y="126910"/>
                      </a:cubicBezTo>
                      <a:cubicBezTo>
                        <a:pt x="205758" y="126910"/>
                        <a:pt x="134033" y="267338"/>
                        <a:pt x="137267" y="392058"/>
                      </a:cubicBez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0" name="Freeform 81">
                  <a:extLst>
                    <a:ext uri="{FF2B5EF4-FFF2-40B4-BE49-F238E27FC236}">
                      <a16:creationId xmlns:a16="http://schemas.microsoft.com/office/drawing/2014/main" id="{47D82C5E-6BEE-B699-B446-230D29046116}"/>
                    </a:ext>
                  </a:extLst>
                </p:cNvPr>
                <p:cNvSpPr/>
                <p:nvPr/>
              </p:nvSpPr>
              <p:spPr>
                <a:xfrm>
                  <a:off x="7742443" y="5424609"/>
                  <a:ext cx="614419" cy="741653"/>
                </a:xfrm>
                <a:custGeom>
                  <a:avLst/>
                  <a:gdLst>
                    <a:gd name="connsiteX0" fmla="*/ 475060 w 614419"/>
                    <a:gd name="connsiteY0" fmla="*/ 0 h 741653"/>
                    <a:gd name="connsiteX1" fmla="*/ 614419 w 614419"/>
                    <a:gd name="connsiteY1" fmla="*/ 0 h 741653"/>
                    <a:gd name="connsiteX2" fmla="*/ 614419 w 614419"/>
                    <a:gd name="connsiteY2" fmla="*/ 740607 h 741653"/>
                    <a:gd name="connsiteX3" fmla="*/ 527855 w 614419"/>
                    <a:gd name="connsiteY3" fmla="*/ 740607 h 741653"/>
                    <a:gd name="connsiteX4" fmla="*/ 527855 w 614419"/>
                    <a:gd name="connsiteY4" fmla="*/ 741654 h 741653"/>
                    <a:gd name="connsiteX5" fmla="*/ 139359 w 614419"/>
                    <a:gd name="connsiteY5" fmla="*/ 241918 h 741653"/>
                    <a:gd name="connsiteX6" fmla="*/ 139359 w 614419"/>
                    <a:gd name="connsiteY6" fmla="*/ 740607 h 741653"/>
                    <a:gd name="connsiteX7" fmla="*/ 0 w 614419"/>
                    <a:gd name="connsiteY7" fmla="*/ 740607 h 741653"/>
                    <a:gd name="connsiteX8" fmla="*/ 0 w 614419"/>
                    <a:gd name="connsiteY8" fmla="*/ 1047 h 741653"/>
                    <a:gd name="connsiteX9" fmla="*/ 113010 w 614419"/>
                    <a:gd name="connsiteY9" fmla="*/ 1047 h 741653"/>
                    <a:gd name="connsiteX10" fmla="*/ 475060 w 614419"/>
                    <a:gd name="connsiteY10" fmla="*/ 459559 h 741653"/>
                    <a:gd name="connsiteX11" fmla="*/ 475060 w 614419"/>
                    <a:gd name="connsiteY11" fmla="*/ 0 h 74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4419" h="741653">
                      <a:moveTo>
                        <a:pt x="475060" y="0"/>
                      </a:moveTo>
                      <a:lnTo>
                        <a:pt x="614419" y="0"/>
                      </a:lnTo>
                      <a:lnTo>
                        <a:pt x="614419" y="740607"/>
                      </a:lnTo>
                      <a:lnTo>
                        <a:pt x="527855" y="740607"/>
                      </a:lnTo>
                      <a:lnTo>
                        <a:pt x="527855" y="741654"/>
                      </a:lnTo>
                      <a:lnTo>
                        <a:pt x="139359" y="241918"/>
                      </a:lnTo>
                      <a:lnTo>
                        <a:pt x="139359" y="740607"/>
                      </a:lnTo>
                      <a:lnTo>
                        <a:pt x="0" y="740607"/>
                      </a:lnTo>
                      <a:lnTo>
                        <a:pt x="0" y="1047"/>
                      </a:lnTo>
                      <a:lnTo>
                        <a:pt x="113010" y="1047"/>
                      </a:lnTo>
                      <a:lnTo>
                        <a:pt x="475060" y="459559"/>
                      </a:lnTo>
                      <a:lnTo>
                        <a:pt x="475060" y="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1" name="Freeform 82">
                  <a:extLst>
                    <a:ext uri="{FF2B5EF4-FFF2-40B4-BE49-F238E27FC236}">
                      <a16:creationId xmlns:a16="http://schemas.microsoft.com/office/drawing/2014/main" id="{B8C008A3-5B3B-95D8-17BE-1DE8F9777BBA}"/>
                    </a:ext>
                  </a:extLst>
                </p:cNvPr>
                <p:cNvSpPr/>
                <p:nvPr/>
              </p:nvSpPr>
              <p:spPr>
                <a:xfrm>
                  <a:off x="8482429" y="5425656"/>
                  <a:ext cx="553063" cy="739559"/>
                </a:xfrm>
                <a:custGeom>
                  <a:avLst/>
                  <a:gdLst>
                    <a:gd name="connsiteX0" fmla="*/ 553064 w 553063"/>
                    <a:gd name="connsiteY0" fmla="*/ 739560 h 739559"/>
                    <a:gd name="connsiteX1" fmla="*/ 0 w 553063"/>
                    <a:gd name="connsiteY1" fmla="*/ 739560 h 739559"/>
                    <a:gd name="connsiteX2" fmla="*/ 0 w 553063"/>
                    <a:gd name="connsiteY2" fmla="*/ 0 h 739559"/>
                    <a:gd name="connsiteX3" fmla="*/ 553064 w 553063"/>
                    <a:gd name="connsiteY3" fmla="*/ 0 h 739559"/>
                    <a:gd name="connsiteX4" fmla="*/ 553064 w 553063"/>
                    <a:gd name="connsiteY4" fmla="*/ 135288 h 739559"/>
                    <a:gd name="connsiteX5" fmla="*/ 138219 w 553063"/>
                    <a:gd name="connsiteY5" fmla="*/ 135288 h 739559"/>
                    <a:gd name="connsiteX6" fmla="*/ 138219 w 553063"/>
                    <a:gd name="connsiteY6" fmla="*/ 305325 h 739559"/>
                    <a:gd name="connsiteX7" fmla="*/ 538224 w 553063"/>
                    <a:gd name="connsiteY7" fmla="*/ 305325 h 739559"/>
                    <a:gd name="connsiteX8" fmla="*/ 538224 w 553063"/>
                    <a:gd name="connsiteY8" fmla="*/ 435281 h 739559"/>
                    <a:gd name="connsiteX9" fmla="*/ 138219 w 553063"/>
                    <a:gd name="connsiteY9" fmla="*/ 435281 h 739559"/>
                    <a:gd name="connsiteX10" fmla="*/ 138219 w 553063"/>
                    <a:gd name="connsiteY10" fmla="*/ 602177 h 739559"/>
                    <a:gd name="connsiteX11" fmla="*/ 553064 w 553063"/>
                    <a:gd name="connsiteY11" fmla="*/ 602177 h 739559"/>
                    <a:gd name="connsiteX12" fmla="*/ 553064 w 553063"/>
                    <a:gd name="connsiteY12" fmla="*/ 739560 h 739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3063" h="739559">
                      <a:moveTo>
                        <a:pt x="553064" y="739560"/>
                      </a:moveTo>
                      <a:lnTo>
                        <a:pt x="0" y="739560"/>
                      </a:lnTo>
                      <a:cubicBezTo>
                        <a:pt x="0" y="493452"/>
                        <a:pt x="0" y="246203"/>
                        <a:pt x="0" y="0"/>
                      </a:cubicBezTo>
                      <a:lnTo>
                        <a:pt x="553064" y="0"/>
                      </a:lnTo>
                      <a:lnTo>
                        <a:pt x="553064" y="135288"/>
                      </a:lnTo>
                      <a:lnTo>
                        <a:pt x="138219" y="135288"/>
                      </a:lnTo>
                      <a:lnTo>
                        <a:pt x="138219" y="305325"/>
                      </a:lnTo>
                      <a:lnTo>
                        <a:pt x="538224" y="305325"/>
                      </a:lnTo>
                      <a:lnTo>
                        <a:pt x="538224" y="435281"/>
                      </a:lnTo>
                      <a:lnTo>
                        <a:pt x="138219" y="435281"/>
                      </a:lnTo>
                      <a:lnTo>
                        <a:pt x="138219" y="602177"/>
                      </a:lnTo>
                      <a:lnTo>
                        <a:pt x="553064" y="602177"/>
                      </a:lnTo>
                      <a:lnTo>
                        <a:pt x="553064" y="73956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grpSp>
          <p:nvGrpSpPr>
            <p:cNvPr id="9" name="Graphic 2">
              <a:extLst>
                <a:ext uri="{FF2B5EF4-FFF2-40B4-BE49-F238E27FC236}">
                  <a16:creationId xmlns:a16="http://schemas.microsoft.com/office/drawing/2014/main" id="{AC1E6581-9202-548E-3A46-2E00B0E43CE0}"/>
                </a:ext>
              </a:extLst>
            </p:cNvPr>
            <p:cNvGrpSpPr/>
            <p:nvPr/>
          </p:nvGrpSpPr>
          <p:grpSpPr>
            <a:xfrm>
              <a:off x="2716311" y="648027"/>
              <a:ext cx="2950814" cy="4756864"/>
              <a:chOff x="4425584" y="267785"/>
              <a:chExt cx="2950814" cy="4756864"/>
            </a:xfrm>
            <a:solidFill>
              <a:schemeClr val="accent1"/>
            </a:solidFill>
          </p:grpSpPr>
          <p:grpSp>
            <p:nvGrpSpPr>
              <p:cNvPr id="13" name="Graphic 2">
                <a:extLst>
                  <a:ext uri="{FF2B5EF4-FFF2-40B4-BE49-F238E27FC236}">
                    <a16:creationId xmlns:a16="http://schemas.microsoft.com/office/drawing/2014/main" id="{B3C34F64-B814-586E-09E7-735289381ED9}"/>
                  </a:ext>
                </a:extLst>
              </p:cNvPr>
              <p:cNvGrpSpPr/>
              <p:nvPr/>
            </p:nvGrpSpPr>
            <p:grpSpPr>
              <a:xfrm>
                <a:off x="5720269" y="2764575"/>
                <a:ext cx="1656129" cy="1882392"/>
                <a:chOff x="5720269" y="2764575"/>
                <a:chExt cx="1656129" cy="1882392"/>
              </a:xfrm>
              <a:solidFill>
                <a:schemeClr val="accent1"/>
              </a:solidFill>
            </p:grpSpPr>
            <p:grpSp>
              <p:nvGrpSpPr>
                <p:cNvPr id="49" name="Graphic 2">
                  <a:extLst>
                    <a:ext uri="{FF2B5EF4-FFF2-40B4-BE49-F238E27FC236}">
                      <a16:creationId xmlns:a16="http://schemas.microsoft.com/office/drawing/2014/main" id="{FEC1D4B0-8210-A283-56E3-9B98A679E56F}"/>
                    </a:ext>
                  </a:extLst>
                </p:cNvPr>
                <p:cNvGrpSpPr/>
                <p:nvPr/>
              </p:nvGrpSpPr>
              <p:grpSpPr>
                <a:xfrm>
                  <a:off x="5720269" y="2764575"/>
                  <a:ext cx="1656129" cy="1882392"/>
                  <a:chOff x="5720269" y="2764575"/>
                  <a:chExt cx="1656129" cy="1882392"/>
                </a:xfrm>
                <a:solidFill>
                  <a:srgbClr val="00A099"/>
                </a:solidFill>
              </p:grpSpPr>
              <p:sp>
                <p:nvSpPr>
                  <p:cNvPr id="53" name="Freeform 75">
                    <a:extLst>
                      <a:ext uri="{FF2B5EF4-FFF2-40B4-BE49-F238E27FC236}">
                        <a16:creationId xmlns:a16="http://schemas.microsoft.com/office/drawing/2014/main" id="{9E749119-8665-1500-E66B-6B2DDDA1E27A}"/>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4" name="Freeform 76">
                    <a:extLst>
                      <a:ext uri="{FF2B5EF4-FFF2-40B4-BE49-F238E27FC236}">
                        <a16:creationId xmlns:a16="http://schemas.microsoft.com/office/drawing/2014/main" id="{539838BC-5FD5-22C3-7D06-16DA65B26FD0}"/>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5" name="Freeform 77">
                    <a:extLst>
                      <a:ext uri="{FF2B5EF4-FFF2-40B4-BE49-F238E27FC236}">
                        <a16:creationId xmlns:a16="http://schemas.microsoft.com/office/drawing/2014/main" id="{2FB5CBB3-4DDA-3E0D-D21F-CDCA418251A4}"/>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50" name="Freeform 72">
                  <a:extLst>
                    <a:ext uri="{FF2B5EF4-FFF2-40B4-BE49-F238E27FC236}">
                      <a16:creationId xmlns:a16="http://schemas.microsoft.com/office/drawing/2014/main" id="{CA63F685-9852-7E11-D539-3CDE0B67CD9F}"/>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1" name="Freeform 73">
                  <a:extLst>
                    <a:ext uri="{FF2B5EF4-FFF2-40B4-BE49-F238E27FC236}">
                      <a16:creationId xmlns:a16="http://schemas.microsoft.com/office/drawing/2014/main" id="{B14B1232-4700-6BB7-D2F4-2EB5B2B4FF89}"/>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2" name="Freeform 74">
                  <a:extLst>
                    <a:ext uri="{FF2B5EF4-FFF2-40B4-BE49-F238E27FC236}">
                      <a16:creationId xmlns:a16="http://schemas.microsoft.com/office/drawing/2014/main" id="{D0D1CCA1-F291-D360-CBF5-4AA2D2535358}"/>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47" name="Freeform 69">
                <a:extLst>
                  <a:ext uri="{FF2B5EF4-FFF2-40B4-BE49-F238E27FC236}">
                    <a16:creationId xmlns:a16="http://schemas.microsoft.com/office/drawing/2014/main" id="{18DAB975-CEA7-95E3-D5D3-714D97E4AE7B}"/>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8" name="Freeform 70">
                <a:extLst>
                  <a:ext uri="{FF2B5EF4-FFF2-40B4-BE49-F238E27FC236}">
                    <a16:creationId xmlns:a16="http://schemas.microsoft.com/office/drawing/2014/main" id="{7536147C-99EC-769D-3BA6-256E3D395B2C}"/>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10" name="Graphic 2">
              <a:extLst>
                <a:ext uri="{FF2B5EF4-FFF2-40B4-BE49-F238E27FC236}">
                  <a16:creationId xmlns:a16="http://schemas.microsoft.com/office/drawing/2014/main" id="{C4983454-3055-6F80-9BE0-0D357D2F69C2}"/>
                </a:ext>
              </a:extLst>
            </p:cNvPr>
            <p:cNvGrpSpPr/>
            <p:nvPr/>
          </p:nvGrpSpPr>
          <p:grpSpPr>
            <a:xfrm>
              <a:off x="9002626" y="5508867"/>
              <a:ext cx="473062" cy="244679"/>
              <a:chOff x="9052805" y="5306649"/>
              <a:chExt cx="473062" cy="244679"/>
            </a:xfrm>
            <a:solidFill>
              <a:schemeClr val="accent4"/>
            </a:solidFill>
          </p:grpSpPr>
          <p:sp>
            <p:nvSpPr>
              <p:cNvPr id="11" name="Freeform 66">
                <a:extLst>
                  <a:ext uri="{FF2B5EF4-FFF2-40B4-BE49-F238E27FC236}">
                    <a16:creationId xmlns:a16="http://schemas.microsoft.com/office/drawing/2014/main" id="{3CCCE990-B202-A185-43DF-2576F0FA4C0A}"/>
                  </a:ext>
                </a:extLst>
              </p:cNvPr>
              <p:cNvSpPr/>
              <p:nvPr/>
            </p:nvSpPr>
            <p:spPr>
              <a:xfrm>
                <a:off x="9052805" y="5306649"/>
                <a:ext cx="183783" cy="244679"/>
              </a:xfrm>
              <a:custGeom>
                <a:avLst/>
                <a:gdLst>
                  <a:gd name="connsiteX0" fmla="*/ 111868 w 183783"/>
                  <a:gd name="connsiteY0" fmla="*/ 244679 h 244679"/>
                  <a:gd name="connsiteX1" fmla="*/ 71915 w 183783"/>
                  <a:gd name="connsiteY1" fmla="*/ 244679 h 244679"/>
                  <a:gd name="connsiteX2" fmla="*/ 71915 w 183783"/>
                  <a:gd name="connsiteY2" fmla="*/ 34274 h 244679"/>
                  <a:gd name="connsiteX3" fmla="*/ 0 w 183783"/>
                  <a:gd name="connsiteY3" fmla="*/ 34274 h 244679"/>
                  <a:gd name="connsiteX4" fmla="*/ 0 w 183783"/>
                  <a:gd name="connsiteY4" fmla="*/ 0 h 244679"/>
                  <a:gd name="connsiteX5" fmla="*/ 183784 w 183783"/>
                  <a:gd name="connsiteY5" fmla="*/ 0 h 244679"/>
                  <a:gd name="connsiteX6" fmla="*/ 183784 w 183783"/>
                  <a:gd name="connsiteY6" fmla="*/ 34274 h 244679"/>
                  <a:gd name="connsiteX7" fmla="*/ 111868 w 183783"/>
                  <a:gd name="connsiteY7" fmla="*/ 34274 h 244679"/>
                  <a:gd name="connsiteX8" fmla="*/ 111868 w 183783"/>
                  <a:gd name="connsiteY8"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783" h="244679">
                    <a:moveTo>
                      <a:pt x="111868" y="244679"/>
                    </a:moveTo>
                    <a:lnTo>
                      <a:pt x="71915" y="244679"/>
                    </a:lnTo>
                    <a:lnTo>
                      <a:pt x="71915" y="34274"/>
                    </a:lnTo>
                    <a:lnTo>
                      <a:pt x="0" y="34274"/>
                    </a:lnTo>
                    <a:lnTo>
                      <a:pt x="0" y="0"/>
                    </a:lnTo>
                    <a:lnTo>
                      <a:pt x="183784" y="0"/>
                    </a:lnTo>
                    <a:lnTo>
                      <a:pt x="183784" y="34274"/>
                    </a:lnTo>
                    <a:lnTo>
                      <a:pt x="111868" y="34274"/>
                    </a:lnTo>
                    <a:lnTo>
                      <a:pt x="111868"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67">
                <a:extLst>
                  <a:ext uri="{FF2B5EF4-FFF2-40B4-BE49-F238E27FC236}">
                    <a16:creationId xmlns:a16="http://schemas.microsoft.com/office/drawing/2014/main" id="{14F4C2B6-DA2F-342D-B104-A98312D394EB}"/>
                  </a:ext>
                </a:extLst>
              </p:cNvPr>
              <p:cNvSpPr/>
              <p:nvPr/>
            </p:nvSpPr>
            <p:spPr>
              <a:xfrm>
                <a:off x="9274164" y="5306649"/>
                <a:ext cx="251703" cy="244679"/>
              </a:xfrm>
              <a:custGeom>
                <a:avLst/>
                <a:gdLst>
                  <a:gd name="connsiteX0" fmla="*/ 105590 w 251703"/>
                  <a:gd name="connsiteY0" fmla="*/ 244679 h 244679"/>
                  <a:gd name="connsiteX1" fmla="*/ 34721 w 251703"/>
                  <a:gd name="connsiteY1" fmla="*/ 40368 h 244679"/>
                  <a:gd name="connsiteX2" fmla="*/ 33389 w 251703"/>
                  <a:gd name="connsiteY2" fmla="*/ 40368 h 244679"/>
                  <a:gd name="connsiteX3" fmla="*/ 36243 w 251703"/>
                  <a:gd name="connsiteY3" fmla="*/ 125672 h 244679"/>
                  <a:gd name="connsiteX4" fmla="*/ 36243 w 251703"/>
                  <a:gd name="connsiteY4" fmla="*/ 244679 h 244679"/>
                  <a:gd name="connsiteX5" fmla="*/ 0 w 251703"/>
                  <a:gd name="connsiteY5" fmla="*/ 244679 h 244679"/>
                  <a:gd name="connsiteX6" fmla="*/ 0 w 251703"/>
                  <a:gd name="connsiteY6" fmla="*/ 0 h 244679"/>
                  <a:gd name="connsiteX7" fmla="*/ 56315 w 251703"/>
                  <a:gd name="connsiteY7" fmla="*/ 0 h 244679"/>
                  <a:gd name="connsiteX8" fmla="*/ 124235 w 251703"/>
                  <a:gd name="connsiteY8" fmla="*/ 194601 h 244679"/>
                  <a:gd name="connsiteX9" fmla="*/ 125282 w 251703"/>
                  <a:gd name="connsiteY9" fmla="*/ 194601 h 244679"/>
                  <a:gd name="connsiteX10" fmla="*/ 195199 w 251703"/>
                  <a:gd name="connsiteY10" fmla="*/ 0 h 244679"/>
                  <a:gd name="connsiteX11" fmla="*/ 251704 w 251703"/>
                  <a:gd name="connsiteY11" fmla="*/ 0 h 244679"/>
                  <a:gd name="connsiteX12" fmla="*/ 251704 w 251703"/>
                  <a:gd name="connsiteY12" fmla="*/ 244679 h 244679"/>
                  <a:gd name="connsiteX13" fmla="*/ 213083 w 251703"/>
                  <a:gd name="connsiteY13" fmla="*/ 244679 h 244679"/>
                  <a:gd name="connsiteX14" fmla="*/ 213083 w 251703"/>
                  <a:gd name="connsiteY14" fmla="*/ 123673 h 244679"/>
                  <a:gd name="connsiteX15" fmla="*/ 214034 w 251703"/>
                  <a:gd name="connsiteY15" fmla="*/ 76165 h 244679"/>
                  <a:gd name="connsiteX16" fmla="*/ 215651 w 251703"/>
                  <a:gd name="connsiteY16" fmla="*/ 40653 h 244679"/>
                  <a:gd name="connsiteX17" fmla="*/ 214319 w 251703"/>
                  <a:gd name="connsiteY17" fmla="*/ 40653 h 244679"/>
                  <a:gd name="connsiteX18" fmla="*/ 140882 w 251703"/>
                  <a:gd name="connsiteY18" fmla="*/ 244679 h 244679"/>
                  <a:gd name="connsiteX19" fmla="*/ 105590 w 251703"/>
                  <a:gd name="connsiteY19"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1703" h="244679">
                    <a:moveTo>
                      <a:pt x="105590" y="244679"/>
                    </a:moveTo>
                    <a:lnTo>
                      <a:pt x="34721" y="40368"/>
                    </a:lnTo>
                    <a:lnTo>
                      <a:pt x="33389" y="40368"/>
                    </a:lnTo>
                    <a:cubicBezTo>
                      <a:pt x="35292" y="70738"/>
                      <a:pt x="36243" y="99205"/>
                      <a:pt x="36243" y="125672"/>
                    </a:cubicBezTo>
                    <a:lnTo>
                      <a:pt x="36243" y="244679"/>
                    </a:lnTo>
                    <a:lnTo>
                      <a:pt x="0" y="244679"/>
                    </a:lnTo>
                    <a:lnTo>
                      <a:pt x="0" y="0"/>
                    </a:lnTo>
                    <a:lnTo>
                      <a:pt x="56315" y="0"/>
                    </a:lnTo>
                    <a:lnTo>
                      <a:pt x="124235" y="194601"/>
                    </a:lnTo>
                    <a:lnTo>
                      <a:pt x="125282" y="194601"/>
                    </a:lnTo>
                    <a:lnTo>
                      <a:pt x="195199" y="0"/>
                    </a:lnTo>
                    <a:lnTo>
                      <a:pt x="251704" y="0"/>
                    </a:lnTo>
                    <a:lnTo>
                      <a:pt x="251704" y="244679"/>
                    </a:lnTo>
                    <a:lnTo>
                      <a:pt x="213083" y="244679"/>
                    </a:lnTo>
                    <a:lnTo>
                      <a:pt x="213083" y="123673"/>
                    </a:lnTo>
                    <a:cubicBezTo>
                      <a:pt x="213083" y="111486"/>
                      <a:pt x="213368" y="95682"/>
                      <a:pt x="214034" y="76165"/>
                    </a:cubicBezTo>
                    <a:cubicBezTo>
                      <a:pt x="214605" y="56648"/>
                      <a:pt x="215175" y="44842"/>
                      <a:pt x="215651" y="40653"/>
                    </a:cubicBezTo>
                    <a:lnTo>
                      <a:pt x="214319" y="40653"/>
                    </a:lnTo>
                    <a:lnTo>
                      <a:pt x="140882" y="244679"/>
                    </a:lnTo>
                    <a:lnTo>
                      <a:pt x="105590"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Nexa Book" panose="00000400000000000000" pitchFamily="50" charset="0"/>
                  <a:ea typeface="+mn-ea"/>
                  <a:cs typeface="+mn-cs"/>
                </a:endParaRPr>
              </a:p>
            </p:txBody>
          </p:sp>
        </p:grpSp>
      </p:grpSp>
      <p:cxnSp>
        <p:nvCxnSpPr>
          <p:cNvPr id="14" name="Straight Connector 13">
            <a:extLst>
              <a:ext uri="{FF2B5EF4-FFF2-40B4-BE49-F238E27FC236}">
                <a16:creationId xmlns:a16="http://schemas.microsoft.com/office/drawing/2014/main" id="{DB7E9558-4D47-3767-4686-EB7258B7F7D8}"/>
              </a:ext>
            </a:extLst>
          </p:cNvPr>
          <p:cNvCxnSpPr>
            <a:cxnSpLocks/>
          </p:cNvCxnSpPr>
          <p:nvPr/>
        </p:nvCxnSpPr>
        <p:spPr>
          <a:xfrm>
            <a:off x="1683349" y="2990851"/>
            <a:ext cx="2902873" cy="0"/>
          </a:xfrm>
          <a:prstGeom prst="line">
            <a:avLst/>
          </a:prstGeom>
          <a:ln w="57150" cap="rnd">
            <a:solidFill>
              <a:schemeClr val="accent1"/>
            </a:solidFill>
            <a:round/>
          </a:ln>
        </p:spPr>
        <p:style>
          <a:lnRef idx="1">
            <a:schemeClr val="accent1"/>
          </a:lnRef>
          <a:fillRef idx="0">
            <a:schemeClr val="accent1"/>
          </a:fillRef>
          <a:effectRef idx="0">
            <a:schemeClr val="accent1"/>
          </a:effectRef>
          <a:fontRef idx="minor">
            <a:schemeClr val="tx1"/>
          </a:fontRef>
        </p:style>
      </p:cxnSp>
      <p:sp>
        <p:nvSpPr>
          <p:cNvPr id="46" name="Text Placeholder 44">
            <a:extLst>
              <a:ext uri="{FF2B5EF4-FFF2-40B4-BE49-F238E27FC236}">
                <a16:creationId xmlns:a16="http://schemas.microsoft.com/office/drawing/2014/main" id="{F5A63814-E592-0442-BECD-60BEA74EA64D}"/>
              </a:ext>
            </a:extLst>
          </p:cNvPr>
          <p:cNvSpPr>
            <a:spLocks noGrp="1"/>
          </p:cNvSpPr>
          <p:nvPr>
            <p:ph type="body" sz="quarter" idx="11"/>
          </p:nvPr>
        </p:nvSpPr>
        <p:spPr>
          <a:xfrm>
            <a:off x="1311461" y="4224132"/>
            <a:ext cx="3257550" cy="507413"/>
          </a:xfrm>
          <a:prstGeom prst="rect">
            <a:avLst/>
          </a:prstGeom>
        </p:spPr>
        <p:txBody>
          <a:bodyPr anchor="b"/>
          <a:lstStyle>
            <a:lvl1pPr marL="0" indent="0" algn="r">
              <a:buNone/>
              <a:defRPr sz="1200">
                <a:solidFill>
                  <a:schemeClr val="tx1"/>
                </a:solidFill>
              </a:defRPr>
            </a:lvl1pPr>
            <a:lvl2pPr algn="r">
              <a:defRPr sz="1050">
                <a:solidFill>
                  <a:schemeClr val="bg1"/>
                </a:solidFill>
              </a:defRPr>
            </a:lvl2pPr>
            <a:lvl3pPr algn="r">
              <a:defRPr sz="900">
                <a:solidFill>
                  <a:schemeClr val="bg1"/>
                </a:solidFill>
              </a:defRPr>
            </a:lvl3pPr>
            <a:lvl4pPr algn="r">
              <a:defRPr sz="825">
                <a:solidFill>
                  <a:schemeClr val="bg1"/>
                </a:solidFill>
              </a:defRPr>
            </a:lvl4pPr>
            <a:lvl5pPr algn="r">
              <a:defRPr sz="825">
                <a:solidFill>
                  <a:schemeClr val="bg1"/>
                </a:solidFill>
              </a:defRPr>
            </a:lvl5pPr>
          </a:lstStyle>
          <a:p>
            <a:pPr lvl="0"/>
            <a:r>
              <a:rPr lang="en-US"/>
              <a:t>Click to edit Master text styles</a:t>
            </a:r>
          </a:p>
        </p:txBody>
      </p:sp>
      <p:sp>
        <p:nvSpPr>
          <p:cNvPr id="45" name="Text Placeholder 44">
            <a:extLst>
              <a:ext uri="{FF2B5EF4-FFF2-40B4-BE49-F238E27FC236}">
                <a16:creationId xmlns:a16="http://schemas.microsoft.com/office/drawing/2014/main" id="{8D0392F9-FB9B-2459-6D5C-3381EF959846}"/>
              </a:ext>
            </a:extLst>
          </p:cNvPr>
          <p:cNvSpPr>
            <a:spLocks noGrp="1"/>
          </p:cNvSpPr>
          <p:nvPr>
            <p:ph type="body" sz="quarter" idx="10"/>
          </p:nvPr>
        </p:nvSpPr>
        <p:spPr>
          <a:xfrm>
            <a:off x="1314450" y="3098008"/>
            <a:ext cx="3257550" cy="777479"/>
          </a:xfrm>
          <a:prstGeom prst="rect">
            <a:avLst/>
          </a:prstGeom>
        </p:spPr>
        <p:txBody>
          <a:bodyPr/>
          <a:lstStyle>
            <a:lvl1pPr marL="0" indent="0" algn="r">
              <a:buNone/>
              <a:defRPr>
                <a:solidFill>
                  <a:schemeClr val="accent3"/>
                </a:solidFill>
              </a:defRPr>
            </a:lvl1pPr>
            <a:lvl2pPr marL="342892" indent="0" algn="r">
              <a:buNone/>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US"/>
              <a:t>Click to edit Master text styles</a:t>
            </a:r>
          </a:p>
        </p:txBody>
      </p:sp>
      <p:sp>
        <p:nvSpPr>
          <p:cNvPr id="2" name="Title 1">
            <a:extLst>
              <a:ext uri="{FF2B5EF4-FFF2-40B4-BE49-F238E27FC236}">
                <a16:creationId xmlns:a16="http://schemas.microsoft.com/office/drawing/2014/main" id="{5184292B-F56D-B8BD-D4C7-AA10DE993E8F}"/>
              </a:ext>
            </a:extLst>
          </p:cNvPr>
          <p:cNvSpPr>
            <a:spLocks noGrp="1"/>
          </p:cNvSpPr>
          <p:nvPr>
            <p:ph type="title"/>
          </p:nvPr>
        </p:nvSpPr>
        <p:spPr>
          <a:xfrm>
            <a:off x="1922014" y="1588336"/>
            <a:ext cx="2646997" cy="1287066"/>
          </a:xfrm>
          <a:prstGeom prst="rect">
            <a:avLst/>
          </a:prstGeom>
        </p:spPr>
        <p:txBody>
          <a:bodyPr vert="horz" anchor="b"/>
          <a:lstStyle>
            <a:lvl1pPr algn="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133624864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Seperator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B0A7C1D-2DA4-4797-ABE4-CFE498A90DFE}"/>
              </a:ext>
            </a:extLst>
          </p:cNvPr>
          <p:cNvGraphicFramePr>
            <a:graphicFrameLocks noChangeAspect="1"/>
          </p:cNvGraphicFramePr>
          <p:nvPr>
            <p:custDataLst>
              <p:tags r:id="rId1"/>
            </p:custDataLst>
            <p:extLst>
              <p:ext uri="{D42A27DB-BD31-4B8C-83A1-F6EECF244321}">
                <p14:modId xmlns:p14="http://schemas.microsoft.com/office/powerpoint/2010/main" val="2766380267"/>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5B0A7C1D-2DA4-4797-ABE4-CFE498A90DFE}"/>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AF13F458-F455-6AF3-385E-83D174A2BDFD}"/>
              </a:ext>
            </a:extLst>
          </p:cNvPr>
          <p:cNvSpPr/>
          <p:nvPr/>
        </p:nvSpPr>
        <p:spPr>
          <a:xfrm flipV="1">
            <a:off x="298174" y="756404"/>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5" name="Picture 4">
            <a:extLst>
              <a:ext uri="{FF2B5EF4-FFF2-40B4-BE49-F238E27FC236}">
                <a16:creationId xmlns:a16="http://schemas.microsoft.com/office/drawing/2014/main" id="{F14168CB-5AC7-29DA-0147-7803D6F82ECF}"/>
              </a:ext>
            </a:extLst>
          </p:cNvPr>
          <p:cNvPicPr>
            <a:picLocks noChangeAspect="1"/>
          </p:cNvPicPr>
          <p:nvPr/>
        </p:nvPicPr>
        <p:blipFill rotWithShape="1">
          <a:blip r:embed="rId5" cstate="print">
            <a:alphaModFix/>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a:ext>
            </a:extLst>
          </a:blip>
          <a:srcRect/>
          <a:stretch/>
        </p:blipFill>
        <p:spPr>
          <a:xfrm>
            <a:off x="1" y="2"/>
            <a:ext cx="2001645" cy="5138927"/>
          </a:xfrm>
          <a:custGeom>
            <a:avLst/>
            <a:gdLst>
              <a:gd name="connsiteX0" fmla="*/ 0 w 2668860"/>
              <a:gd name="connsiteY0" fmla="*/ 0 h 6851903"/>
              <a:gd name="connsiteX1" fmla="*/ 2668860 w 2668860"/>
              <a:gd name="connsiteY1" fmla="*/ 0 h 6851903"/>
              <a:gd name="connsiteX2" fmla="*/ 2427625 w 2668860"/>
              <a:gd name="connsiteY2" fmla="*/ 1012659 h 6851903"/>
              <a:gd name="connsiteX3" fmla="*/ 2427624 w 2668860"/>
              <a:gd name="connsiteY3" fmla="*/ 1012658 h 6851903"/>
              <a:gd name="connsiteX4" fmla="*/ 1036595 w 2668860"/>
              <a:gd name="connsiteY4" fmla="*/ 6851903 h 6851903"/>
              <a:gd name="connsiteX5" fmla="*/ 0 w 2668860"/>
              <a:gd name="connsiteY5" fmla="*/ 6851903 h 6851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8860" h="6851903">
                <a:moveTo>
                  <a:pt x="0" y="0"/>
                </a:moveTo>
                <a:lnTo>
                  <a:pt x="2668860" y="0"/>
                </a:lnTo>
                <a:lnTo>
                  <a:pt x="2427625" y="1012659"/>
                </a:lnTo>
                <a:lnTo>
                  <a:pt x="2427624" y="1012658"/>
                </a:lnTo>
                <a:lnTo>
                  <a:pt x="1036595" y="6851903"/>
                </a:lnTo>
                <a:lnTo>
                  <a:pt x="0" y="6851903"/>
                </a:lnTo>
                <a:close/>
              </a:path>
            </a:pathLst>
          </a:custGeom>
          <a:effectLst>
            <a:outerShdw blurRad="190500" dist="63500" algn="l" rotWithShape="0">
              <a:prstClr val="black">
                <a:alpha val="40000"/>
              </a:prstClr>
            </a:outerShdw>
          </a:effectLst>
        </p:spPr>
      </p:pic>
      <p:sp>
        <p:nvSpPr>
          <p:cNvPr id="6" name="Freeform 5">
            <a:extLst>
              <a:ext uri="{FF2B5EF4-FFF2-40B4-BE49-F238E27FC236}">
                <a16:creationId xmlns:a16="http://schemas.microsoft.com/office/drawing/2014/main" id="{19BE8E17-09BA-D515-CD46-7946938584FF}"/>
              </a:ext>
            </a:extLst>
          </p:cNvPr>
          <p:cNvSpPr/>
          <p:nvPr/>
        </p:nvSpPr>
        <p:spPr>
          <a:xfrm>
            <a:off x="1" y="1"/>
            <a:ext cx="2003631"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7" name="Graphic 2">
            <a:extLst>
              <a:ext uri="{FF2B5EF4-FFF2-40B4-BE49-F238E27FC236}">
                <a16:creationId xmlns:a16="http://schemas.microsoft.com/office/drawing/2014/main" id="{784BE723-070E-A274-AA6F-B440F5580766}"/>
              </a:ext>
            </a:extLst>
          </p:cNvPr>
          <p:cNvGrpSpPr>
            <a:grpSpLocks noChangeAspect="1"/>
          </p:cNvGrpSpPr>
          <p:nvPr/>
        </p:nvGrpSpPr>
        <p:grpSpPr>
          <a:xfrm>
            <a:off x="4804" y="2"/>
            <a:ext cx="468178" cy="756000"/>
            <a:chOff x="4425584" y="267785"/>
            <a:chExt cx="2950814" cy="4756864"/>
          </a:xfrm>
          <a:solidFill>
            <a:schemeClr val="accent1"/>
          </a:solidFill>
        </p:grpSpPr>
        <p:grpSp>
          <p:nvGrpSpPr>
            <p:cNvPr id="8" name="Graphic 2">
              <a:extLst>
                <a:ext uri="{FF2B5EF4-FFF2-40B4-BE49-F238E27FC236}">
                  <a16:creationId xmlns:a16="http://schemas.microsoft.com/office/drawing/2014/main" id="{C43329F1-6902-CECE-46BF-B0CB0D4264FB}"/>
                </a:ext>
              </a:extLst>
            </p:cNvPr>
            <p:cNvGrpSpPr/>
            <p:nvPr/>
          </p:nvGrpSpPr>
          <p:grpSpPr>
            <a:xfrm>
              <a:off x="5720269" y="2764575"/>
              <a:ext cx="1656129" cy="1882392"/>
              <a:chOff x="5720269" y="2764575"/>
              <a:chExt cx="1656129" cy="1882392"/>
            </a:xfrm>
            <a:solidFill>
              <a:schemeClr val="accent1"/>
            </a:solidFill>
          </p:grpSpPr>
          <p:grpSp>
            <p:nvGrpSpPr>
              <p:cNvPr id="11" name="Graphic 2">
                <a:extLst>
                  <a:ext uri="{FF2B5EF4-FFF2-40B4-BE49-F238E27FC236}">
                    <a16:creationId xmlns:a16="http://schemas.microsoft.com/office/drawing/2014/main" id="{8D6240C3-7E1B-2DD6-99C6-6ABF81667E09}"/>
                  </a:ext>
                </a:extLst>
              </p:cNvPr>
              <p:cNvGrpSpPr/>
              <p:nvPr/>
            </p:nvGrpSpPr>
            <p:grpSpPr>
              <a:xfrm>
                <a:off x="5720269" y="2764575"/>
                <a:ext cx="1656129" cy="1882392"/>
                <a:chOff x="5720269" y="2764575"/>
                <a:chExt cx="1656129" cy="1882392"/>
              </a:xfrm>
              <a:solidFill>
                <a:srgbClr val="00A099"/>
              </a:solidFill>
            </p:grpSpPr>
            <p:sp>
              <p:nvSpPr>
                <p:cNvPr id="15" name="Freeform 75">
                  <a:extLst>
                    <a:ext uri="{FF2B5EF4-FFF2-40B4-BE49-F238E27FC236}">
                      <a16:creationId xmlns:a16="http://schemas.microsoft.com/office/drawing/2014/main" id="{3944EB51-0C93-C620-8063-E61F0F300F53}"/>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6">
                  <a:extLst>
                    <a:ext uri="{FF2B5EF4-FFF2-40B4-BE49-F238E27FC236}">
                      <a16:creationId xmlns:a16="http://schemas.microsoft.com/office/drawing/2014/main" id="{5697203F-AD89-6D4B-6AFE-ADB78D739072}"/>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7">
                  <a:extLst>
                    <a:ext uri="{FF2B5EF4-FFF2-40B4-BE49-F238E27FC236}">
                      <a16:creationId xmlns:a16="http://schemas.microsoft.com/office/drawing/2014/main" id="{C781CD1B-FC1C-7ED5-0A4D-7348694FF3E9}"/>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2" name="Freeform 72">
                <a:extLst>
                  <a:ext uri="{FF2B5EF4-FFF2-40B4-BE49-F238E27FC236}">
                    <a16:creationId xmlns:a16="http://schemas.microsoft.com/office/drawing/2014/main" id="{6E12481A-73D6-AAB3-5728-AA939977EAE9}"/>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3" name="Freeform 73">
                <a:extLst>
                  <a:ext uri="{FF2B5EF4-FFF2-40B4-BE49-F238E27FC236}">
                    <a16:creationId xmlns:a16="http://schemas.microsoft.com/office/drawing/2014/main" id="{E9823D54-2EAB-880A-0B17-97B466DC2401}"/>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4" name="Freeform 74">
                <a:extLst>
                  <a:ext uri="{FF2B5EF4-FFF2-40B4-BE49-F238E27FC236}">
                    <a16:creationId xmlns:a16="http://schemas.microsoft.com/office/drawing/2014/main" id="{471B8E08-25FE-D4D0-1084-9DAED7CBBAD6}"/>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9" name="Freeform 69">
              <a:extLst>
                <a:ext uri="{FF2B5EF4-FFF2-40B4-BE49-F238E27FC236}">
                  <a16:creationId xmlns:a16="http://schemas.microsoft.com/office/drawing/2014/main" id="{BF92EB4E-F633-02E7-FD6D-7F5E2AC849D3}"/>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0" name="Freeform 70">
              <a:extLst>
                <a:ext uri="{FF2B5EF4-FFF2-40B4-BE49-F238E27FC236}">
                  <a16:creationId xmlns:a16="http://schemas.microsoft.com/office/drawing/2014/main" id="{9113308F-C702-C2B6-2EAE-B39DC3CD1274}"/>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 name="Title 1">
            <a:extLst>
              <a:ext uri="{FF2B5EF4-FFF2-40B4-BE49-F238E27FC236}">
                <a16:creationId xmlns:a16="http://schemas.microsoft.com/office/drawing/2014/main" id="{965C2C78-3441-50E1-9A6D-A6F258B1F3E6}"/>
              </a:ext>
            </a:extLst>
          </p:cNvPr>
          <p:cNvSpPr>
            <a:spLocks noGrp="1"/>
          </p:cNvSpPr>
          <p:nvPr>
            <p:ph type="title"/>
          </p:nvPr>
        </p:nvSpPr>
        <p:spPr>
          <a:xfrm>
            <a:off x="1878839" y="1982392"/>
            <a:ext cx="5411371" cy="994172"/>
          </a:xfrm>
          <a:prstGeom prst="rect">
            <a:avLst/>
          </a:prstGeom>
        </p:spPr>
        <p:txBody>
          <a:bodyPr vert="horz" anchor="ctr">
            <a:normAutofit/>
          </a:bodyPr>
          <a:lstStyle>
            <a:lvl1pPr algn="ctr">
              <a:defRPr sz="1800"/>
            </a:lvl1pPr>
          </a:lstStyle>
          <a:p>
            <a:r>
              <a:rPr lang="en-US"/>
              <a:t>Click to edit Master title style</a:t>
            </a:r>
          </a:p>
        </p:txBody>
      </p:sp>
    </p:spTree>
    <p:extLst>
      <p:ext uri="{BB962C8B-B14F-4D97-AF65-F5344CB8AC3E}">
        <p14:creationId xmlns:p14="http://schemas.microsoft.com/office/powerpoint/2010/main" val="6460258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1EDF8E5C-D276-44C9-B3CA-63F45D29E704}" type="datetime1">
              <a:rPr lang="en-US" smtClean="0"/>
              <a:t>8/1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87927967"/>
      </p:ext>
    </p:extLst>
  </p:cSld>
  <p:clrMapOvr>
    <a:overrideClrMapping bg1="lt1" tx1="dk1" bg2="lt2" tx2="dk2" accent1="accent1" accent2="accent2" accent3="accent3" accent4="accent4" accent5="accent5" accent6="accent6" hlink="hlink" folHlink="folHlink"/>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81CAE90-6B78-674F-0597-50DF0BF795F2}"/>
              </a:ext>
            </a:extLst>
          </p:cNvPr>
          <p:cNvGraphicFramePr>
            <a:graphicFrameLocks noChangeAspect="1"/>
          </p:cNvGraphicFramePr>
          <p:nvPr>
            <p:custDataLst>
              <p:tags r:id="rId1"/>
            </p:custDataLst>
            <p:extLst>
              <p:ext uri="{D42A27DB-BD31-4B8C-83A1-F6EECF244321}">
                <p14:modId xmlns:p14="http://schemas.microsoft.com/office/powerpoint/2010/main" val="2914838017"/>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C81CAE90-6B78-674F-0597-50DF0BF795F2}"/>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2" descr="People eating salads at bountiful table">
            <a:extLst>
              <a:ext uri="{FF2B5EF4-FFF2-40B4-BE49-F238E27FC236}">
                <a16:creationId xmlns:a16="http://schemas.microsoft.com/office/drawing/2014/main" id="{96F4ED9F-A6CD-2075-E5C6-BD9EEA8E34EC}"/>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 y="-1"/>
            <a:ext cx="9144001" cy="5143501"/>
          </a:xfrm>
          <a:prstGeom prst="rect">
            <a:avLst/>
          </a:prstGeom>
        </p:spPr>
      </p:pic>
      <p:pic>
        <p:nvPicPr>
          <p:cNvPr id="8" name="Picture 7" descr="People eating salads at bountiful table">
            <a:extLst>
              <a:ext uri="{FF2B5EF4-FFF2-40B4-BE49-F238E27FC236}">
                <a16:creationId xmlns:a16="http://schemas.microsoft.com/office/drawing/2014/main" id="{124C0130-C8AD-159E-0AF8-FFA52C869E55}"/>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a:stretch/>
        </p:blipFill>
        <p:spPr>
          <a:xfrm>
            <a:off x="1" y="-3764"/>
            <a:ext cx="2003631" cy="5143500"/>
          </a:xfrm>
          <a:custGeom>
            <a:avLst/>
            <a:gdLst>
              <a:gd name="connsiteX0" fmla="*/ 2671508 w 2671508"/>
              <a:gd name="connsiteY0" fmla="*/ 0 h 6858000"/>
              <a:gd name="connsiteX1" fmla="*/ 2427625 w 2671508"/>
              <a:gd name="connsiteY1" fmla="*/ 1023774 h 6858000"/>
              <a:gd name="connsiteX2" fmla="*/ 2427624 w 2671508"/>
              <a:gd name="connsiteY2" fmla="*/ 1023773 h 6858000"/>
              <a:gd name="connsiteX3" fmla="*/ 1037791 w 2671508"/>
              <a:gd name="connsiteY3" fmla="*/ 6858000 h 6858000"/>
              <a:gd name="connsiteX4" fmla="*/ 0 w 2671508"/>
              <a:gd name="connsiteY4" fmla="*/ 6858000 h 6858000"/>
              <a:gd name="connsiteX5" fmla="*/ 0 w 2671508"/>
              <a:gd name="connsiteY5" fmla="*/ 1 h 6858000"/>
              <a:gd name="connsiteX6" fmla="*/ 2668167 w 2671508"/>
              <a:gd name="connsiteY6"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58000">
                <a:moveTo>
                  <a:pt x="2671508" y="0"/>
                </a:moveTo>
                <a:lnTo>
                  <a:pt x="2427625" y="1023774"/>
                </a:lnTo>
                <a:lnTo>
                  <a:pt x="2427624" y="1023773"/>
                </a:lnTo>
                <a:lnTo>
                  <a:pt x="1037791" y="6858000"/>
                </a:lnTo>
                <a:lnTo>
                  <a:pt x="0" y="6858000"/>
                </a:lnTo>
                <a:lnTo>
                  <a:pt x="0" y="1"/>
                </a:lnTo>
                <a:lnTo>
                  <a:pt x="2668167" y="1"/>
                </a:lnTo>
                <a:close/>
              </a:path>
            </a:pathLst>
          </a:custGeom>
          <a:effectLst>
            <a:outerShdw blurRad="190500" dist="63500" algn="l" rotWithShape="0">
              <a:prstClr val="black">
                <a:alpha val="40000"/>
              </a:prstClr>
            </a:outerShdw>
          </a:effectLst>
        </p:spPr>
      </p:pic>
      <p:sp>
        <p:nvSpPr>
          <p:cNvPr id="2" name="Freeform 1">
            <a:extLst>
              <a:ext uri="{FF2B5EF4-FFF2-40B4-BE49-F238E27FC236}">
                <a16:creationId xmlns:a16="http://schemas.microsoft.com/office/drawing/2014/main" id="{2E34AD8A-8364-82BD-1D0A-BDB1AFE5B0BB}"/>
              </a:ext>
            </a:extLst>
          </p:cNvPr>
          <p:cNvSpPr/>
          <p:nvPr/>
        </p:nvSpPr>
        <p:spPr>
          <a:xfrm>
            <a:off x="1" y="1"/>
            <a:ext cx="2003631"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5" name="Graphic 2">
            <a:extLst>
              <a:ext uri="{FF2B5EF4-FFF2-40B4-BE49-F238E27FC236}">
                <a16:creationId xmlns:a16="http://schemas.microsoft.com/office/drawing/2014/main" id="{0AD7B962-0C7E-42E2-BBA3-EAE42ADC7810}"/>
              </a:ext>
            </a:extLst>
          </p:cNvPr>
          <p:cNvGrpSpPr>
            <a:grpSpLocks noChangeAspect="1"/>
          </p:cNvGrpSpPr>
          <p:nvPr/>
        </p:nvGrpSpPr>
        <p:grpSpPr>
          <a:xfrm>
            <a:off x="4804" y="2"/>
            <a:ext cx="468178" cy="756000"/>
            <a:chOff x="4425584" y="267785"/>
            <a:chExt cx="2950814" cy="4756864"/>
          </a:xfrm>
          <a:solidFill>
            <a:schemeClr val="accent1"/>
          </a:solidFill>
        </p:grpSpPr>
        <p:grpSp>
          <p:nvGrpSpPr>
            <p:cNvPr id="6" name="Graphic 2">
              <a:extLst>
                <a:ext uri="{FF2B5EF4-FFF2-40B4-BE49-F238E27FC236}">
                  <a16:creationId xmlns:a16="http://schemas.microsoft.com/office/drawing/2014/main" id="{AEA7211F-4DD3-E517-0790-5494590D2C38}"/>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34E2D65F-BA6C-24AF-F2E9-10BB889673A2}"/>
                  </a:ext>
                </a:extLst>
              </p:cNvPr>
              <p:cNvGrpSpPr/>
              <p:nvPr/>
            </p:nvGrpSpPr>
            <p:grpSpPr>
              <a:xfrm>
                <a:off x="5720269" y="2764575"/>
                <a:ext cx="1656129" cy="1882392"/>
                <a:chOff x="5720269" y="2764575"/>
                <a:chExt cx="1656129" cy="1882392"/>
              </a:xfrm>
              <a:solidFill>
                <a:srgbClr val="00A099"/>
              </a:solidFill>
            </p:grpSpPr>
            <p:sp>
              <p:nvSpPr>
                <p:cNvPr id="14" name="Freeform 75">
                  <a:extLst>
                    <a:ext uri="{FF2B5EF4-FFF2-40B4-BE49-F238E27FC236}">
                      <a16:creationId xmlns:a16="http://schemas.microsoft.com/office/drawing/2014/main" id="{E0E43A5F-B7B5-9A9B-C386-777A4F761EBC}"/>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6">
                  <a:extLst>
                    <a:ext uri="{FF2B5EF4-FFF2-40B4-BE49-F238E27FC236}">
                      <a16:creationId xmlns:a16="http://schemas.microsoft.com/office/drawing/2014/main" id="{87258541-1620-A3F5-4FE5-9DAB5DE452B0}"/>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7">
                  <a:extLst>
                    <a:ext uri="{FF2B5EF4-FFF2-40B4-BE49-F238E27FC236}">
                      <a16:creationId xmlns:a16="http://schemas.microsoft.com/office/drawing/2014/main" id="{D1DDB787-8729-C44D-D14E-79E85369EDDB}"/>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4493B8BB-748E-77AD-D21B-1095677610D7}"/>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6021405B-BD1B-6020-CD51-6D8446D73166}"/>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3" name="Freeform 74">
                <a:extLst>
                  <a:ext uri="{FF2B5EF4-FFF2-40B4-BE49-F238E27FC236}">
                    <a16:creationId xmlns:a16="http://schemas.microsoft.com/office/drawing/2014/main" id="{E9D5F0C5-F91F-8124-9BDA-0AA564546B11}"/>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AF448A04-A2ED-C540-0F7B-FCD602CE6787}"/>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9" name="Freeform 70">
              <a:extLst>
                <a:ext uri="{FF2B5EF4-FFF2-40B4-BE49-F238E27FC236}">
                  <a16:creationId xmlns:a16="http://schemas.microsoft.com/office/drawing/2014/main" id="{508E4752-7B30-85DF-D704-5318F5AF695B}"/>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141396553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1_Lunch sl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590B2B0-3B49-F9C6-696B-77AF96B297A3}"/>
              </a:ext>
            </a:extLst>
          </p:cNvPr>
          <p:cNvGraphicFramePr>
            <a:graphicFrameLocks noChangeAspect="1"/>
          </p:cNvGraphicFramePr>
          <p:nvPr>
            <p:custDataLst>
              <p:tags r:id="rId1"/>
            </p:custDataLst>
            <p:extLst>
              <p:ext uri="{D42A27DB-BD31-4B8C-83A1-F6EECF244321}">
                <p14:modId xmlns:p14="http://schemas.microsoft.com/office/powerpoint/2010/main" val="2090217170"/>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B590B2B0-3B49-F9C6-696B-77AF96B297A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1" descr="A cup of coffee on a table&#10;&#10;Description automatically generated">
            <a:extLst>
              <a:ext uri="{FF2B5EF4-FFF2-40B4-BE49-F238E27FC236}">
                <a16:creationId xmlns:a16="http://schemas.microsoft.com/office/drawing/2014/main" id="{C50D561B-9DDD-35D4-3380-6DCF8BE47286}"/>
              </a:ext>
            </a:extLst>
          </p:cNvPr>
          <p:cNvPicPr>
            <a:picLocks noChangeAspect="1"/>
          </p:cNvPicPr>
          <p:nvPr/>
        </p:nvPicPr>
        <p:blipFill rotWithShape="1">
          <a:blip r:embed="rId5" cstate="print">
            <a:extLst>
              <a:ext uri="{28A0092B-C50C-407E-A947-70E740481C1C}">
                <a14:useLocalDpi xmlns:a14="http://schemas.microsoft.com/office/drawing/2010/main"/>
              </a:ext>
              <a:ext uri="{837473B0-CC2E-450A-ABE3-18F120FF3D39}">
                <a1611:picAttrSrcUrl xmlns:a1611="http://schemas.microsoft.com/office/drawing/2016/11/main" r:id="rId6"/>
              </a:ext>
            </a:extLst>
          </a:blip>
          <a:srcRect/>
          <a:stretch/>
        </p:blipFill>
        <p:spPr>
          <a:xfrm>
            <a:off x="4804" y="-1"/>
            <a:ext cx="9144002" cy="5143501"/>
          </a:xfrm>
          <a:prstGeom prst="rect">
            <a:avLst/>
          </a:prstGeom>
        </p:spPr>
      </p:pic>
      <p:pic>
        <p:nvPicPr>
          <p:cNvPr id="8" name="Picture 7" descr="A cup of coffee on a table&#10;&#10;Description automatically generated">
            <a:extLst>
              <a:ext uri="{FF2B5EF4-FFF2-40B4-BE49-F238E27FC236}">
                <a16:creationId xmlns:a16="http://schemas.microsoft.com/office/drawing/2014/main" id="{7060624F-07B5-2616-DC12-7E8921F48826}"/>
              </a:ext>
            </a:extLst>
          </p:cNvPr>
          <p:cNvPicPr>
            <a:picLocks noChangeAspect="1"/>
          </p:cNvPicPr>
          <p:nvPr/>
        </p:nvPicPr>
        <p:blipFill rotWithShape="1">
          <a:blip r:embed="rId7" cstate="print">
            <a:extLst>
              <a:ext uri="{BEBA8EAE-BF5A-486C-A8C5-ECC9F3942E4B}">
                <a14:imgProps xmlns:a14="http://schemas.microsoft.com/office/drawing/2010/main">
                  <a14:imgLayer r:embed="rId8">
                    <a14:imgEffect>
                      <a14:artisticBlur/>
                    </a14:imgEffect>
                  </a14:imgLayer>
                </a14:imgProps>
              </a:ext>
              <a:ext uri="{28A0092B-C50C-407E-A947-70E740481C1C}">
                <a14:useLocalDpi xmlns:a14="http://schemas.microsoft.com/office/drawing/2010/main"/>
              </a:ext>
              <a:ext uri="{837473B0-CC2E-450A-ABE3-18F120FF3D39}">
                <a1611:picAttrSrcUrl xmlns:a1611="http://schemas.microsoft.com/office/drawing/2016/11/main" r:id="rId6"/>
              </a:ext>
            </a:extLst>
          </a:blip>
          <a:srcRect/>
          <a:stretch/>
        </p:blipFill>
        <p:spPr>
          <a:xfrm>
            <a:off x="1" y="2"/>
            <a:ext cx="1998827" cy="5143499"/>
          </a:xfrm>
          <a:custGeom>
            <a:avLst/>
            <a:gdLst>
              <a:gd name="connsiteX0" fmla="*/ 2665102 w 2665102"/>
              <a:gd name="connsiteY0" fmla="*/ 0 h 6857999"/>
              <a:gd name="connsiteX1" fmla="*/ 2421219 w 2665102"/>
              <a:gd name="connsiteY1" fmla="*/ 1023774 h 6857999"/>
              <a:gd name="connsiteX2" fmla="*/ 2421218 w 2665102"/>
              <a:gd name="connsiteY2" fmla="*/ 1023773 h 6857999"/>
              <a:gd name="connsiteX3" fmla="*/ 1031385 w 2665102"/>
              <a:gd name="connsiteY3" fmla="*/ 6857999 h 6857999"/>
              <a:gd name="connsiteX4" fmla="*/ 0 w 2665102"/>
              <a:gd name="connsiteY4" fmla="*/ 6857999 h 6857999"/>
              <a:gd name="connsiteX5" fmla="*/ 0 w 2665102"/>
              <a:gd name="connsiteY5" fmla="*/ 1 h 6857999"/>
              <a:gd name="connsiteX6" fmla="*/ 2661761 w 2665102"/>
              <a:gd name="connsiteY6" fmla="*/ 1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5102" h="6857999">
                <a:moveTo>
                  <a:pt x="2665102" y="0"/>
                </a:moveTo>
                <a:lnTo>
                  <a:pt x="2421219" y="1023774"/>
                </a:lnTo>
                <a:lnTo>
                  <a:pt x="2421218" y="1023773"/>
                </a:lnTo>
                <a:lnTo>
                  <a:pt x="1031385" y="6857999"/>
                </a:lnTo>
                <a:lnTo>
                  <a:pt x="0" y="6857999"/>
                </a:lnTo>
                <a:lnTo>
                  <a:pt x="0" y="1"/>
                </a:lnTo>
                <a:lnTo>
                  <a:pt x="2661761" y="1"/>
                </a:lnTo>
                <a:close/>
              </a:path>
            </a:pathLst>
          </a:custGeom>
          <a:effectLst>
            <a:outerShdw blurRad="190500" dist="63500" algn="l" rotWithShape="0">
              <a:prstClr val="black">
                <a:alpha val="40000"/>
              </a:prstClr>
            </a:outerShdw>
          </a:effectLst>
        </p:spPr>
      </p:pic>
      <p:sp>
        <p:nvSpPr>
          <p:cNvPr id="5" name="Freeform 4">
            <a:extLst>
              <a:ext uri="{FF2B5EF4-FFF2-40B4-BE49-F238E27FC236}">
                <a16:creationId xmlns:a16="http://schemas.microsoft.com/office/drawing/2014/main" id="{725AF7F2-0EFA-B6CD-6B6A-926966720B16}"/>
              </a:ext>
            </a:extLst>
          </p:cNvPr>
          <p:cNvSpPr/>
          <p:nvPr/>
        </p:nvSpPr>
        <p:spPr>
          <a:xfrm>
            <a:off x="1" y="1"/>
            <a:ext cx="2003631"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4" name="Graphic 2">
            <a:extLst>
              <a:ext uri="{FF2B5EF4-FFF2-40B4-BE49-F238E27FC236}">
                <a16:creationId xmlns:a16="http://schemas.microsoft.com/office/drawing/2014/main" id="{9BDAC6F6-966D-AF83-2C60-014FF5E2FE86}"/>
              </a:ext>
            </a:extLst>
          </p:cNvPr>
          <p:cNvGrpSpPr>
            <a:grpSpLocks noChangeAspect="1"/>
          </p:cNvGrpSpPr>
          <p:nvPr/>
        </p:nvGrpSpPr>
        <p:grpSpPr>
          <a:xfrm>
            <a:off x="4804" y="2"/>
            <a:ext cx="468178" cy="756000"/>
            <a:chOff x="4425584" y="267785"/>
            <a:chExt cx="2950814" cy="4756864"/>
          </a:xfrm>
          <a:solidFill>
            <a:schemeClr val="accent1"/>
          </a:solidFill>
        </p:grpSpPr>
        <p:grpSp>
          <p:nvGrpSpPr>
            <p:cNvPr id="6" name="Graphic 2">
              <a:extLst>
                <a:ext uri="{FF2B5EF4-FFF2-40B4-BE49-F238E27FC236}">
                  <a16:creationId xmlns:a16="http://schemas.microsoft.com/office/drawing/2014/main" id="{A6EB0D66-3B01-07A8-D5F4-C99E671F45AD}"/>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38E67519-72C7-6B3C-1F0E-FF3ADB3C59E7}"/>
                  </a:ext>
                </a:extLst>
              </p:cNvPr>
              <p:cNvGrpSpPr/>
              <p:nvPr/>
            </p:nvGrpSpPr>
            <p:grpSpPr>
              <a:xfrm>
                <a:off x="5720269" y="2764575"/>
                <a:ext cx="1656129" cy="1882392"/>
                <a:chOff x="5720269" y="2764575"/>
                <a:chExt cx="1656129" cy="1882392"/>
              </a:xfrm>
              <a:solidFill>
                <a:srgbClr val="00A099"/>
              </a:solidFill>
            </p:grpSpPr>
            <p:sp>
              <p:nvSpPr>
                <p:cNvPr id="14" name="Freeform 75">
                  <a:extLst>
                    <a:ext uri="{FF2B5EF4-FFF2-40B4-BE49-F238E27FC236}">
                      <a16:creationId xmlns:a16="http://schemas.microsoft.com/office/drawing/2014/main" id="{D0638F14-F9E1-2B7D-3BE5-DEDFC98FF4BD}"/>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6">
                  <a:extLst>
                    <a:ext uri="{FF2B5EF4-FFF2-40B4-BE49-F238E27FC236}">
                      <a16:creationId xmlns:a16="http://schemas.microsoft.com/office/drawing/2014/main" id="{30E7DAB1-0C32-5096-F500-2A71C38C707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7">
                  <a:extLst>
                    <a:ext uri="{FF2B5EF4-FFF2-40B4-BE49-F238E27FC236}">
                      <a16:creationId xmlns:a16="http://schemas.microsoft.com/office/drawing/2014/main" id="{3D2F153E-8274-B33F-ABAB-07995F5F7325}"/>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4441A4C2-90A1-F101-F6F8-35693491D27A}"/>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454D445C-DAD6-A6C0-EF5A-F2E358769CF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3" name="Freeform 74">
                <a:extLst>
                  <a:ext uri="{FF2B5EF4-FFF2-40B4-BE49-F238E27FC236}">
                    <a16:creationId xmlns:a16="http://schemas.microsoft.com/office/drawing/2014/main" id="{8E2BC5B1-26F2-445A-6868-B27A7C1D74EF}"/>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02B1F430-C00E-EFDE-B69A-1730BBFB5803}"/>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9" name="Freeform 70">
              <a:extLst>
                <a:ext uri="{FF2B5EF4-FFF2-40B4-BE49-F238E27FC236}">
                  <a16:creationId xmlns:a16="http://schemas.microsoft.com/office/drawing/2014/main" id="{5209650C-A6C3-846A-813C-0690EF15B62A}"/>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36277120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9_Title slide">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FCF9607B-D3E3-C39C-3FD5-552CDEDF875A}"/>
              </a:ext>
            </a:extLst>
          </p:cNvPr>
          <p:cNvGraphicFramePr>
            <a:graphicFrameLocks noChangeAspect="1"/>
          </p:cNvGraphicFramePr>
          <p:nvPr>
            <p:custDataLst>
              <p:tags r:id="rId1"/>
            </p:custDataLst>
            <p:extLst>
              <p:ext uri="{D42A27DB-BD31-4B8C-83A1-F6EECF244321}">
                <p14:modId xmlns:p14="http://schemas.microsoft.com/office/powerpoint/2010/main" val="47157908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5" name="think-cell data - do not delete" hidden="1">
                        <a:extLst>
                          <a:ext uri="{FF2B5EF4-FFF2-40B4-BE49-F238E27FC236}">
                            <a16:creationId xmlns:a16="http://schemas.microsoft.com/office/drawing/2014/main" id="{FCF9607B-D3E3-C39C-3FD5-552CDEDF875A}"/>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73" name="Picture 72">
            <a:extLst>
              <a:ext uri="{FF2B5EF4-FFF2-40B4-BE49-F238E27FC236}">
                <a16:creationId xmlns:a16="http://schemas.microsoft.com/office/drawing/2014/main" id="{6AE6E571-F88A-33C7-1BFC-015D06F413A4}"/>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18098" y="678596"/>
            <a:ext cx="5955994" cy="378630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7" name="Rectangle 6">
            <a:extLst>
              <a:ext uri="{FF2B5EF4-FFF2-40B4-BE49-F238E27FC236}">
                <a16:creationId xmlns:a16="http://schemas.microsoft.com/office/drawing/2014/main" id="{D1ABBE51-5CE8-F43F-361E-8E0499BE7DE8}"/>
              </a:ext>
            </a:extLst>
          </p:cNvPr>
          <p:cNvSpPr/>
          <p:nvPr/>
        </p:nvSpPr>
        <p:spPr>
          <a:xfrm>
            <a:off x="-1" y="672615"/>
            <a:ext cx="9144001" cy="3786307"/>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indent="0" algn="ctr" fontAlgn="auto">
              <a:lnSpc>
                <a:spcPct val="100000"/>
              </a:lnSpc>
              <a:spcBef>
                <a:spcPts val="0"/>
              </a:spcBef>
              <a:spcAft>
                <a:spcPts val="0"/>
              </a:spcAft>
              <a:buClrTx/>
              <a:buSzTx/>
              <a:buFontTx/>
              <a:buNone/>
              <a:tabLst/>
            </a:pPr>
            <a:endParaRPr kumimoji="0" lang="en-US" sz="1200" b="1" i="0" u="none" strike="noStrike" cap="none" spc="0" normalizeH="0" baseline="0" noProof="0">
              <a:ln>
                <a:noFill/>
              </a:ln>
              <a:solidFill>
                <a:srgbClr val="575555"/>
              </a:solidFill>
              <a:effectLst/>
              <a:uLnTx/>
              <a:uFillTx/>
              <a:latin typeface="Nexa Bold" panose="00000800000000000000" pitchFamily="2" charset="0"/>
            </a:endParaRPr>
          </a:p>
        </p:txBody>
      </p:sp>
      <p:pic>
        <p:nvPicPr>
          <p:cNvPr id="2" name="Picture 1">
            <a:extLst>
              <a:ext uri="{FF2B5EF4-FFF2-40B4-BE49-F238E27FC236}">
                <a16:creationId xmlns:a16="http://schemas.microsoft.com/office/drawing/2014/main" id="{FB3A9BD7-E8BE-CAC7-E670-B5F91215B4E3}"/>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1" y="2"/>
            <a:ext cx="1988357" cy="5143499"/>
          </a:xfrm>
          <a:custGeom>
            <a:avLst/>
            <a:gdLst>
              <a:gd name="connsiteX0" fmla="*/ 0 w 2651142"/>
              <a:gd name="connsiteY0" fmla="*/ 0 h 6857999"/>
              <a:gd name="connsiteX1" fmla="*/ 2651142 w 2651142"/>
              <a:gd name="connsiteY1" fmla="*/ 0 h 6857999"/>
              <a:gd name="connsiteX2" fmla="*/ 2407857 w 2651142"/>
              <a:gd name="connsiteY2" fmla="*/ 1021264 h 6857999"/>
              <a:gd name="connsiteX3" fmla="*/ 2407856 w 2651142"/>
              <a:gd name="connsiteY3" fmla="*/ 1021263 h 6857999"/>
              <a:gd name="connsiteX4" fmla="*/ 1017425 w 2651142"/>
              <a:gd name="connsiteY4" fmla="*/ 6857999 h 6857999"/>
              <a:gd name="connsiteX5" fmla="*/ 0 w 2651142"/>
              <a:gd name="connsiteY5"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51142" h="6857999">
                <a:moveTo>
                  <a:pt x="0" y="0"/>
                </a:moveTo>
                <a:lnTo>
                  <a:pt x="2651142" y="0"/>
                </a:lnTo>
                <a:lnTo>
                  <a:pt x="2407857" y="1021264"/>
                </a:lnTo>
                <a:lnTo>
                  <a:pt x="2407856" y="1021263"/>
                </a:lnTo>
                <a:lnTo>
                  <a:pt x="1017425" y="6857999"/>
                </a:lnTo>
                <a:lnTo>
                  <a:pt x="0" y="6857999"/>
                </a:lnTo>
                <a:close/>
              </a:path>
            </a:pathLst>
          </a:custGeom>
          <a:effectLst>
            <a:outerShdw blurRad="190500" dist="63500" algn="l" rotWithShape="0">
              <a:prstClr val="black">
                <a:alpha val="40000"/>
              </a:prstClr>
            </a:outerShdw>
          </a:effectLst>
        </p:spPr>
      </p:pic>
      <p:sp>
        <p:nvSpPr>
          <p:cNvPr id="3" name="Freeform 2">
            <a:extLst>
              <a:ext uri="{FF2B5EF4-FFF2-40B4-BE49-F238E27FC236}">
                <a16:creationId xmlns:a16="http://schemas.microsoft.com/office/drawing/2014/main" id="{2F76746C-81D2-A3CC-B059-C282200B360F}"/>
              </a:ext>
            </a:extLst>
          </p:cNvPr>
          <p:cNvSpPr/>
          <p:nvPr/>
        </p:nvSpPr>
        <p:spPr>
          <a:xfrm>
            <a:off x="1" y="1"/>
            <a:ext cx="1988357"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pic>
        <p:nvPicPr>
          <p:cNvPr id="4" name="Picture 3">
            <a:extLst>
              <a:ext uri="{FF2B5EF4-FFF2-40B4-BE49-F238E27FC236}">
                <a16:creationId xmlns:a16="http://schemas.microsoft.com/office/drawing/2014/main" id="{92F9C6DB-5652-34A6-1B95-3E6DA8F9204F}"/>
              </a:ext>
            </a:extLst>
          </p:cNvPr>
          <p:cNvPicPr>
            <a:picLocks noChangeAspect="1"/>
          </p:cNvPicPr>
          <p:nvPr/>
        </p:nvPicPr>
        <p:blipFill rotWithShape="1">
          <a:blip r:embed="rId8" cstate="email">
            <a:extLst>
              <a:ext uri="{BEBA8EAE-BF5A-486C-A8C5-ECC9F3942E4B}">
                <a14:imgProps xmlns:a14="http://schemas.microsoft.com/office/drawing/2010/main">
                  <a14:imgLayer r:embed="rId9">
                    <a14:imgEffect>
                      <a14:artisticBlur/>
                    </a14:imgEffect>
                  </a14:imgLayer>
                </a14:imgProps>
              </a:ext>
              <a:ext uri="{28A0092B-C50C-407E-A947-70E740481C1C}">
                <a14:useLocalDpi xmlns:a14="http://schemas.microsoft.com/office/drawing/2010/main"/>
              </a:ext>
            </a:extLst>
          </a:blip>
          <a:srcRect/>
          <a:stretch/>
        </p:blipFill>
        <p:spPr>
          <a:xfrm>
            <a:off x="4850202" y="-1"/>
            <a:ext cx="4291172" cy="5138737"/>
          </a:xfrm>
          <a:custGeom>
            <a:avLst/>
            <a:gdLst>
              <a:gd name="connsiteX0" fmla="*/ 1105916 w 5721563"/>
              <a:gd name="connsiteY0" fmla="*/ 0 h 6851649"/>
              <a:gd name="connsiteX1" fmla="*/ 5721563 w 5721563"/>
              <a:gd name="connsiteY1" fmla="*/ 0 h 6851649"/>
              <a:gd name="connsiteX2" fmla="*/ 5721563 w 5721563"/>
              <a:gd name="connsiteY2" fmla="*/ 6851649 h 6851649"/>
              <a:gd name="connsiteX3" fmla="*/ 563823 w 5721563"/>
              <a:gd name="connsiteY3" fmla="*/ 6851649 h 6851649"/>
              <a:gd name="connsiteX4" fmla="*/ 568538 w 5721563"/>
              <a:gd name="connsiteY4" fmla="*/ 6848651 h 6851649"/>
              <a:gd name="connsiteX5" fmla="*/ 568537 w 5721563"/>
              <a:gd name="connsiteY5" fmla="*/ 6848651 h 6851649"/>
              <a:gd name="connsiteX6" fmla="*/ 563822 w 5721563"/>
              <a:gd name="connsiteY6" fmla="*/ 6851649 h 6851649"/>
              <a:gd name="connsiteX7" fmla="*/ 0 w 5721563"/>
              <a:gd name="connsiteY7" fmla="*/ 6851649 h 6851649"/>
              <a:gd name="connsiteX8" fmla="*/ 167413 w 5721563"/>
              <a:gd name="connsiteY8" fmla="*/ 5814448 h 6851649"/>
              <a:gd name="connsiteX9" fmla="*/ 925593 w 5721563"/>
              <a:gd name="connsiteY9" fmla="*/ 5814448 h 6851649"/>
              <a:gd name="connsiteX10" fmla="*/ 925593 w 5721563"/>
              <a:gd name="connsiteY10" fmla="*/ 5814447 h 6851649"/>
              <a:gd name="connsiteX11" fmla="*/ 167413 w 5721563"/>
              <a:gd name="connsiteY11" fmla="*/ 5814447 h 6851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1563" h="6851649">
                <a:moveTo>
                  <a:pt x="1105916" y="0"/>
                </a:moveTo>
                <a:lnTo>
                  <a:pt x="5721563" y="0"/>
                </a:lnTo>
                <a:lnTo>
                  <a:pt x="5721563" y="6851649"/>
                </a:lnTo>
                <a:lnTo>
                  <a:pt x="563823" y="6851649"/>
                </a:lnTo>
                <a:lnTo>
                  <a:pt x="568538" y="6848651"/>
                </a:lnTo>
                <a:lnTo>
                  <a:pt x="568537" y="6848651"/>
                </a:lnTo>
                <a:lnTo>
                  <a:pt x="563822" y="6851649"/>
                </a:lnTo>
                <a:lnTo>
                  <a:pt x="0" y="6851649"/>
                </a:lnTo>
                <a:lnTo>
                  <a:pt x="167413" y="5814448"/>
                </a:lnTo>
                <a:lnTo>
                  <a:pt x="925593" y="5814448"/>
                </a:lnTo>
                <a:lnTo>
                  <a:pt x="925593" y="5814447"/>
                </a:lnTo>
                <a:lnTo>
                  <a:pt x="167413" y="5814447"/>
                </a:lnTo>
                <a:close/>
              </a:path>
            </a:pathLst>
          </a:custGeom>
          <a:effectLst>
            <a:outerShdw blurRad="190500" dist="63500" dir="10800000" algn="r" rotWithShape="0">
              <a:prstClr val="black">
                <a:alpha val="40000"/>
              </a:prstClr>
            </a:outerShdw>
          </a:effectLst>
        </p:spPr>
      </p:pic>
      <p:sp>
        <p:nvSpPr>
          <p:cNvPr id="5" name="Freeform 4">
            <a:extLst>
              <a:ext uri="{FF2B5EF4-FFF2-40B4-BE49-F238E27FC236}">
                <a16:creationId xmlns:a16="http://schemas.microsoft.com/office/drawing/2014/main" id="{710712F7-0D84-64BE-69EB-BDCD89FEB83C}"/>
              </a:ext>
            </a:extLst>
          </p:cNvPr>
          <p:cNvSpPr/>
          <p:nvPr/>
        </p:nvSpPr>
        <p:spPr>
          <a:xfrm>
            <a:off x="4850202" y="1025"/>
            <a:ext cx="4291172" cy="5145940"/>
          </a:xfrm>
          <a:custGeom>
            <a:avLst/>
            <a:gdLst>
              <a:gd name="connsiteX0" fmla="*/ 1107467 w 5721563"/>
              <a:gd name="connsiteY0" fmla="*/ 0 h 6861253"/>
              <a:gd name="connsiteX1" fmla="*/ 5721563 w 5721563"/>
              <a:gd name="connsiteY1" fmla="*/ 0 h 6861253"/>
              <a:gd name="connsiteX2" fmla="*/ 5721563 w 5721563"/>
              <a:gd name="connsiteY2" fmla="*/ 6861253 h 6861253"/>
              <a:gd name="connsiteX3" fmla="*/ 563823 w 5721563"/>
              <a:gd name="connsiteY3" fmla="*/ 6861253 h 6861253"/>
              <a:gd name="connsiteX4" fmla="*/ 568538 w 5721563"/>
              <a:gd name="connsiteY4" fmla="*/ 6858255 h 6861253"/>
              <a:gd name="connsiteX5" fmla="*/ 568537 w 5721563"/>
              <a:gd name="connsiteY5" fmla="*/ 6858255 h 6861253"/>
              <a:gd name="connsiteX6" fmla="*/ 563822 w 5721563"/>
              <a:gd name="connsiteY6" fmla="*/ 6861253 h 6861253"/>
              <a:gd name="connsiteX7" fmla="*/ 0 w 5721563"/>
              <a:gd name="connsiteY7" fmla="*/ 6861253 h 6861253"/>
              <a:gd name="connsiteX8" fmla="*/ 167413 w 5721563"/>
              <a:gd name="connsiteY8" fmla="*/ 5824052 h 6861253"/>
              <a:gd name="connsiteX9" fmla="*/ 925593 w 5721563"/>
              <a:gd name="connsiteY9" fmla="*/ 5824052 h 6861253"/>
              <a:gd name="connsiteX10" fmla="*/ 925593 w 5721563"/>
              <a:gd name="connsiteY10" fmla="*/ 5824051 h 6861253"/>
              <a:gd name="connsiteX11" fmla="*/ 167413 w 5721563"/>
              <a:gd name="connsiteY11" fmla="*/ 5824051 h 6861253"/>
              <a:gd name="connsiteX12" fmla="*/ 1107466 w 5721563"/>
              <a:gd name="connsiteY12" fmla="*/ 2 h 6861253"/>
              <a:gd name="connsiteX13" fmla="*/ 1635383 w 5721563"/>
              <a:gd name="connsiteY13" fmla="*/ 2 h 6861253"/>
              <a:gd name="connsiteX14" fmla="*/ 1697942 w 5721563"/>
              <a:gd name="connsiteY14" fmla="*/ 8479 h 6861253"/>
              <a:gd name="connsiteX15" fmla="*/ 1697942 w 5721563"/>
              <a:gd name="connsiteY15" fmla="*/ 8478 h 6861253"/>
              <a:gd name="connsiteX16" fmla="*/ 1635383 w 5721563"/>
              <a:gd name="connsiteY16" fmla="*/ 1 h 6861253"/>
              <a:gd name="connsiteX17" fmla="*/ 1107466 w 5721563"/>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21563" h="6861253">
                <a:moveTo>
                  <a:pt x="1107467" y="0"/>
                </a:moveTo>
                <a:lnTo>
                  <a:pt x="5721563" y="0"/>
                </a:lnTo>
                <a:lnTo>
                  <a:pt x="5721563"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TextBox 15">
            <a:extLst>
              <a:ext uri="{FF2B5EF4-FFF2-40B4-BE49-F238E27FC236}">
                <a16:creationId xmlns:a16="http://schemas.microsoft.com/office/drawing/2014/main" id="{B50DCEB8-3530-6C34-A04F-0C98B5C867B3}"/>
              </a:ext>
            </a:extLst>
          </p:cNvPr>
          <p:cNvSpPr txBox="1"/>
          <p:nvPr/>
        </p:nvSpPr>
        <p:spPr>
          <a:xfrm>
            <a:off x="148009" y="123171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ECAC4">
                    <a:lumMod val="60000"/>
                    <a:lumOff val="40000"/>
                  </a:srgbClr>
                </a:solidFill>
                <a:effectLst/>
                <a:uLnTx/>
                <a:uFillTx/>
                <a:latin typeface="+mn-lt"/>
                <a:ea typeface="+mn-ea"/>
                <a:cs typeface="+mn-cs"/>
              </a:rPr>
              <a:t>GENEVA | DUBAI | CINCINNATI</a:t>
            </a:r>
          </a:p>
        </p:txBody>
      </p:sp>
      <p:grpSp>
        <p:nvGrpSpPr>
          <p:cNvPr id="6" name="Group 5">
            <a:extLst>
              <a:ext uri="{FF2B5EF4-FFF2-40B4-BE49-F238E27FC236}">
                <a16:creationId xmlns:a16="http://schemas.microsoft.com/office/drawing/2014/main" id="{1B0D39D9-3130-99BC-36BD-6BD2DB84334D}"/>
              </a:ext>
            </a:extLst>
          </p:cNvPr>
          <p:cNvGrpSpPr>
            <a:grpSpLocks noChangeAspect="1"/>
          </p:cNvGrpSpPr>
          <p:nvPr/>
        </p:nvGrpSpPr>
        <p:grpSpPr>
          <a:xfrm>
            <a:off x="250461" y="210563"/>
            <a:ext cx="1188566" cy="1011018"/>
            <a:chOff x="2716311" y="648027"/>
            <a:chExt cx="6759377" cy="5739971"/>
          </a:xfrm>
        </p:grpSpPr>
        <p:grpSp>
          <p:nvGrpSpPr>
            <p:cNvPr id="8" name="Graphic 2">
              <a:extLst>
                <a:ext uri="{FF2B5EF4-FFF2-40B4-BE49-F238E27FC236}">
                  <a16:creationId xmlns:a16="http://schemas.microsoft.com/office/drawing/2014/main" id="{106968BB-C7DC-72F6-AC09-D3281ECDDE17}"/>
                </a:ext>
              </a:extLst>
            </p:cNvPr>
            <p:cNvGrpSpPr/>
            <p:nvPr/>
          </p:nvGrpSpPr>
          <p:grpSpPr>
            <a:xfrm>
              <a:off x="2716311" y="5613022"/>
              <a:ext cx="6269002" cy="774976"/>
              <a:chOff x="2766490" y="5410804"/>
              <a:chExt cx="6269002" cy="774976"/>
            </a:xfrm>
            <a:solidFill>
              <a:schemeClr val="accent1"/>
            </a:solidFill>
          </p:grpSpPr>
          <p:grpSp>
            <p:nvGrpSpPr>
              <p:cNvPr id="53" name="Graphic 2">
                <a:extLst>
                  <a:ext uri="{FF2B5EF4-FFF2-40B4-BE49-F238E27FC236}">
                    <a16:creationId xmlns:a16="http://schemas.microsoft.com/office/drawing/2014/main" id="{807CF428-62B5-85DB-0D4B-6D6A99C1630D}"/>
                  </a:ext>
                </a:extLst>
              </p:cNvPr>
              <p:cNvGrpSpPr/>
              <p:nvPr/>
            </p:nvGrpSpPr>
            <p:grpSpPr>
              <a:xfrm>
                <a:off x="2766490" y="5426323"/>
                <a:ext cx="3923857" cy="759457"/>
                <a:chOff x="2766490" y="5426323"/>
                <a:chExt cx="3923857" cy="759457"/>
              </a:xfrm>
              <a:solidFill>
                <a:srgbClr val="FFFFFF"/>
              </a:solidFill>
            </p:grpSpPr>
            <p:sp>
              <p:nvSpPr>
                <p:cNvPr id="59" name="Freeform 83">
                  <a:extLst>
                    <a:ext uri="{FF2B5EF4-FFF2-40B4-BE49-F238E27FC236}">
                      <a16:creationId xmlns:a16="http://schemas.microsoft.com/office/drawing/2014/main" id="{4E64EF4B-1C24-1921-EB0B-7293959DBE81}"/>
                    </a:ext>
                  </a:extLst>
                </p:cNvPr>
                <p:cNvSpPr/>
                <p:nvPr/>
              </p:nvSpPr>
              <p:spPr>
                <a:xfrm>
                  <a:off x="2766490" y="5436796"/>
                  <a:ext cx="564644" cy="739368"/>
                </a:xfrm>
                <a:custGeom>
                  <a:avLst/>
                  <a:gdLst>
                    <a:gd name="connsiteX0" fmla="*/ 56981 w 564644"/>
                    <a:gd name="connsiteY0" fmla="*/ 483741 h 739368"/>
                    <a:gd name="connsiteX1" fmla="*/ 56981 w 564644"/>
                    <a:gd name="connsiteY1" fmla="*/ 739368 h 739368"/>
                    <a:gd name="connsiteX2" fmla="*/ 0 w 564644"/>
                    <a:gd name="connsiteY2" fmla="*/ 739368 h 739368"/>
                    <a:gd name="connsiteX3" fmla="*/ 0 w 564644"/>
                    <a:gd name="connsiteY3" fmla="*/ 0 h 739368"/>
                    <a:gd name="connsiteX4" fmla="*/ 324000 w 564644"/>
                    <a:gd name="connsiteY4" fmla="*/ 0 h 739368"/>
                    <a:gd name="connsiteX5" fmla="*/ 324000 w 564644"/>
                    <a:gd name="connsiteY5" fmla="*/ 483741 h 739368"/>
                    <a:gd name="connsiteX6" fmla="*/ 56981 w 564644"/>
                    <a:gd name="connsiteY6" fmla="*/ 483741 h 739368"/>
                    <a:gd name="connsiteX7" fmla="*/ 56981 w 564644"/>
                    <a:gd name="connsiteY7" fmla="*/ 52839 h 739368"/>
                    <a:gd name="connsiteX8" fmla="*/ 56981 w 564644"/>
                    <a:gd name="connsiteY8" fmla="*/ 432044 h 739368"/>
                    <a:gd name="connsiteX9" fmla="*/ 324000 w 564644"/>
                    <a:gd name="connsiteY9" fmla="*/ 432044 h 739368"/>
                    <a:gd name="connsiteX10" fmla="*/ 324000 w 564644"/>
                    <a:gd name="connsiteY10" fmla="*/ 52839 h 739368"/>
                    <a:gd name="connsiteX11" fmla="*/ 56981 w 564644"/>
                    <a:gd name="connsiteY11" fmla="*/ 52839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4644" h="739368">
                      <a:moveTo>
                        <a:pt x="56981" y="483741"/>
                      </a:moveTo>
                      <a:lnTo>
                        <a:pt x="56981" y="739368"/>
                      </a:lnTo>
                      <a:lnTo>
                        <a:pt x="0" y="739368"/>
                      </a:lnTo>
                      <a:lnTo>
                        <a:pt x="0" y="0"/>
                      </a:lnTo>
                      <a:cubicBezTo>
                        <a:pt x="107683" y="0"/>
                        <a:pt x="216317" y="0"/>
                        <a:pt x="324000" y="0"/>
                      </a:cubicBezTo>
                      <a:cubicBezTo>
                        <a:pt x="644860" y="0"/>
                        <a:pt x="644860" y="483741"/>
                        <a:pt x="324000" y="483741"/>
                      </a:cubicBezTo>
                      <a:lnTo>
                        <a:pt x="56981" y="483741"/>
                      </a:lnTo>
                      <a:close/>
                      <a:moveTo>
                        <a:pt x="56981" y="52839"/>
                      </a:moveTo>
                      <a:lnTo>
                        <a:pt x="56981" y="432044"/>
                      </a:lnTo>
                      <a:lnTo>
                        <a:pt x="324000" y="432044"/>
                      </a:lnTo>
                      <a:cubicBezTo>
                        <a:pt x="569901" y="432044"/>
                        <a:pt x="569901" y="52839"/>
                        <a:pt x="324000" y="52839"/>
                      </a:cubicBezTo>
                      <a:lnTo>
                        <a:pt x="56981" y="52839"/>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0" name="Freeform 84">
                  <a:extLst>
                    <a:ext uri="{FF2B5EF4-FFF2-40B4-BE49-F238E27FC236}">
                      <a16:creationId xmlns:a16="http://schemas.microsoft.com/office/drawing/2014/main" id="{34788C8C-45E0-05A6-8F7E-386119E1E99E}"/>
                    </a:ext>
                  </a:extLst>
                </p:cNvPr>
                <p:cNvSpPr/>
                <p:nvPr/>
              </p:nvSpPr>
              <p:spPr>
                <a:xfrm>
                  <a:off x="3457771" y="5436796"/>
                  <a:ext cx="588925" cy="739368"/>
                </a:xfrm>
                <a:custGeom>
                  <a:avLst/>
                  <a:gdLst>
                    <a:gd name="connsiteX0" fmla="*/ 588926 w 588925"/>
                    <a:gd name="connsiteY0" fmla="*/ 739368 h 739368"/>
                    <a:gd name="connsiteX1" fmla="*/ 513967 w 588925"/>
                    <a:gd name="connsiteY1" fmla="*/ 739368 h 739368"/>
                    <a:gd name="connsiteX2" fmla="*/ 258553 w 588925"/>
                    <a:gd name="connsiteY2" fmla="*/ 459463 h 739368"/>
                    <a:gd name="connsiteX3" fmla="*/ 56981 w 588925"/>
                    <a:gd name="connsiteY3" fmla="*/ 459463 h 739368"/>
                    <a:gd name="connsiteX4" fmla="*/ 56981 w 588925"/>
                    <a:gd name="connsiteY4" fmla="*/ 739368 h 739368"/>
                    <a:gd name="connsiteX5" fmla="*/ 0 w 588925"/>
                    <a:gd name="connsiteY5" fmla="*/ 739368 h 739368"/>
                    <a:gd name="connsiteX6" fmla="*/ 0 w 588925"/>
                    <a:gd name="connsiteY6" fmla="*/ 0 h 739368"/>
                    <a:gd name="connsiteX7" fmla="*/ 325046 w 588925"/>
                    <a:gd name="connsiteY7" fmla="*/ 0 h 739368"/>
                    <a:gd name="connsiteX8" fmla="*/ 567808 w 588925"/>
                    <a:gd name="connsiteY8" fmla="*/ 230303 h 739368"/>
                    <a:gd name="connsiteX9" fmla="*/ 328185 w 588925"/>
                    <a:gd name="connsiteY9" fmla="*/ 456322 h 739368"/>
                    <a:gd name="connsiteX10" fmla="*/ 588926 w 588925"/>
                    <a:gd name="connsiteY10" fmla="*/ 739368 h 739368"/>
                    <a:gd name="connsiteX11" fmla="*/ 56981 w 588925"/>
                    <a:gd name="connsiteY11" fmla="*/ 405577 h 739368"/>
                    <a:gd name="connsiteX12" fmla="*/ 318673 w 588925"/>
                    <a:gd name="connsiteY12" fmla="*/ 405577 h 739368"/>
                    <a:gd name="connsiteX13" fmla="*/ 505500 w 588925"/>
                    <a:gd name="connsiteY13" fmla="*/ 229161 h 739368"/>
                    <a:gd name="connsiteX14" fmla="*/ 325046 w 588925"/>
                    <a:gd name="connsiteY14" fmla="*/ 52744 h 739368"/>
                    <a:gd name="connsiteX15" fmla="*/ 56981 w 588925"/>
                    <a:gd name="connsiteY15" fmla="*/ 52744 h 739368"/>
                    <a:gd name="connsiteX16" fmla="*/ 56981 w 588925"/>
                    <a:gd name="connsiteY16" fmla="*/ 405577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8925" h="739368">
                      <a:moveTo>
                        <a:pt x="588926" y="739368"/>
                      </a:moveTo>
                      <a:lnTo>
                        <a:pt x="513967" y="739368"/>
                      </a:lnTo>
                      <a:lnTo>
                        <a:pt x="258553" y="459463"/>
                      </a:lnTo>
                      <a:lnTo>
                        <a:pt x="56981" y="459463"/>
                      </a:lnTo>
                      <a:lnTo>
                        <a:pt x="56981" y="739368"/>
                      </a:lnTo>
                      <a:lnTo>
                        <a:pt x="0" y="739368"/>
                      </a:lnTo>
                      <a:lnTo>
                        <a:pt x="0" y="0"/>
                      </a:lnTo>
                      <a:cubicBezTo>
                        <a:pt x="108729" y="0"/>
                        <a:pt x="216317" y="0"/>
                        <a:pt x="325046" y="0"/>
                      </a:cubicBezTo>
                      <a:cubicBezTo>
                        <a:pt x="485429" y="0"/>
                        <a:pt x="566762" y="115104"/>
                        <a:pt x="567808" y="230303"/>
                      </a:cubicBezTo>
                      <a:cubicBezTo>
                        <a:pt x="568854" y="350738"/>
                        <a:pt x="489709" y="456322"/>
                        <a:pt x="328185" y="456322"/>
                      </a:cubicBezTo>
                      <a:lnTo>
                        <a:pt x="588926" y="739368"/>
                      </a:lnTo>
                      <a:close/>
                      <a:moveTo>
                        <a:pt x="56981" y="405577"/>
                      </a:moveTo>
                      <a:lnTo>
                        <a:pt x="318673" y="405577"/>
                      </a:lnTo>
                      <a:cubicBezTo>
                        <a:pt x="447473" y="405577"/>
                        <a:pt x="504454" y="332745"/>
                        <a:pt x="505500" y="229161"/>
                      </a:cubicBezTo>
                      <a:cubicBezTo>
                        <a:pt x="506547" y="142523"/>
                        <a:pt x="447473" y="52744"/>
                        <a:pt x="325046" y="52744"/>
                      </a:cubicBezTo>
                      <a:lnTo>
                        <a:pt x="56981" y="52744"/>
                      </a:lnTo>
                      <a:lnTo>
                        <a:pt x="56981" y="40557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1" name="Freeform 85">
                  <a:extLst>
                    <a:ext uri="{FF2B5EF4-FFF2-40B4-BE49-F238E27FC236}">
                      <a16:creationId xmlns:a16="http://schemas.microsoft.com/office/drawing/2014/main" id="{6E3F8B15-ED79-680D-0A85-3A10528538CF}"/>
                    </a:ext>
                  </a:extLst>
                </p:cNvPr>
                <p:cNvSpPr/>
                <p:nvPr/>
              </p:nvSpPr>
              <p:spPr>
                <a:xfrm>
                  <a:off x="4142679" y="5436796"/>
                  <a:ext cx="55934" cy="739368"/>
                </a:xfrm>
                <a:custGeom>
                  <a:avLst/>
                  <a:gdLst>
                    <a:gd name="connsiteX0" fmla="*/ 0 w 55934"/>
                    <a:gd name="connsiteY0" fmla="*/ 739368 h 739368"/>
                    <a:gd name="connsiteX1" fmla="*/ 0 w 55934"/>
                    <a:gd name="connsiteY1" fmla="*/ 0 h 739368"/>
                    <a:gd name="connsiteX2" fmla="*/ 55934 w 55934"/>
                    <a:gd name="connsiteY2" fmla="*/ 0 h 739368"/>
                    <a:gd name="connsiteX3" fmla="*/ 55934 w 55934"/>
                    <a:gd name="connsiteY3" fmla="*/ 739368 h 739368"/>
                    <a:gd name="connsiteX4" fmla="*/ 0 w 55934"/>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4"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2" name="Freeform 86">
                  <a:extLst>
                    <a:ext uri="{FF2B5EF4-FFF2-40B4-BE49-F238E27FC236}">
                      <a16:creationId xmlns:a16="http://schemas.microsoft.com/office/drawing/2014/main" id="{9547A5DC-666F-72CE-6066-06F1797B0143}"/>
                    </a:ext>
                  </a:extLst>
                </p:cNvPr>
                <p:cNvSpPr/>
                <p:nvPr/>
              </p:nvSpPr>
              <p:spPr>
                <a:xfrm>
                  <a:off x="4322062" y="5428322"/>
                  <a:ext cx="649070" cy="756315"/>
                </a:xfrm>
                <a:custGeom>
                  <a:avLst/>
                  <a:gdLst>
                    <a:gd name="connsiteX0" fmla="*/ 649071 w 649070"/>
                    <a:gd name="connsiteY0" fmla="*/ 645400 h 756315"/>
                    <a:gd name="connsiteX1" fmla="*/ 379959 w 649070"/>
                    <a:gd name="connsiteY1" fmla="*/ 756315 h 756315"/>
                    <a:gd name="connsiteX2" fmla="*/ 25 w 649070"/>
                    <a:gd name="connsiteY2" fmla="*/ 382346 h 756315"/>
                    <a:gd name="connsiteX3" fmla="*/ 379959 w 649070"/>
                    <a:gd name="connsiteY3" fmla="*/ 0 h 756315"/>
                    <a:gd name="connsiteX4" fmla="*/ 649071 w 649070"/>
                    <a:gd name="connsiteY4" fmla="*/ 110915 h 756315"/>
                    <a:gd name="connsiteX5" fmla="*/ 610069 w 649070"/>
                    <a:gd name="connsiteY5" fmla="*/ 144713 h 756315"/>
                    <a:gd name="connsiteX6" fmla="*/ 379959 w 649070"/>
                    <a:gd name="connsiteY6" fmla="*/ 50745 h 756315"/>
                    <a:gd name="connsiteX7" fmla="*/ 54913 w 649070"/>
                    <a:gd name="connsiteY7" fmla="*/ 380347 h 756315"/>
                    <a:gd name="connsiteX8" fmla="*/ 379959 w 649070"/>
                    <a:gd name="connsiteY8" fmla="*/ 703571 h 756315"/>
                    <a:gd name="connsiteX9" fmla="*/ 611116 w 649070"/>
                    <a:gd name="connsiteY9" fmla="*/ 609508 h 756315"/>
                    <a:gd name="connsiteX10" fmla="*/ 649071 w 649070"/>
                    <a:gd name="connsiteY10" fmla="*/ 645400 h 75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9070" h="756315">
                      <a:moveTo>
                        <a:pt x="649071" y="645400"/>
                      </a:moveTo>
                      <a:cubicBezTo>
                        <a:pt x="575158" y="719375"/>
                        <a:pt x="477083" y="756315"/>
                        <a:pt x="379959" y="756315"/>
                      </a:cubicBezTo>
                      <a:cubicBezTo>
                        <a:pt x="130919" y="756315"/>
                        <a:pt x="1072" y="581993"/>
                        <a:pt x="25" y="382346"/>
                      </a:cubicBezTo>
                      <a:cubicBezTo>
                        <a:pt x="-2068" y="184794"/>
                        <a:pt x="126638" y="0"/>
                        <a:pt x="379959" y="0"/>
                      </a:cubicBezTo>
                      <a:cubicBezTo>
                        <a:pt x="477083" y="0"/>
                        <a:pt x="575253" y="36940"/>
                        <a:pt x="649071" y="110915"/>
                      </a:cubicBezTo>
                      <a:lnTo>
                        <a:pt x="610069" y="144713"/>
                      </a:lnTo>
                      <a:cubicBezTo>
                        <a:pt x="546715" y="81306"/>
                        <a:pt x="463384" y="50745"/>
                        <a:pt x="379959" y="50745"/>
                      </a:cubicBezTo>
                      <a:cubicBezTo>
                        <a:pt x="164688" y="50745"/>
                        <a:pt x="53866" y="202884"/>
                        <a:pt x="54913" y="380347"/>
                      </a:cubicBezTo>
                      <a:cubicBezTo>
                        <a:pt x="57006" y="553622"/>
                        <a:pt x="166781" y="703571"/>
                        <a:pt x="379959" y="703571"/>
                      </a:cubicBezTo>
                      <a:cubicBezTo>
                        <a:pt x="463384" y="703571"/>
                        <a:pt x="547761" y="671868"/>
                        <a:pt x="611116" y="609508"/>
                      </a:cubicBezTo>
                      <a:lnTo>
                        <a:pt x="649071" y="64540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3" name="Freeform 87">
                  <a:extLst>
                    <a:ext uri="{FF2B5EF4-FFF2-40B4-BE49-F238E27FC236}">
                      <a16:creationId xmlns:a16="http://schemas.microsoft.com/office/drawing/2014/main" id="{89649E48-571E-0B17-E18A-9D78002CD292}"/>
                    </a:ext>
                  </a:extLst>
                </p:cNvPr>
                <p:cNvSpPr/>
                <p:nvPr/>
              </p:nvSpPr>
              <p:spPr>
                <a:xfrm>
                  <a:off x="5106212" y="5436796"/>
                  <a:ext cx="55933" cy="739368"/>
                </a:xfrm>
                <a:custGeom>
                  <a:avLst/>
                  <a:gdLst>
                    <a:gd name="connsiteX0" fmla="*/ 0 w 55933"/>
                    <a:gd name="connsiteY0" fmla="*/ 739368 h 739368"/>
                    <a:gd name="connsiteX1" fmla="*/ 0 w 55933"/>
                    <a:gd name="connsiteY1" fmla="*/ 0 h 739368"/>
                    <a:gd name="connsiteX2" fmla="*/ 55934 w 55933"/>
                    <a:gd name="connsiteY2" fmla="*/ 0 h 739368"/>
                    <a:gd name="connsiteX3" fmla="*/ 55934 w 55933"/>
                    <a:gd name="connsiteY3" fmla="*/ 739368 h 739368"/>
                    <a:gd name="connsiteX4" fmla="*/ 0 w 55933"/>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3"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4" name="Freeform 88">
                  <a:extLst>
                    <a:ext uri="{FF2B5EF4-FFF2-40B4-BE49-F238E27FC236}">
                      <a16:creationId xmlns:a16="http://schemas.microsoft.com/office/drawing/2014/main" id="{08EB8E66-FCAC-C9FB-C18E-C15829F7F00D}"/>
                    </a:ext>
                  </a:extLst>
                </p:cNvPr>
                <p:cNvSpPr/>
                <p:nvPr/>
              </p:nvSpPr>
              <p:spPr>
                <a:xfrm>
                  <a:off x="5325763" y="5436796"/>
                  <a:ext cx="577320" cy="739368"/>
                </a:xfrm>
                <a:custGeom>
                  <a:avLst/>
                  <a:gdLst>
                    <a:gd name="connsiteX0" fmla="*/ 24257 w 577320"/>
                    <a:gd name="connsiteY0" fmla="*/ 0 h 739368"/>
                    <a:gd name="connsiteX1" fmla="*/ 521386 w 577320"/>
                    <a:gd name="connsiteY1" fmla="*/ 611602 h 739368"/>
                    <a:gd name="connsiteX2" fmla="*/ 521386 w 577320"/>
                    <a:gd name="connsiteY2" fmla="*/ 0 h 739368"/>
                    <a:gd name="connsiteX3" fmla="*/ 577321 w 577320"/>
                    <a:gd name="connsiteY3" fmla="*/ 0 h 739368"/>
                    <a:gd name="connsiteX4" fmla="*/ 577321 w 577320"/>
                    <a:gd name="connsiteY4" fmla="*/ 739368 h 739368"/>
                    <a:gd name="connsiteX5" fmla="*/ 555156 w 577320"/>
                    <a:gd name="connsiteY5" fmla="*/ 739368 h 739368"/>
                    <a:gd name="connsiteX6" fmla="*/ 56980 w 577320"/>
                    <a:gd name="connsiteY6" fmla="*/ 128813 h 739368"/>
                    <a:gd name="connsiteX7" fmla="*/ 56980 w 577320"/>
                    <a:gd name="connsiteY7" fmla="*/ 739368 h 739368"/>
                    <a:gd name="connsiteX8" fmla="*/ 0 w 577320"/>
                    <a:gd name="connsiteY8" fmla="*/ 739368 h 739368"/>
                    <a:gd name="connsiteX9" fmla="*/ 0 w 577320"/>
                    <a:gd name="connsiteY9" fmla="*/ 0 h 739368"/>
                    <a:gd name="connsiteX10" fmla="*/ 24257 w 577320"/>
                    <a:gd name="connsiteY10" fmla="*/ 0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7320" h="739368">
                      <a:moveTo>
                        <a:pt x="24257" y="0"/>
                      </a:moveTo>
                      <a:lnTo>
                        <a:pt x="521386" y="611602"/>
                      </a:lnTo>
                      <a:lnTo>
                        <a:pt x="521386" y="0"/>
                      </a:lnTo>
                      <a:lnTo>
                        <a:pt x="577321" y="0"/>
                      </a:lnTo>
                      <a:lnTo>
                        <a:pt x="577321" y="739368"/>
                      </a:lnTo>
                      <a:lnTo>
                        <a:pt x="555156" y="739368"/>
                      </a:lnTo>
                      <a:lnTo>
                        <a:pt x="56980" y="128813"/>
                      </a:lnTo>
                      <a:lnTo>
                        <a:pt x="56980" y="739368"/>
                      </a:lnTo>
                      <a:lnTo>
                        <a:pt x="0" y="739368"/>
                      </a:lnTo>
                      <a:lnTo>
                        <a:pt x="0" y="0"/>
                      </a:lnTo>
                      <a:lnTo>
                        <a:pt x="24257"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5" name="Freeform 89">
                  <a:extLst>
                    <a:ext uri="{FF2B5EF4-FFF2-40B4-BE49-F238E27FC236}">
                      <a16:creationId xmlns:a16="http://schemas.microsoft.com/office/drawing/2014/main" id="{3DF9220A-B5E1-AD34-DB7C-9130819E5C98}"/>
                    </a:ext>
                  </a:extLst>
                </p:cNvPr>
                <p:cNvSpPr/>
                <p:nvPr/>
              </p:nvSpPr>
              <p:spPr>
                <a:xfrm>
                  <a:off x="6030738" y="5426323"/>
                  <a:ext cx="659609" cy="759457"/>
                </a:xfrm>
                <a:custGeom>
                  <a:avLst/>
                  <a:gdLst>
                    <a:gd name="connsiteX0" fmla="*/ 618420 w 659609"/>
                    <a:gd name="connsiteY0" fmla="*/ 146713 h 759457"/>
                    <a:gd name="connsiteX1" fmla="*/ 380985 w 659609"/>
                    <a:gd name="connsiteY1" fmla="*/ 51697 h 759457"/>
                    <a:gd name="connsiteX2" fmla="*/ 54893 w 659609"/>
                    <a:gd name="connsiteY2" fmla="*/ 381300 h 759457"/>
                    <a:gd name="connsiteX3" fmla="*/ 380985 w 659609"/>
                    <a:gd name="connsiteY3" fmla="*/ 705571 h 759457"/>
                    <a:gd name="connsiteX4" fmla="*/ 605768 w 659609"/>
                    <a:gd name="connsiteY4" fmla="*/ 619980 h 759457"/>
                    <a:gd name="connsiteX5" fmla="*/ 605768 w 659609"/>
                    <a:gd name="connsiteY5" fmla="*/ 412908 h 759457"/>
                    <a:gd name="connsiteX6" fmla="*/ 348262 w 659609"/>
                    <a:gd name="connsiteY6" fmla="*/ 412908 h 759457"/>
                    <a:gd name="connsiteX7" fmla="*/ 348262 w 659609"/>
                    <a:gd name="connsiteY7" fmla="*/ 363306 h 759457"/>
                    <a:gd name="connsiteX8" fmla="*/ 659610 w 659609"/>
                    <a:gd name="connsiteY8" fmla="*/ 363306 h 759457"/>
                    <a:gd name="connsiteX9" fmla="*/ 659610 w 659609"/>
                    <a:gd name="connsiteY9" fmla="*/ 640069 h 759457"/>
                    <a:gd name="connsiteX10" fmla="*/ 380985 w 659609"/>
                    <a:gd name="connsiteY10" fmla="*/ 759457 h 759457"/>
                    <a:gd name="connsiteX11" fmla="*/ 5 w 659609"/>
                    <a:gd name="connsiteY11" fmla="*/ 382347 h 759457"/>
                    <a:gd name="connsiteX12" fmla="*/ 380985 w 659609"/>
                    <a:gd name="connsiteY12" fmla="*/ 0 h 759457"/>
                    <a:gd name="connsiteX13" fmla="*/ 651143 w 659609"/>
                    <a:gd name="connsiteY13" fmla="*/ 110915 h 759457"/>
                    <a:gd name="connsiteX14" fmla="*/ 618420 w 659609"/>
                    <a:gd name="connsiteY14" fmla="*/ 146713 h 759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59609" h="759457">
                      <a:moveTo>
                        <a:pt x="618420" y="146713"/>
                      </a:moveTo>
                      <a:cubicBezTo>
                        <a:pt x="554020" y="83305"/>
                        <a:pt x="464316" y="51697"/>
                        <a:pt x="380985" y="51697"/>
                      </a:cubicBezTo>
                      <a:cubicBezTo>
                        <a:pt x="164669" y="51697"/>
                        <a:pt x="53846" y="210119"/>
                        <a:pt x="54893" y="381300"/>
                      </a:cubicBezTo>
                      <a:cubicBezTo>
                        <a:pt x="54893" y="555622"/>
                        <a:pt x="165715" y="705571"/>
                        <a:pt x="380985" y="705571"/>
                      </a:cubicBezTo>
                      <a:cubicBezTo>
                        <a:pt x="460130" y="705571"/>
                        <a:pt x="542414" y="678152"/>
                        <a:pt x="605768" y="619980"/>
                      </a:cubicBezTo>
                      <a:lnTo>
                        <a:pt x="605768" y="412908"/>
                      </a:lnTo>
                      <a:lnTo>
                        <a:pt x="348262" y="412908"/>
                      </a:lnTo>
                      <a:lnTo>
                        <a:pt x="348262" y="363306"/>
                      </a:lnTo>
                      <a:lnTo>
                        <a:pt x="659610" y="363306"/>
                      </a:lnTo>
                      <a:lnTo>
                        <a:pt x="659610" y="640069"/>
                      </a:lnTo>
                      <a:cubicBezTo>
                        <a:pt x="582558" y="717186"/>
                        <a:pt x="490761" y="759457"/>
                        <a:pt x="380985" y="759457"/>
                      </a:cubicBezTo>
                      <a:cubicBezTo>
                        <a:pt x="129757" y="759457"/>
                        <a:pt x="5" y="584088"/>
                        <a:pt x="5" y="382347"/>
                      </a:cubicBezTo>
                      <a:cubicBezTo>
                        <a:pt x="-1041" y="150997"/>
                        <a:pt x="156202" y="0"/>
                        <a:pt x="380985" y="0"/>
                      </a:cubicBezTo>
                      <a:cubicBezTo>
                        <a:pt x="478109" y="0"/>
                        <a:pt x="576279" y="36940"/>
                        <a:pt x="651143" y="110915"/>
                      </a:cubicBezTo>
                      <a:lnTo>
                        <a:pt x="618420" y="146713"/>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54" name="Graphic 2">
                <a:extLst>
                  <a:ext uri="{FF2B5EF4-FFF2-40B4-BE49-F238E27FC236}">
                    <a16:creationId xmlns:a16="http://schemas.microsoft.com/office/drawing/2014/main" id="{F280CACE-BE89-F85B-1955-F4A0D52080B9}"/>
                  </a:ext>
                </a:extLst>
              </p:cNvPr>
              <p:cNvGrpSpPr/>
              <p:nvPr/>
            </p:nvGrpSpPr>
            <p:grpSpPr>
              <a:xfrm>
                <a:off x="6870802" y="5410804"/>
                <a:ext cx="2164690" cy="771262"/>
                <a:chOff x="6870802" y="5410804"/>
                <a:chExt cx="2164690" cy="771262"/>
              </a:xfrm>
              <a:solidFill>
                <a:srgbClr val="00A099"/>
              </a:solidFill>
            </p:grpSpPr>
            <p:sp>
              <p:nvSpPr>
                <p:cNvPr id="55" name="Freeform 80">
                  <a:extLst>
                    <a:ext uri="{FF2B5EF4-FFF2-40B4-BE49-F238E27FC236}">
                      <a16:creationId xmlns:a16="http://schemas.microsoft.com/office/drawing/2014/main" id="{2DC2F27F-C2DB-ED89-7449-EF23C4D44F11}"/>
                    </a:ext>
                  </a:extLst>
                </p:cNvPr>
                <p:cNvSpPr/>
                <p:nvPr/>
              </p:nvSpPr>
              <p:spPr>
                <a:xfrm>
                  <a:off x="6870802" y="5410804"/>
                  <a:ext cx="758943" cy="771262"/>
                </a:xfrm>
                <a:custGeom>
                  <a:avLst/>
                  <a:gdLst>
                    <a:gd name="connsiteX0" fmla="*/ 758916 w 758943"/>
                    <a:gd name="connsiteY0" fmla="*/ 388821 h 771262"/>
                    <a:gd name="connsiteX1" fmla="*/ 379934 w 758943"/>
                    <a:gd name="connsiteY1" fmla="*/ 771263 h 771262"/>
                    <a:gd name="connsiteX2" fmla="*/ 0 w 758943"/>
                    <a:gd name="connsiteY2" fmla="*/ 389868 h 771262"/>
                    <a:gd name="connsiteX3" fmla="*/ 379934 w 758943"/>
                    <a:gd name="connsiteY3" fmla="*/ 0 h 771262"/>
                    <a:gd name="connsiteX4" fmla="*/ 758916 w 758943"/>
                    <a:gd name="connsiteY4" fmla="*/ 388821 h 771262"/>
                    <a:gd name="connsiteX5" fmla="*/ 137267 w 758943"/>
                    <a:gd name="connsiteY5" fmla="*/ 392058 h 771262"/>
                    <a:gd name="connsiteX6" fmla="*/ 380029 w 758943"/>
                    <a:gd name="connsiteY6" fmla="*/ 643497 h 771262"/>
                    <a:gd name="connsiteX7" fmla="*/ 621744 w 758943"/>
                    <a:gd name="connsiteY7" fmla="*/ 391010 h 771262"/>
                    <a:gd name="connsiteX8" fmla="*/ 380029 w 758943"/>
                    <a:gd name="connsiteY8" fmla="*/ 126910 h 771262"/>
                    <a:gd name="connsiteX9" fmla="*/ 137267 w 758943"/>
                    <a:gd name="connsiteY9" fmla="*/ 392058 h 771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8943" h="771262">
                      <a:moveTo>
                        <a:pt x="758916" y="388821"/>
                      </a:moveTo>
                      <a:cubicBezTo>
                        <a:pt x="756824" y="579994"/>
                        <a:pt x="639628" y="771263"/>
                        <a:pt x="379934" y="771263"/>
                      </a:cubicBezTo>
                      <a:cubicBezTo>
                        <a:pt x="120239" y="771263"/>
                        <a:pt x="0" y="584279"/>
                        <a:pt x="0" y="389868"/>
                      </a:cubicBezTo>
                      <a:cubicBezTo>
                        <a:pt x="0" y="195458"/>
                        <a:pt x="124520" y="0"/>
                        <a:pt x="379934" y="0"/>
                      </a:cubicBezTo>
                      <a:cubicBezTo>
                        <a:pt x="634396" y="95"/>
                        <a:pt x="761104" y="195553"/>
                        <a:pt x="758916" y="388821"/>
                      </a:cubicBezTo>
                      <a:close/>
                      <a:moveTo>
                        <a:pt x="137267" y="392058"/>
                      </a:moveTo>
                      <a:cubicBezTo>
                        <a:pt x="140406" y="513540"/>
                        <a:pt x="205853" y="643497"/>
                        <a:pt x="380029" y="643497"/>
                      </a:cubicBezTo>
                      <a:cubicBezTo>
                        <a:pt x="554205" y="643497"/>
                        <a:pt x="619652" y="512493"/>
                        <a:pt x="621744" y="391010"/>
                      </a:cubicBezTo>
                      <a:cubicBezTo>
                        <a:pt x="623837" y="266291"/>
                        <a:pt x="554205" y="126910"/>
                        <a:pt x="380029" y="126910"/>
                      </a:cubicBezTo>
                      <a:cubicBezTo>
                        <a:pt x="205758" y="126910"/>
                        <a:pt x="134033" y="267338"/>
                        <a:pt x="137267" y="392058"/>
                      </a:cubicBez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7" name="Freeform 81">
                  <a:extLst>
                    <a:ext uri="{FF2B5EF4-FFF2-40B4-BE49-F238E27FC236}">
                      <a16:creationId xmlns:a16="http://schemas.microsoft.com/office/drawing/2014/main" id="{2BF449EA-B65D-AD83-3C95-3FF01CBB7FC3}"/>
                    </a:ext>
                  </a:extLst>
                </p:cNvPr>
                <p:cNvSpPr/>
                <p:nvPr/>
              </p:nvSpPr>
              <p:spPr>
                <a:xfrm>
                  <a:off x="7742443" y="5424609"/>
                  <a:ext cx="614419" cy="741653"/>
                </a:xfrm>
                <a:custGeom>
                  <a:avLst/>
                  <a:gdLst>
                    <a:gd name="connsiteX0" fmla="*/ 475060 w 614419"/>
                    <a:gd name="connsiteY0" fmla="*/ 0 h 741653"/>
                    <a:gd name="connsiteX1" fmla="*/ 614419 w 614419"/>
                    <a:gd name="connsiteY1" fmla="*/ 0 h 741653"/>
                    <a:gd name="connsiteX2" fmla="*/ 614419 w 614419"/>
                    <a:gd name="connsiteY2" fmla="*/ 740607 h 741653"/>
                    <a:gd name="connsiteX3" fmla="*/ 527855 w 614419"/>
                    <a:gd name="connsiteY3" fmla="*/ 740607 h 741653"/>
                    <a:gd name="connsiteX4" fmla="*/ 527855 w 614419"/>
                    <a:gd name="connsiteY4" fmla="*/ 741654 h 741653"/>
                    <a:gd name="connsiteX5" fmla="*/ 139359 w 614419"/>
                    <a:gd name="connsiteY5" fmla="*/ 241918 h 741653"/>
                    <a:gd name="connsiteX6" fmla="*/ 139359 w 614419"/>
                    <a:gd name="connsiteY6" fmla="*/ 740607 h 741653"/>
                    <a:gd name="connsiteX7" fmla="*/ 0 w 614419"/>
                    <a:gd name="connsiteY7" fmla="*/ 740607 h 741653"/>
                    <a:gd name="connsiteX8" fmla="*/ 0 w 614419"/>
                    <a:gd name="connsiteY8" fmla="*/ 1047 h 741653"/>
                    <a:gd name="connsiteX9" fmla="*/ 113010 w 614419"/>
                    <a:gd name="connsiteY9" fmla="*/ 1047 h 741653"/>
                    <a:gd name="connsiteX10" fmla="*/ 475060 w 614419"/>
                    <a:gd name="connsiteY10" fmla="*/ 459559 h 741653"/>
                    <a:gd name="connsiteX11" fmla="*/ 475060 w 614419"/>
                    <a:gd name="connsiteY11" fmla="*/ 0 h 74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4419" h="741653">
                      <a:moveTo>
                        <a:pt x="475060" y="0"/>
                      </a:moveTo>
                      <a:lnTo>
                        <a:pt x="614419" y="0"/>
                      </a:lnTo>
                      <a:lnTo>
                        <a:pt x="614419" y="740607"/>
                      </a:lnTo>
                      <a:lnTo>
                        <a:pt x="527855" y="740607"/>
                      </a:lnTo>
                      <a:lnTo>
                        <a:pt x="527855" y="741654"/>
                      </a:lnTo>
                      <a:lnTo>
                        <a:pt x="139359" y="241918"/>
                      </a:lnTo>
                      <a:lnTo>
                        <a:pt x="139359" y="740607"/>
                      </a:lnTo>
                      <a:lnTo>
                        <a:pt x="0" y="740607"/>
                      </a:lnTo>
                      <a:lnTo>
                        <a:pt x="0" y="1047"/>
                      </a:lnTo>
                      <a:lnTo>
                        <a:pt x="113010" y="1047"/>
                      </a:lnTo>
                      <a:lnTo>
                        <a:pt x="475060" y="459559"/>
                      </a:lnTo>
                      <a:lnTo>
                        <a:pt x="475060" y="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8" name="Freeform 82">
                  <a:extLst>
                    <a:ext uri="{FF2B5EF4-FFF2-40B4-BE49-F238E27FC236}">
                      <a16:creationId xmlns:a16="http://schemas.microsoft.com/office/drawing/2014/main" id="{43D1DAC0-9949-B84F-899A-BC9C2591CAA1}"/>
                    </a:ext>
                  </a:extLst>
                </p:cNvPr>
                <p:cNvSpPr/>
                <p:nvPr/>
              </p:nvSpPr>
              <p:spPr>
                <a:xfrm>
                  <a:off x="8482429" y="5425656"/>
                  <a:ext cx="553063" cy="739559"/>
                </a:xfrm>
                <a:custGeom>
                  <a:avLst/>
                  <a:gdLst>
                    <a:gd name="connsiteX0" fmla="*/ 553064 w 553063"/>
                    <a:gd name="connsiteY0" fmla="*/ 739560 h 739559"/>
                    <a:gd name="connsiteX1" fmla="*/ 0 w 553063"/>
                    <a:gd name="connsiteY1" fmla="*/ 739560 h 739559"/>
                    <a:gd name="connsiteX2" fmla="*/ 0 w 553063"/>
                    <a:gd name="connsiteY2" fmla="*/ 0 h 739559"/>
                    <a:gd name="connsiteX3" fmla="*/ 553064 w 553063"/>
                    <a:gd name="connsiteY3" fmla="*/ 0 h 739559"/>
                    <a:gd name="connsiteX4" fmla="*/ 553064 w 553063"/>
                    <a:gd name="connsiteY4" fmla="*/ 135288 h 739559"/>
                    <a:gd name="connsiteX5" fmla="*/ 138219 w 553063"/>
                    <a:gd name="connsiteY5" fmla="*/ 135288 h 739559"/>
                    <a:gd name="connsiteX6" fmla="*/ 138219 w 553063"/>
                    <a:gd name="connsiteY6" fmla="*/ 305325 h 739559"/>
                    <a:gd name="connsiteX7" fmla="*/ 538224 w 553063"/>
                    <a:gd name="connsiteY7" fmla="*/ 305325 h 739559"/>
                    <a:gd name="connsiteX8" fmla="*/ 538224 w 553063"/>
                    <a:gd name="connsiteY8" fmla="*/ 435281 h 739559"/>
                    <a:gd name="connsiteX9" fmla="*/ 138219 w 553063"/>
                    <a:gd name="connsiteY9" fmla="*/ 435281 h 739559"/>
                    <a:gd name="connsiteX10" fmla="*/ 138219 w 553063"/>
                    <a:gd name="connsiteY10" fmla="*/ 602177 h 739559"/>
                    <a:gd name="connsiteX11" fmla="*/ 553064 w 553063"/>
                    <a:gd name="connsiteY11" fmla="*/ 602177 h 739559"/>
                    <a:gd name="connsiteX12" fmla="*/ 553064 w 553063"/>
                    <a:gd name="connsiteY12" fmla="*/ 739560 h 739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3063" h="739559">
                      <a:moveTo>
                        <a:pt x="553064" y="739560"/>
                      </a:moveTo>
                      <a:lnTo>
                        <a:pt x="0" y="739560"/>
                      </a:lnTo>
                      <a:cubicBezTo>
                        <a:pt x="0" y="493452"/>
                        <a:pt x="0" y="246203"/>
                        <a:pt x="0" y="0"/>
                      </a:cubicBezTo>
                      <a:lnTo>
                        <a:pt x="553064" y="0"/>
                      </a:lnTo>
                      <a:lnTo>
                        <a:pt x="553064" y="135288"/>
                      </a:lnTo>
                      <a:lnTo>
                        <a:pt x="138219" y="135288"/>
                      </a:lnTo>
                      <a:lnTo>
                        <a:pt x="138219" y="305325"/>
                      </a:lnTo>
                      <a:lnTo>
                        <a:pt x="538224" y="305325"/>
                      </a:lnTo>
                      <a:lnTo>
                        <a:pt x="538224" y="435281"/>
                      </a:lnTo>
                      <a:lnTo>
                        <a:pt x="138219" y="435281"/>
                      </a:lnTo>
                      <a:lnTo>
                        <a:pt x="138219" y="602177"/>
                      </a:lnTo>
                      <a:lnTo>
                        <a:pt x="553064" y="602177"/>
                      </a:lnTo>
                      <a:lnTo>
                        <a:pt x="553064" y="73956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grpSp>
          <p:nvGrpSpPr>
            <p:cNvPr id="9" name="Graphic 2">
              <a:extLst>
                <a:ext uri="{FF2B5EF4-FFF2-40B4-BE49-F238E27FC236}">
                  <a16:creationId xmlns:a16="http://schemas.microsoft.com/office/drawing/2014/main" id="{852E27DF-DB44-7985-3873-84CB3A827634}"/>
                </a:ext>
              </a:extLst>
            </p:cNvPr>
            <p:cNvGrpSpPr/>
            <p:nvPr/>
          </p:nvGrpSpPr>
          <p:grpSpPr>
            <a:xfrm>
              <a:off x="2716311" y="648027"/>
              <a:ext cx="2950814" cy="4756864"/>
              <a:chOff x="4425584" y="267785"/>
              <a:chExt cx="2950814" cy="4756864"/>
            </a:xfrm>
            <a:solidFill>
              <a:schemeClr val="accent1"/>
            </a:solidFill>
          </p:grpSpPr>
          <p:grpSp>
            <p:nvGrpSpPr>
              <p:cNvPr id="13" name="Graphic 2">
                <a:extLst>
                  <a:ext uri="{FF2B5EF4-FFF2-40B4-BE49-F238E27FC236}">
                    <a16:creationId xmlns:a16="http://schemas.microsoft.com/office/drawing/2014/main" id="{19629D24-603A-ACED-7BD1-E837DCC60D08}"/>
                  </a:ext>
                </a:extLst>
              </p:cNvPr>
              <p:cNvGrpSpPr/>
              <p:nvPr/>
            </p:nvGrpSpPr>
            <p:grpSpPr>
              <a:xfrm>
                <a:off x="5720269" y="2764575"/>
                <a:ext cx="1656129" cy="1882392"/>
                <a:chOff x="5720269" y="2764575"/>
                <a:chExt cx="1656129" cy="1882392"/>
              </a:xfrm>
              <a:solidFill>
                <a:schemeClr val="accent1"/>
              </a:solidFill>
            </p:grpSpPr>
            <p:grpSp>
              <p:nvGrpSpPr>
                <p:cNvPr id="46" name="Graphic 2">
                  <a:extLst>
                    <a:ext uri="{FF2B5EF4-FFF2-40B4-BE49-F238E27FC236}">
                      <a16:creationId xmlns:a16="http://schemas.microsoft.com/office/drawing/2014/main" id="{CA9F3B9B-8E9F-6B81-20DA-2196AB3044E3}"/>
                    </a:ext>
                  </a:extLst>
                </p:cNvPr>
                <p:cNvGrpSpPr/>
                <p:nvPr/>
              </p:nvGrpSpPr>
              <p:grpSpPr>
                <a:xfrm>
                  <a:off x="5720269" y="2764575"/>
                  <a:ext cx="1656129" cy="1882392"/>
                  <a:chOff x="5720269" y="2764575"/>
                  <a:chExt cx="1656129" cy="1882392"/>
                </a:xfrm>
                <a:solidFill>
                  <a:srgbClr val="00A099"/>
                </a:solidFill>
              </p:grpSpPr>
              <p:sp>
                <p:nvSpPr>
                  <p:cNvPr id="50" name="Freeform 75">
                    <a:extLst>
                      <a:ext uri="{FF2B5EF4-FFF2-40B4-BE49-F238E27FC236}">
                        <a16:creationId xmlns:a16="http://schemas.microsoft.com/office/drawing/2014/main" id="{A7828B01-0152-EB4F-B916-9B852E02C7C0}"/>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1" name="Freeform 76">
                    <a:extLst>
                      <a:ext uri="{FF2B5EF4-FFF2-40B4-BE49-F238E27FC236}">
                        <a16:creationId xmlns:a16="http://schemas.microsoft.com/office/drawing/2014/main" id="{76A01C09-02B3-93CE-1E46-DFFBF19F374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2" name="Freeform 77">
                    <a:extLst>
                      <a:ext uri="{FF2B5EF4-FFF2-40B4-BE49-F238E27FC236}">
                        <a16:creationId xmlns:a16="http://schemas.microsoft.com/office/drawing/2014/main" id="{1EA6C6FB-8FD9-258A-1A58-0FB83E58C5D3}"/>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47" name="Freeform 72">
                  <a:extLst>
                    <a:ext uri="{FF2B5EF4-FFF2-40B4-BE49-F238E27FC236}">
                      <a16:creationId xmlns:a16="http://schemas.microsoft.com/office/drawing/2014/main" id="{0D67CA34-ECD5-B4BF-CF82-D897690FD62C}"/>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8" name="Freeform 73">
                  <a:extLst>
                    <a:ext uri="{FF2B5EF4-FFF2-40B4-BE49-F238E27FC236}">
                      <a16:creationId xmlns:a16="http://schemas.microsoft.com/office/drawing/2014/main" id="{690B2A34-6CED-01F4-522C-004E37ED348B}"/>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9" name="Freeform 74">
                  <a:extLst>
                    <a:ext uri="{FF2B5EF4-FFF2-40B4-BE49-F238E27FC236}">
                      <a16:creationId xmlns:a16="http://schemas.microsoft.com/office/drawing/2014/main" id="{C29839DB-EC63-65E8-3891-EDDCDB3B62F4}"/>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4" name="Freeform 69">
                <a:extLst>
                  <a:ext uri="{FF2B5EF4-FFF2-40B4-BE49-F238E27FC236}">
                    <a16:creationId xmlns:a16="http://schemas.microsoft.com/office/drawing/2014/main" id="{EF9D19FB-0661-C6C0-DEBE-172A53A7C539}"/>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5" name="Freeform 70">
                <a:extLst>
                  <a:ext uri="{FF2B5EF4-FFF2-40B4-BE49-F238E27FC236}">
                    <a16:creationId xmlns:a16="http://schemas.microsoft.com/office/drawing/2014/main" id="{78BC715C-D744-9138-A112-5F54D12707C6}"/>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10" name="Graphic 2">
              <a:extLst>
                <a:ext uri="{FF2B5EF4-FFF2-40B4-BE49-F238E27FC236}">
                  <a16:creationId xmlns:a16="http://schemas.microsoft.com/office/drawing/2014/main" id="{131E3A75-BE0B-0357-69FC-67D02AD55D0F}"/>
                </a:ext>
              </a:extLst>
            </p:cNvPr>
            <p:cNvGrpSpPr/>
            <p:nvPr/>
          </p:nvGrpSpPr>
          <p:grpSpPr>
            <a:xfrm>
              <a:off x="9002626" y="5508867"/>
              <a:ext cx="473062" cy="244679"/>
              <a:chOff x="9052805" y="5306649"/>
              <a:chExt cx="473062" cy="244679"/>
            </a:xfrm>
            <a:solidFill>
              <a:schemeClr val="accent4"/>
            </a:solidFill>
          </p:grpSpPr>
          <p:sp>
            <p:nvSpPr>
              <p:cNvPr id="11" name="Freeform 66">
                <a:extLst>
                  <a:ext uri="{FF2B5EF4-FFF2-40B4-BE49-F238E27FC236}">
                    <a16:creationId xmlns:a16="http://schemas.microsoft.com/office/drawing/2014/main" id="{CF5736FD-BF88-159C-C7F1-114E1942B862}"/>
                  </a:ext>
                </a:extLst>
              </p:cNvPr>
              <p:cNvSpPr/>
              <p:nvPr/>
            </p:nvSpPr>
            <p:spPr>
              <a:xfrm>
                <a:off x="9052805" y="5306649"/>
                <a:ext cx="183783" cy="244679"/>
              </a:xfrm>
              <a:custGeom>
                <a:avLst/>
                <a:gdLst>
                  <a:gd name="connsiteX0" fmla="*/ 111868 w 183783"/>
                  <a:gd name="connsiteY0" fmla="*/ 244679 h 244679"/>
                  <a:gd name="connsiteX1" fmla="*/ 71915 w 183783"/>
                  <a:gd name="connsiteY1" fmla="*/ 244679 h 244679"/>
                  <a:gd name="connsiteX2" fmla="*/ 71915 w 183783"/>
                  <a:gd name="connsiteY2" fmla="*/ 34274 h 244679"/>
                  <a:gd name="connsiteX3" fmla="*/ 0 w 183783"/>
                  <a:gd name="connsiteY3" fmla="*/ 34274 h 244679"/>
                  <a:gd name="connsiteX4" fmla="*/ 0 w 183783"/>
                  <a:gd name="connsiteY4" fmla="*/ 0 h 244679"/>
                  <a:gd name="connsiteX5" fmla="*/ 183784 w 183783"/>
                  <a:gd name="connsiteY5" fmla="*/ 0 h 244679"/>
                  <a:gd name="connsiteX6" fmla="*/ 183784 w 183783"/>
                  <a:gd name="connsiteY6" fmla="*/ 34274 h 244679"/>
                  <a:gd name="connsiteX7" fmla="*/ 111868 w 183783"/>
                  <a:gd name="connsiteY7" fmla="*/ 34274 h 244679"/>
                  <a:gd name="connsiteX8" fmla="*/ 111868 w 183783"/>
                  <a:gd name="connsiteY8"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783" h="244679">
                    <a:moveTo>
                      <a:pt x="111868" y="244679"/>
                    </a:moveTo>
                    <a:lnTo>
                      <a:pt x="71915" y="244679"/>
                    </a:lnTo>
                    <a:lnTo>
                      <a:pt x="71915" y="34274"/>
                    </a:lnTo>
                    <a:lnTo>
                      <a:pt x="0" y="34274"/>
                    </a:lnTo>
                    <a:lnTo>
                      <a:pt x="0" y="0"/>
                    </a:lnTo>
                    <a:lnTo>
                      <a:pt x="183784" y="0"/>
                    </a:lnTo>
                    <a:lnTo>
                      <a:pt x="183784" y="34274"/>
                    </a:lnTo>
                    <a:lnTo>
                      <a:pt x="111868" y="34274"/>
                    </a:lnTo>
                    <a:lnTo>
                      <a:pt x="111868"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67">
                <a:extLst>
                  <a:ext uri="{FF2B5EF4-FFF2-40B4-BE49-F238E27FC236}">
                    <a16:creationId xmlns:a16="http://schemas.microsoft.com/office/drawing/2014/main" id="{AD971A67-1E4D-3FF2-92D6-03C7F2EC9F64}"/>
                  </a:ext>
                </a:extLst>
              </p:cNvPr>
              <p:cNvSpPr/>
              <p:nvPr/>
            </p:nvSpPr>
            <p:spPr>
              <a:xfrm>
                <a:off x="9274164" y="5306649"/>
                <a:ext cx="251703" cy="244679"/>
              </a:xfrm>
              <a:custGeom>
                <a:avLst/>
                <a:gdLst>
                  <a:gd name="connsiteX0" fmla="*/ 105590 w 251703"/>
                  <a:gd name="connsiteY0" fmla="*/ 244679 h 244679"/>
                  <a:gd name="connsiteX1" fmla="*/ 34721 w 251703"/>
                  <a:gd name="connsiteY1" fmla="*/ 40368 h 244679"/>
                  <a:gd name="connsiteX2" fmla="*/ 33389 w 251703"/>
                  <a:gd name="connsiteY2" fmla="*/ 40368 h 244679"/>
                  <a:gd name="connsiteX3" fmla="*/ 36243 w 251703"/>
                  <a:gd name="connsiteY3" fmla="*/ 125672 h 244679"/>
                  <a:gd name="connsiteX4" fmla="*/ 36243 w 251703"/>
                  <a:gd name="connsiteY4" fmla="*/ 244679 h 244679"/>
                  <a:gd name="connsiteX5" fmla="*/ 0 w 251703"/>
                  <a:gd name="connsiteY5" fmla="*/ 244679 h 244679"/>
                  <a:gd name="connsiteX6" fmla="*/ 0 w 251703"/>
                  <a:gd name="connsiteY6" fmla="*/ 0 h 244679"/>
                  <a:gd name="connsiteX7" fmla="*/ 56315 w 251703"/>
                  <a:gd name="connsiteY7" fmla="*/ 0 h 244679"/>
                  <a:gd name="connsiteX8" fmla="*/ 124235 w 251703"/>
                  <a:gd name="connsiteY8" fmla="*/ 194601 h 244679"/>
                  <a:gd name="connsiteX9" fmla="*/ 125282 w 251703"/>
                  <a:gd name="connsiteY9" fmla="*/ 194601 h 244679"/>
                  <a:gd name="connsiteX10" fmla="*/ 195199 w 251703"/>
                  <a:gd name="connsiteY10" fmla="*/ 0 h 244679"/>
                  <a:gd name="connsiteX11" fmla="*/ 251704 w 251703"/>
                  <a:gd name="connsiteY11" fmla="*/ 0 h 244679"/>
                  <a:gd name="connsiteX12" fmla="*/ 251704 w 251703"/>
                  <a:gd name="connsiteY12" fmla="*/ 244679 h 244679"/>
                  <a:gd name="connsiteX13" fmla="*/ 213083 w 251703"/>
                  <a:gd name="connsiteY13" fmla="*/ 244679 h 244679"/>
                  <a:gd name="connsiteX14" fmla="*/ 213083 w 251703"/>
                  <a:gd name="connsiteY14" fmla="*/ 123673 h 244679"/>
                  <a:gd name="connsiteX15" fmla="*/ 214034 w 251703"/>
                  <a:gd name="connsiteY15" fmla="*/ 76165 h 244679"/>
                  <a:gd name="connsiteX16" fmla="*/ 215651 w 251703"/>
                  <a:gd name="connsiteY16" fmla="*/ 40653 h 244679"/>
                  <a:gd name="connsiteX17" fmla="*/ 214319 w 251703"/>
                  <a:gd name="connsiteY17" fmla="*/ 40653 h 244679"/>
                  <a:gd name="connsiteX18" fmla="*/ 140882 w 251703"/>
                  <a:gd name="connsiteY18" fmla="*/ 244679 h 244679"/>
                  <a:gd name="connsiteX19" fmla="*/ 105590 w 251703"/>
                  <a:gd name="connsiteY19"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1703" h="244679">
                    <a:moveTo>
                      <a:pt x="105590" y="244679"/>
                    </a:moveTo>
                    <a:lnTo>
                      <a:pt x="34721" y="40368"/>
                    </a:lnTo>
                    <a:lnTo>
                      <a:pt x="33389" y="40368"/>
                    </a:lnTo>
                    <a:cubicBezTo>
                      <a:pt x="35292" y="70738"/>
                      <a:pt x="36243" y="99205"/>
                      <a:pt x="36243" y="125672"/>
                    </a:cubicBezTo>
                    <a:lnTo>
                      <a:pt x="36243" y="244679"/>
                    </a:lnTo>
                    <a:lnTo>
                      <a:pt x="0" y="244679"/>
                    </a:lnTo>
                    <a:lnTo>
                      <a:pt x="0" y="0"/>
                    </a:lnTo>
                    <a:lnTo>
                      <a:pt x="56315" y="0"/>
                    </a:lnTo>
                    <a:lnTo>
                      <a:pt x="124235" y="194601"/>
                    </a:lnTo>
                    <a:lnTo>
                      <a:pt x="125282" y="194601"/>
                    </a:lnTo>
                    <a:lnTo>
                      <a:pt x="195199" y="0"/>
                    </a:lnTo>
                    <a:lnTo>
                      <a:pt x="251704" y="0"/>
                    </a:lnTo>
                    <a:lnTo>
                      <a:pt x="251704" y="244679"/>
                    </a:lnTo>
                    <a:lnTo>
                      <a:pt x="213083" y="244679"/>
                    </a:lnTo>
                    <a:lnTo>
                      <a:pt x="213083" y="123673"/>
                    </a:lnTo>
                    <a:cubicBezTo>
                      <a:pt x="213083" y="111486"/>
                      <a:pt x="213368" y="95682"/>
                      <a:pt x="214034" y="76165"/>
                    </a:cubicBezTo>
                    <a:cubicBezTo>
                      <a:pt x="214605" y="56648"/>
                      <a:pt x="215175" y="44842"/>
                      <a:pt x="215651" y="40653"/>
                    </a:cubicBezTo>
                    <a:lnTo>
                      <a:pt x="214319" y="40653"/>
                    </a:lnTo>
                    <a:lnTo>
                      <a:pt x="140882" y="244679"/>
                    </a:lnTo>
                    <a:lnTo>
                      <a:pt x="105590"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Nexa Book" panose="00000400000000000000" pitchFamily="50" charset="0"/>
                  <a:ea typeface="+mn-ea"/>
                  <a:cs typeface="+mn-cs"/>
                </a:endParaRPr>
              </a:p>
            </p:txBody>
          </p:sp>
        </p:grpSp>
      </p:grpSp>
    </p:spTree>
    <p:extLst>
      <p:ext uri="{BB962C8B-B14F-4D97-AF65-F5344CB8AC3E}">
        <p14:creationId xmlns:p14="http://schemas.microsoft.com/office/powerpoint/2010/main" val="272773844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2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343F83E-1A13-C075-21D4-CA54EC8457E1}"/>
              </a:ext>
            </a:extLst>
          </p:cNvPr>
          <p:cNvGraphicFramePr>
            <a:graphicFrameLocks noChangeAspect="1"/>
          </p:cNvGraphicFramePr>
          <p:nvPr>
            <p:custDataLst>
              <p:tags r:id="rId1"/>
            </p:custDataLst>
            <p:extLst>
              <p:ext uri="{D42A27DB-BD31-4B8C-83A1-F6EECF244321}">
                <p14:modId xmlns:p14="http://schemas.microsoft.com/office/powerpoint/2010/main" val="294310066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6343F83E-1A13-C075-21D4-CA54EC8457E1}"/>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Placeholder 14">
            <a:extLst>
              <a:ext uri="{FF2B5EF4-FFF2-40B4-BE49-F238E27FC236}">
                <a16:creationId xmlns:a16="http://schemas.microsoft.com/office/drawing/2014/main" id="{B3F0EF55-C092-758F-6D82-988CE8929335}"/>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0" y="0"/>
            <a:ext cx="9144000" cy="5143500"/>
          </a:xfrm>
          <a:prstGeom prst="rect">
            <a:avLst/>
          </a:prstGeom>
          <a:noFill/>
        </p:spPr>
      </p:pic>
      <p:pic>
        <p:nvPicPr>
          <p:cNvPr id="12" name="Picture 11">
            <a:extLst>
              <a:ext uri="{FF2B5EF4-FFF2-40B4-BE49-F238E27FC236}">
                <a16:creationId xmlns:a16="http://schemas.microsoft.com/office/drawing/2014/main" id="{533F1119-4CF8-6152-40E1-35C2E16EBF12}"/>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r="-173"/>
          <a:stretch/>
        </p:blipFill>
        <p:spPr>
          <a:xfrm>
            <a:off x="5765648" y="1"/>
            <a:ext cx="3383157" cy="5142476"/>
          </a:xfrm>
          <a:custGeom>
            <a:avLst/>
            <a:gdLst>
              <a:gd name="connsiteX0" fmla="*/ 1106060 w 4510876"/>
              <a:gd name="connsiteY0" fmla="*/ 0 h 6852540"/>
              <a:gd name="connsiteX1" fmla="*/ 4510876 w 4510876"/>
              <a:gd name="connsiteY1" fmla="*/ 0 h 6852540"/>
              <a:gd name="connsiteX2" fmla="*/ 4510876 w 4510876"/>
              <a:gd name="connsiteY2" fmla="*/ 6852540 h 6852540"/>
              <a:gd name="connsiteX3" fmla="*/ 0 w 4510876"/>
              <a:gd name="connsiteY3" fmla="*/ 6852540 h 6852540"/>
              <a:gd name="connsiteX4" fmla="*/ 166006 w 4510876"/>
              <a:gd name="connsiteY4" fmla="*/ 5824052 h 6852540"/>
              <a:gd name="connsiteX5" fmla="*/ 924186 w 4510876"/>
              <a:gd name="connsiteY5" fmla="*/ 5824052 h 6852540"/>
              <a:gd name="connsiteX6" fmla="*/ 924186 w 4510876"/>
              <a:gd name="connsiteY6" fmla="*/ 5824051 h 6852540"/>
              <a:gd name="connsiteX7" fmla="*/ 166006 w 4510876"/>
              <a:gd name="connsiteY7" fmla="*/ 5824051 h 6852540"/>
              <a:gd name="connsiteX8" fmla="*/ 1106059 w 4510876"/>
              <a:gd name="connsiteY8" fmla="*/ 2 h 6852540"/>
              <a:gd name="connsiteX9" fmla="*/ 1633976 w 4510876"/>
              <a:gd name="connsiteY9" fmla="*/ 2 h 6852540"/>
              <a:gd name="connsiteX10" fmla="*/ 1696535 w 4510876"/>
              <a:gd name="connsiteY10" fmla="*/ 8479 h 6852540"/>
              <a:gd name="connsiteX11" fmla="*/ 1696535 w 4510876"/>
              <a:gd name="connsiteY11" fmla="*/ 8478 h 6852540"/>
              <a:gd name="connsiteX12" fmla="*/ 1633976 w 4510876"/>
              <a:gd name="connsiteY12" fmla="*/ 1 h 6852540"/>
              <a:gd name="connsiteX13" fmla="*/ 1106059 w 4510876"/>
              <a:gd name="connsiteY13" fmla="*/ 1 h 6852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0876" h="6852540">
                <a:moveTo>
                  <a:pt x="1106060" y="0"/>
                </a:moveTo>
                <a:lnTo>
                  <a:pt x="4510876" y="0"/>
                </a:lnTo>
                <a:lnTo>
                  <a:pt x="4510876" y="6852540"/>
                </a:lnTo>
                <a:lnTo>
                  <a:pt x="0" y="6852540"/>
                </a:lnTo>
                <a:lnTo>
                  <a:pt x="166006" y="5824052"/>
                </a:lnTo>
                <a:lnTo>
                  <a:pt x="924186" y="5824052"/>
                </a:lnTo>
                <a:lnTo>
                  <a:pt x="924186" y="5824051"/>
                </a:lnTo>
                <a:lnTo>
                  <a:pt x="166006" y="5824051"/>
                </a:lnTo>
                <a:lnTo>
                  <a:pt x="1106059" y="2"/>
                </a:lnTo>
                <a:lnTo>
                  <a:pt x="1633976" y="2"/>
                </a:lnTo>
                <a:lnTo>
                  <a:pt x="1696535" y="8479"/>
                </a:lnTo>
                <a:lnTo>
                  <a:pt x="1696535" y="8478"/>
                </a:lnTo>
                <a:lnTo>
                  <a:pt x="1633976" y="1"/>
                </a:lnTo>
                <a:lnTo>
                  <a:pt x="1106059"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71651"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D420AA29-6925-0E75-DE4F-A5A616C94784}"/>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C9D8BEF9-9DBE-8FFC-8289-14C491245EBC}"/>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21AD1B06-0F25-3DC0-8526-59F58BDC5D62}"/>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79E325DC-6730-7E23-0246-28AB11E344A6}"/>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7F51C4D8-905E-8172-A517-7449054E613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84971D66-E563-74ED-ED65-B08F2EEFBF9F}"/>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0" name="Freeform 72">
                <a:extLst>
                  <a:ext uri="{FF2B5EF4-FFF2-40B4-BE49-F238E27FC236}">
                    <a16:creationId xmlns:a16="http://schemas.microsoft.com/office/drawing/2014/main" id="{1AACB546-8E11-EEAF-C0D5-1D2389009E42}"/>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1" name="Freeform 73">
                <a:extLst>
                  <a:ext uri="{FF2B5EF4-FFF2-40B4-BE49-F238E27FC236}">
                    <a16:creationId xmlns:a16="http://schemas.microsoft.com/office/drawing/2014/main" id="{FF81A8C1-1CBE-EE9E-8411-BD0B73402478}"/>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5874C1FF-2BEA-20C2-84B6-DA00D99691CE}"/>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B3CF291B-2F1D-AC68-AFE3-703AE1A8286F}"/>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4B03B834-EC1E-770E-3979-DB07510DD838}"/>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83380788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19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343F83E-1A13-C075-21D4-CA54EC8457E1}"/>
              </a:ext>
            </a:extLst>
          </p:cNvPr>
          <p:cNvGraphicFramePr>
            <a:graphicFrameLocks noChangeAspect="1"/>
          </p:cNvGraphicFramePr>
          <p:nvPr>
            <p:custDataLst>
              <p:tags r:id="rId1"/>
            </p:custDataLst>
            <p:extLst>
              <p:ext uri="{D42A27DB-BD31-4B8C-83A1-F6EECF244321}">
                <p14:modId xmlns:p14="http://schemas.microsoft.com/office/powerpoint/2010/main" val="145131686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6343F83E-1A13-C075-21D4-CA54EC8457E1}"/>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4FAEA7E2-B248-9E2A-DC0F-A64B71A43E35}"/>
              </a:ext>
            </a:extLst>
          </p:cNvPr>
          <p:cNvSpPr/>
          <p:nvPr/>
        </p:nvSpPr>
        <p:spPr>
          <a:xfrm flipV="1">
            <a:off x="298174" y="784685"/>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0" name="Picture 19" descr="A group of people raising their hands&#10;&#10;Description automatically generated">
            <a:extLst>
              <a:ext uri="{FF2B5EF4-FFF2-40B4-BE49-F238E27FC236}">
                <a16:creationId xmlns:a16="http://schemas.microsoft.com/office/drawing/2014/main" id="{5DB2EADE-3520-D1BC-5EB4-C08ED7CAF3C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888" y="0"/>
            <a:ext cx="9144000" cy="5148519"/>
          </a:xfrm>
          <a:prstGeom prst="rect">
            <a:avLst/>
          </a:prstGeom>
        </p:spPr>
      </p:pic>
      <p:pic>
        <p:nvPicPr>
          <p:cNvPr id="10" name="Picture 9" descr="A group of people raising their hands&#10;&#10;Description automatically generated">
            <a:extLst>
              <a:ext uri="{FF2B5EF4-FFF2-40B4-BE49-F238E27FC236}">
                <a16:creationId xmlns:a16="http://schemas.microsoft.com/office/drawing/2014/main" id="{C0639A6D-5603-F1B8-1C01-F33F579004B0}"/>
              </a:ext>
            </a:extLst>
          </p:cNvPr>
          <p:cNvPicPr>
            <a:picLocks noChangeAspect="1"/>
          </p:cNvPicPr>
          <p:nvPr/>
        </p:nvPicPr>
        <p:blipFill>
          <a:blip r:embed="rId6">
            <a:extLst>
              <a:ext uri="{BEBA8EAE-BF5A-486C-A8C5-ECC9F3942E4B}">
                <a14:imgProps xmlns:a14="http://schemas.microsoft.com/office/drawing/2010/main">
                  <a14:imgLayer r:embed="rId7">
                    <a14:imgEffect>
                      <a14:artisticBlur radius="40"/>
                    </a14:imgEffect>
                  </a14:imgLayer>
                </a14:imgProps>
              </a:ext>
              <a:ext uri="{28A0092B-C50C-407E-A947-70E740481C1C}">
                <a14:useLocalDpi xmlns:a14="http://schemas.microsoft.com/office/drawing/2010/main" val="0"/>
              </a:ext>
            </a:extLst>
          </a:blip>
          <a:srcRect l="62806" r="131" b="50"/>
          <a:stretch>
            <a:fillRect/>
          </a:stretch>
        </p:blipFill>
        <p:spPr>
          <a:xfrm>
            <a:off x="5742976" y="0"/>
            <a:ext cx="3389017" cy="5145940"/>
          </a:xfrm>
          <a:custGeom>
            <a:avLst/>
            <a:gdLst>
              <a:gd name="connsiteX0" fmla="*/ 830601 w 3389017"/>
              <a:gd name="connsiteY0" fmla="*/ 0 h 5145940"/>
              <a:gd name="connsiteX1" fmla="*/ 3389017 w 3389017"/>
              <a:gd name="connsiteY1" fmla="*/ 0 h 5145940"/>
              <a:gd name="connsiteX2" fmla="*/ 3389017 w 3389017"/>
              <a:gd name="connsiteY2" fmla="*/ 5145940 h 5145940"/>
              <a:gd name="connsiteX3" fmla="*/ 422868 w 3389017"/>
              <a:gd name="connsiteY3" fmla="*/ 5145940 h 5145940"/>
              <a:gd name="connsiteX4" fmla="*/ 426404 w 3389017"/>
              <a:gd name="connsiteY4" fmla="*/ 5143692 h 5145940"/>
              <a:gd name="connsiteX5" fmla="*/ 426403 w 3389017"/>
              <a:gd name="connsiteY5" fmla="*/ 5143692 h 5145940"/>
              <a:gd name="connsiteX6" fmla="*/ 422867 w 3389017"/>
              <a:gd name="connsiteY6" fmla="*/ 5145940 h 5145940"/>
              <a:gd name="connsiteX7" fmla="*/ 0 w 3389017"/>
              <a:gd name="connsiteY7" fmla="*/ 5145940 h 5145940"/>
              <a:gd name="connsiteX8" fmla="*/ 125560 w 3389017"/>
              <a:gd name="connsiteY8" fmla="*/ 4368039 h 5145940"/>
              <a:gd name="connsiteX9" fmla="*/ 694195 w 3389017"/>
              <a:gd name="connsiteY9" fmla="*/ 4368039 h 5145940"/>
              <a:gd name="connsiteX10" fmla="*/ 694195 w 3389017"/>
              <a:gd name="connsiteY10" fmla="*/ 4368039 h 5145940"/>
              <a:gd name="connsiteX11" fmla="*/ 125560 w 3389017"/>
              <a:gd name="connsiteY11" fmla="*/ 4368039 h 5145940"/>
              <a:gd name="connsiteX12" fmla="*/ 830600 w 3389017"/>
              <a:gd name="connsiteY12" fmla="*/ 2 h 5145940"/>
              <a:gd name="connsiteX13" fmla="*/ 1226538 w 3389017"/>
              <a:gd name="connsiteY13" fmla="*/ 2 h 5145940"/>
              <a:gd name="connsiteX14" fmla="*/ 1273457 w 3389017"/>
              <a:gd name="connsiteY14" fmla="*/ 6359 h 5145940"/>
              <a:gd name="connsiteX15" fmla="*/ 1273457 w 3389017"/>
              <a:gd name="connsiteY15" fmla="*/ 6359 h 5145940"/>
              <a:gd name="connsiteX16" fmla="*/ 1226538 w 3389017"/>
              <a:gd name="connsiteY16" fmla="*/ 1 h 5145940"/>
              <a:gd name="connsiteX17" fmla="*/ 830600 w 3389017"/>
              <a:gd name="connsiteY17" fmla="*/ 1 h 5145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389017" h="5145940">
                <a:moveTo>
                  <a:pt x="830601" y="0"/>
                </a:moveTo>
                <a:lnTo>
                  <a:pt x="3389017" y="0"/>
                </a:lnTo>
                <a:lnTo>
                  <a:pt x="3389017" y="5145940"/>
                </a:lnTo>
                <a:lnTo>
                  <a:pt x="422868" y="5145940"/>
                </a:lnTo>
                <a:lnTo>
                  <a:pt x="426404" y="5143692"/>
                </a:lnTo>
                <a:lnTo>
                  <a:pt x="426403" y="5143692"/>
                </a:lnTo>
                <a:lnTo>
                  <a:pt x="422867" y="5145940"/>
                </a:lnTo>
                <a:lnTo>
                  <a:pt x="0" y="5145940"/>
                </a:lnTo>
                <a:lnTo>
                  <a:pt x="125560" y="4368039"/>
                </a:lnTo>
                <a:lnTo>
                  <a:pt x="694195" y="4368039"/>
                </a:lnTo>
                <a:lnTo>
                  <a:pt x="694195" y="4368039"/>
                </a:lnTo>
                <a:lnTo>
                  <a:pt x="125560" y="4368039"/>
                </a:lnTo>
                <a:lnTo>
                  <a:pt x="830600" y="2"/>
                </a:lnTo>
                <a:lnTo>
                  <a:pt x="1226538" y="2"/>
                </a:lnTo>
                <a:lnTo>
                  <a:pt x="1273457" y="6359"/>
                </a:lnTo>
                <a:lnTo>
                  <a:pt x="1273457" y="6359"/>
                </a:lnTo>
                <a:lnTo>
                  <a:pt x="1226538" y="1"/>
                </a:lnTo>
                <a:lnTo>
                  <a:pt x="830600" y="1"/>
                </a:lnTo>
                <a:close/>
              </a:path>
            </a:pathLst>
          </a:custGeom>
          <a:effectLst>
            <a:outerShdw blurRad="190500" dist="63500" dir="8100000" algn="tr" rotWithShape="0">
              <a:schemeClr val="bg2">
                <a:lumMod val="10000"/>
                <a:alpha val="40000"/>
              </a:schemeClr>
            </a:outerShdw>
          </a:effectLst>
        </p:spPr>
      </p:pic>
      <p:sp>
        <p:nvSpPr>
          <p:cNvPr id="34" name="Freeform 8">
            <a:extLst>
              <a:ext uri="{FF2B5EF4-FFF2-40B4-BE49-F238E27FC236}">
                <a16:creationId xmlns:a16="http://schemas.microsoft.com/office/drawing/2014/main" id="{C37462B5-4CED-C305-4CDB-14F6167A0C31}"/>
              </a:ext>
            </a:extLst>
          </p:cNvPr>
          <p:cNvSpPr/>
          <p:nvPr/>
        </p:nvSpPr>
        <p:spPr>
          <a:xfrm>
            <a:off x="5750095"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2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B6F0F40F-7A87-0641-28D2-4431CEB66947}"/>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4E49D8C3-DDEA-2C22-B47C-BFC8033C1761}"/>
                </a:ext>
              </a:extLst>
            </p:cNvPr>
            <p:cNvGrpSpPr/>
            <p:nvPr/>
          </p:nvGrpSpPr>
          <p:grpSpPr>
            <a:xfrm>
              <a:off x="5720269" y="2764575"/>
              <a:ext cx="1656129" cy="1882392"/>
              <a:chOff x="5720269" y="2764575"/>
              <a:chExt cx="1656129" cy="1882392"/>
            </a:xfrm>
            <a:solidFill>
              <a:schemeClr val="accent1"/>
            </a:solidFill>
          </p:grpSpPr>
          <p:grpSp>
            <p:nvGrpSpPr>
              <p:cNvPr id="22" name="Graphic 2">
                <a:extLst>
                  <a:ext uri="{FF2B5EF4-FFF2-40B4-BE49-F238E27FC236}">
                    <a16:creationId xmlns:a16="http://schemas.microsoft.com/office/drawing/2014/main" id="{5534C0B5-22DA-A3B5-C1A4-0DE5B42AF158}"/>
                  </a:ext>
                </a:extLst>
              </p:cNvPr>
              <p:cNvGrpSpPr/>
              <p:nvPr/>
            </p:nvGrpSpPr>
            <p:grpSpPr>
              <a:xfrm>
                <a:off x="5720269" y="2764575"/>
                <a:ext cx="1656129" cy="1882392"/>
                <a:chOff x="5720269" y="2764575"/>
                <a:chExt cx="1656129" cy="1882392"/>
              </a:xfrm>
              <a:solidFill>
                <a:srgbClr val="00A099"/>
              </a:solidFill>
            </p:grpSpPr>
            <p:sp>
              <p:nvSpPr>
                <p:cNvPr id="26" name="Freeform 75">
                  <a:extLst>
                    <a:ext uri="{FF2B5EF4-FFF2-40B4-BE49-F238E27FC236}">
                      <a16:creationId xmlns:a16="http://schemas.microsoft.com/office/drawing/2014/main" id="{7D8FCA43-C761-7ED2-5A67-2FEE67FE6883}"/>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Freeform 76">
                  <a:extLst>
                    <a:ext uri="{FF2B5EF4-FFF2-40B4-BE49-F238E27FC236}">
                      <a16:creationId xmlns:a16="http://schemas.microsoft.com/office/drawing/2014/main" id="{35590C9A-A0E2-9C66-D4AD-BBD006B75E87}"/>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8" name="Freeform 77">
                  <a:extLst>
                    <a:ext uri="{FF2B5EF4-FFF2-40B4-BE49-F238E27FC236}">
                      <a16:creationId xmlns:a16="http://schemas.microsoft.com/office/drawing/2014/main" id="{95383C3C-5688-DF10-E26C-3962D1EFF7E4}"/>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3" name="Freeform 72">
                <a:extLst>
                  <a:ext uri="{FF2B5EF4-FFF2-40B4-BE49-F238E27FC236}">
                    <a16:creationId xmlns:a16="http://schemas.microsoft.com/office/drawing/2014/main" id="{5F6E6026-D933-A4B4-4D20-B3B53064F74B}"/>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4" name="Freeform 73">
                <a:extLst>
                  <a:ext uri="{FF2B5EF4-FFF2-40B4-BE49-F238E27FC236}">
                    <a16:creationId xmlns:a16="http://schemas.microsoft.com/office/drawing/2014/main" id="{631D5994-75A2-B42D-3A2E-29E65495AD9D}"/>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5" name="Freeform 74">
                <a:extLst>
                  <a:ext uri="{FF2B5EF4-FFF2-40B4-BE49-F238E27FC236}">
                    <a16:creationId xmlns:a16="http://schemas.microsoft.com/office/drawing/2014/main" id="{30E8F12F-612A-5834-767F-5F1A6DEAF142}"/>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9" name="Freeform 69">
              <a:extLst>
                <a:ext uri="{FF2B5EF4-FFF2-40B4-BE49-F238E27FC236}">
                  <a16:creationId xmlns:a16="http://schemas.microsoft.com/office/drawing/2014/main" id="{8415BC24-B0C8-EF69-7972-2C7748FA2B7B}"/>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1" name="Freeform 70">
              <a:extLst>
                <a:ext uri="{FF2B5EF4-FFF2-40B4-BE49-F238E27FC236}">
                  <a16:creationId xmlns:a16="http://schemas.microsoft.com/office/drawing/2014/main" id="{CBE03CB9-BD69-FD9B-0EFD-8C56D17F313B}"/>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30184404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18_Lunch slide">
    <p:bg>
      <p:bgPr>
        <a:blipFill dpi="0" rotWithShape="1">
          <a:blip r:embed="rId3">
            <a:alphaModFix amt="51000"/>
            <a:lum/>
          </a:blip>
          <a:srcRect/>
          <a:stretch>
            <a:fillRect t="-9000" b="-9000"/>
          </a:stretch>
        </a:blipFill>
        <a:effectLst/>
      </p:bgPr>
    </p:bg>
    <p:spTree>
      <p:nvGrpSpPr>
        <p:cNvPr id="1" name=""/>
        <p:cNvGrpSpPr/>
        <p:nvPr/>
      </p:nvGrpSpPr>
      <p:grpSpPr>
        <a:xfrm>
          <a:off x="0" y="0"/>
          <a:ext cx="0" cy="0"/>
          <a:chOff x="0" y="0"/>
          <a:chExt cx="0" cy="0"/>
        </a:xfrm>
      </p:grpSpPr>
      <p:pic>
        <p:nvPicPr>
          <p:cNvPr id="5" name="Picture 4" descr="A person sitting at a desk writing on a pad&#10;&#10;Description automatically generated">
            <a:extLst>
              <a:ext uri="{FF2B5EF4-FFF2-40B4-BE49-F238E27FC236}">
                <a16:creationId xmlns:a16="http://schemas.microsoft.com/office/drawing/2014/main" id="{5E04A05E-C9DB-E76C-54AB-A6DB377D2DCC}"/>
              </a:ext>
            </a:extLst>
          </p:cNvPr>
          <p:cNvPicPr>
            <a:picLocks noChangeAspect="1"/>
          </p:cNvPicPr>
          <p:nvPr/>
        </p:nvPicPr>
        <p:blipFill rotWithShape="1">
          <a:blip r:embed="rId4">
            <a:extLst>
              <a:ext uri="{28A0092B-C50C-407E-A947-70E740481C1C}">
                <a14:useLocalDpi xmlns:a14="http://schemas.microsoft.com/office/drawing/2010/main" val="0"/>
              </a:ext>
            </a:extLst>
          </a:blip>
          <a:srcRect b="15686"/>
          <a:stretch/>
        </p:blipFill>
        <p:spPr>
          <a:xfrm flipH="1">
            <a:off x="-1" y="1"/>
            <a:ext cx="9148805" cy="5142476"/>
          </a:xfrm>
          <a:prstGeom prst="rect">
            <a:avLst/>
          </a:prstGeom>
        </p:spPr>
      </p:pic>
      <p:graphicFrame>
        <p:nvGraphicFramePr>
          <p:cNvPr id="4" name="think-cell data - do not delete" hidden="1">
            <a:extLst>
              <a:ext uri="{FF2B5EF4-FFF2-40B4-BE49-F238E27FC236}">
                <a16:creationId xmlns:a16="http://schemas.microsoft.com/office/drawing/2014/main" id="{6343F83E-1A13-C075-21D4-CA54EC8457E1}"/>
              </a:ext>
            </a:extLst>
          </p:cNvPr>
          <p:cNvGraphicFramePr>
            <a:graphicFrameLocks noChangeAspect="1"/>
          </p:cNvGraphicFramePr>
          <p:nvPr>
            <p:custDataLst>
              <p:tags r:id="rId1"/>
            </p:custDataLst>
            <p:extLst>
              <p:ext uri="{D42A27DB-BD31-4B8C-83A1-F6EECF244321}">
                <p14:modId xmlns:p14="http://schemas.microsoft.com/office/powerpoint/2010/main" val="1042445996"/>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4" name="think-cell data - do not delete" hidden="1">
                        <a:extLst>
                          <a:ext uri="{FF2B5EF4-FFF2-40B4-BE49-F238E27FC236}">
                            <a16:creationId xmlns:a16="http://schemas.microsoft.com/office/drawing/2014/main" id="{6343F83E-1A13-C075-21D4-CA54EC8457E1}"/>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grpSp>
        <p:nvGrpSpPr>
          <p:cNvPr id="2" name="Graphic 2">
            <a:extLst>
              <a:ext uri="{FF2B5EF4-FFF2-40B4-BE49-F238E27FC236}">
                <a16:creationId xmlns:a16="http://schemas.microsoft.com/office/drawing/2014/main" id="{D9E79B20-714C-1EAE-7A8C-0344666771CC}"/>
              </a:ext>
            </a:extLst>
          </p:cNvPr>
          <p:cNvGrpSpPr>
            <a:grpSpLocks noChangeAspect="1"/>
          </p:cNvGrpSpPr>
          <p:nvPr/>
        </p:nvGrpSpPr>
        <p:grpSpPr>
          <a:xfrm>
            <a:off x="4804" y="2"/>
            <a:ext cx="468178" cy="756000"/>
            <a:chOff x="4425584" y="267785"/>
            <a:chExt cx="2950814" cy="4756864"/>
          </a:xfrm>
          <a:solidFill>
            <a:schemeClr val="accent1"/>
          </a:solidFill>
        </p:grpSpPr>
        <p:grpSp>
          <p:nvGrpSpPr>
            <p:cNvPr id="3" name="Graphic 2">
              <a:extLst>
                <a:ext uri="{FF2B5EF4-FFF2-40B4-BE49-F238E27FC236}">
                  <a16:creationId xmlns:a16="http://schemas.microsoft.com/office/drawing/2014/main" id="{3C62B50B-A51D-CE83-D50B-A7E0E2297FDB}"/>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D8972664-3F3D-6A33-1CB2-13E6C1FF4D66}"/>
                  </a:ext>
                </a:extLst>
              </p:cNvPr>
              <p:cNvGrpSpPr/>
              <p:nvPr/>
            </p:nvGrpSpPr>
            <p:grpSpPr>
              <a:xfrm>
                <a:off x="5720269" y="2764575"/>
                <a:ext cx="1656129" cy="1882392"/>
                <a:chOff x="5720269" y="2764575"/>
                <a:chExt cx="1656129" cy="1882392"/>
              </a:xfrm>
              <a:solidFill>
                <a:srgbClr val="00A099"/>
              </a:solidFill>
            </p:grpSpPr>
            <p:sp>
              <p:nvSpPr>
                <p:cNvPr id="15" name="Freeform 75">
                  <a:extLst>
                    <a:ext uri="{FF2B5EF4-FFF2-40B4-BE49-F238E27FC236}">
                      <a16:creationId xmlns:a16="http://schemas.microsoft.com/office/drawing/2014/main" id="{50B08370-8E57-DD69-FADF-4A6892A5CF67}"/>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6">
                  <a:extLst>
                    <a:ext uri="{FF2B5EF4-FFF2-40B4-BE49-F238E27FC236}">
                      <a16:creationId xmlns:a16="http://schemas.microsoft.com/office/drawing/2014/main" id="{6AABF3E5-D7D4-F272-B20C-A4A646A3894D}"/>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7">
                  <a:extLst>
                    <a:ext uri="{FF2B5EF4-FFF2-40B4-BE49-F238E27FC236}">
                      <a16:creationId xmlns:a16="http://schemas.microsoft.com/office/drawing/2014/main" id="{6CDB33DC-327F-9102-AFA3-DC7612DD3AB8}"/>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0" name="Freeform 72">
                <a:extLst>
                  <a:ext uri="{FF2B5EF4-FFF2-40B4-BE49-F238E27FC236}">
                    <a16:creationId xmlns:a16="http://schemas.microsoft.com/office/drawing/2014/main" id="{4DFD4303-2053-547F-F51D-A1E57DB4C011}"/>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1" name="Freeform 73">
                <a:extLst>
                  <a:ext uri="{FF2B5EF4-FFF2-40B4-BE49-F238E27FC236}">
                    <a16:creationId xmlns:a16="http://schemas.microsoft.com/office/drawing/2014/main" id="{2B8ED043-4C6B-EECB-DA0D-9DF4A28B7CA0}"/>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4">
                <a:extLst>
                  <a:ext uri="{FF2B5EF4-FFF2-40B4-BE49-F238E27FC236}">
                    <a16:creationId xmlns:a16="http://schemas.microsoft.com/office/drawing/2014/main" id="{9343D19A-2DAF-32C0-8C73-93D69FAEBD4F}"/>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8399F4B4-098E-4780-5538-66E1ACF70055}"/>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38962A08-484B-B42F-E31B-099133D3D186}"/>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pic>
        <p:nvPicPr>
          <p:cNvPr id="19" name="Picture 18" descr="A person sitting at a desk writing on a pad&#10;&#10;Description automatically generated">
            <a:extLst>
              <a:ext uri="{FF2B5EF4-FFF2-40B4-BE49-F238E27FC236}">
                <a16:creationId xmlns:a16="http://schemas.microsoft.com/office/drawing/2014/main" id="{E58F1722-90F2-9860-EFD8-093E6D44E027}"/>
              </a:ext>
            </a:extLst>
          </p:cNvPr>
          <p:cNvPicPr>
            <a:picLocks noChangeAspect="1"/>
          </p:cNvPicPr>
          <p:nvPr/>
        </p:nvPicPr>
        <p:blipFill rotWithShape="1">
          <a:blip r:embed="rId7">
            <a:extLst>
              <a:ext uri="{BEBA8EAE-BF5A-486C-A8C5-ECC9F3942E4B}">
                <a14:imgProps xmlns:a14="http://schemas.microsoft.com/office/drawing/2010/main">
                  <a14:imgLayer r:embed="rId8">
                    <a14:imgEffect>
                      <a14:artisticBlur radius="40"/>
                    </a14:imgEffect>
                  </a14:imgLayer>
                </a14:imgProps>
              </a:ext>
              <a:ext uri="{28A0092B-C50C-407E-A947-70E740481C1C}">
                <a14:useLocalDpi xmlns:a14="http://schemas.microsoft.com/office/drawing/2010/main" val="0"/>
              </a:ext>
            </a:extLst>
          </a:blip>
          <a:srcRect l="53" r="62910" b="15686"/>
          <a:stretch/>
        </p:blipFill>
        <p:spPr>
          <a:xfrm flipH="1">
            <a:off x="5755542" y="0"/>
            <a:ext cx="3388458" cy="5142476"/>
          </a:xfrm>
          <a:custGeom>
            <a:avLst/>
            <a:gdLst>
              <a:gd name="connsiteX0" fmla="*/ 2558417 w 3388458"/>
              <a:gd name="connsiteY0" fmla="*/ 0 h 5142476"/>
              <a:gd name="connsiteX1" fmla="*/ 0 w 3388458"/>
              <a:gd name="connsiteY1" fmla="*/ 0 h 5142476"/>
              <a:gd name="connsiteX2" fmla="*/ 0 w 3388458"/>
              <a:gd name="connsiteY2" fmla="*/ 5142476 h 5142476"/>
              <a:gd name="connsiteX3" fmla="*/ 3388458 w 3388458"/>
              <a:gd name="connsiteY3" fmla="*/ 5142476 h 5142476"/>
              <a:gd name="connsiteX4" fmla="*/ 3263457 w 3388458"/>
              <a:gd name="connsiteY4" fmla="*/ 4368039 h 5142476"/>
              <a:gd name="connsiteX5" fmla="*/ 2694822 w 3388458"/>
              <a:gd name="connsiteY5" fmla="*/ 4368039 h 5142476"/>
              <a:gd name="connsiteX6" fmla="*/ 2694822 w 3388458"/>
              <a:gd name="connsiteY6" fmla="*/ 4368039 h 5142476"/>
              <a:gd name="connsiteX7" fmla="*/ 3263457 w 3388458"/>
              <a:gd name="connsiteY7" fmla="*/ 4368039 h 5142476"/>
              <a:gd name="connsiteX8" fmla="*/ 2558418 w 3388458"/>
              <a:gd name="connsiteY8" fmla="*/ 2 h 5142476"/>
              <a:gd name="connsiteX9" fmla="*/ 2162480 w 3388458"/>
              <a:gd name="connsiteY9" fmla="*/ 2 h 5142476"/>
              <a:gd name="connsiteX10" fmla="*/ 2115561 w 3388458"/>
              <a:gd name="connsiteY10" fmla="*/ 6359 h 5142476"/>
              <a:gd name="connsiteX11" fmla="*/ 2115561 w 3388458"/>
              <a:gd name="connsiteY11" fmla="*/ 6359 h 5142476"/>
              <a:gd name="connsiteX12" fmla="*/ 2162480 w 3388458"/>
              <a:gd name="connsiteY12" fmla="*/ 1 h 5142476"/>
              <a:gd name="connsiteX13" fmla="*/ 2558418 w 3388458"/>
              <a:gd name="connsiteY13" fmla="*/ 1 h 5142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388458" h="5142476">
                <a:moveTo>
                  <a:pt x="2558417" y="0"/>
                </a:moveTo>
                <a:lnTo>
                  <a:pt x="0" y="0"/>
                </a:lnTo>
                <a:lnTo>
                  <a:pt x="0" y="5142476"/>
                </a:lnTo>
                <a:lnTo>
                  <a:pt x="3388458" y="5142476"/>
                </a:lnTo>
                <a:lnTo>
                  <a:pt x="3263457" y="4368039"/>
                </a:lnTo>
                <a:lnTo>
                  <a:pt x="2694822" y="4368039"/>
                </a:lnTo>
                <a:lnTo>
                  <a:pt x="2694822" y="4368039"/>
                </a:lnTo>
                <a:lnTo>
                  <a:pt x="3263457" y="4368039"/>
                </a:lnTo>
                <a:lnTo>
                  <a:pt x="2558418" y="2"/>
                </a:lnTo>
                <a:lnTo>
                  <a:pt x="2162480" y="2"/>
                </a:lnTo>
                <a:lnTo>
                  <a:pt x="2115561" y="6359"/>
                </a:lnTo>
                <a:lnTo>
                  <a:pt x="2115561" y="6359"/>
                </a:lnTo>
                <a:lnTo>
                  <a:pt x="2162480" y="1"/>
                </a:lnTo>
                <a:lnTo>
                  <a:pt x="2558418" y="1"/>
                </a:lnTo>
                <a:close/>
              </a:path>
            </a:pathLst>
          </a:custGeom>
          <a:effectLst>
            <a:outerShdw blurRad="190500" dist="63500" dir="8100000" algn="tr" rotWithShape="0">
              <a:prstClr val="black">
                <a:alpha val="40000"/>
              </a:prstClr>
            </a:outerShdw>
          </a:effectLst>
        </p:spPr>
      </p:pic>
      <p:sp>
        <p:nvSpPr>
          <p:cNvPr id="20" name="Freeform 8">
            <a:extLst>
              <a:ext uri="{FF2B5EF4-FFF2-40B4-BE49-F238E27FC236}">
                <a16:creationId xmlns:a16="http://schemas.microsoft.com/office/drawing/2014/main" id="{4EFF3DBF-D35A-3D50-22DD-188E297BF246}"/>
              </a:ext>
            </a:extLst>
          </p:cNvPr>
          <p:cNvSpPr/>
          <p:nvPr/>
        </p:nvSpPr>
        <p:spPr>
          <a:xfrm>
            <a:off x="5757023"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18271306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3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568BEAE-D7DE-CBE6-1914-19CE660E7DA6}"/>
              </a:ext>
            </a:extLst>
          </p:cNvPr>
          <p:cNvGraphicFramePr>
            <a:graphicFrameLocks noChangeAspect="1"/>
          </p:cNvGraphicFramePr>
          <p:nvPr>
            <p:custDataLst>
              <p:tags r:id="rId1"/>
            </p:custDataLst>
            <p:extLst>
              <p:ext uri="{D42A27DB-BD31-4B8C-83A1-F6EECF244321}">
                <p14:modId xmlns:p14="http://schemas.microsoft.com/office/powerpoint/2010/main" val="226480906"/>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3568BEAE-D7DE-CBE6-1914-19CE660E7DA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DE3BCB63-9553-BF0C-3735-50DEB09D6E4D}"/>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4889" y="-2727"/>
            <a:ext cx="9153693" cy="5148952"/>
          </a:xfrm>
          <a:prstGeom prst="rect">
            <a:avLst/>
          </a:prstGeom>
          <a:noFill/>
        </p:spPr>
      </p:pic>
      <p:pic>
        <p:nvPicPr>
          <p:cNvPr id="7" name="Picture 6">
            <a:extLst>
              <a:ext uri="{FF2B5EF4-FFF2-40B4-BE49-F238E27FC236}">
                <a16:creationId xmlns:a16="http://schemas.microsoft.com/office/drawing/2014/main" id="{B0B4D884-F04B-DBC9-EFC5-B5AD9571D443}"/>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t="-126"/>
          <a:stretch/>
        </p:blipFill>
        <p:spPr>
          <a:xfrm>
            <a:off x="5759872" y="1"/>
            <a:ext cx="3384128" cy="5142476"/>
          </a:xfrm>
          <a:custGeom>
            <a:avLst/>
            <a:gdLst>
              <a:gd name="connsiteX0" fmla="*/ 1105105 w 4512171"/>
              <a:gd name="connsiteY0" fmla="*/ 0 h 6846621"/>
              <a:gd name="connsiteX1" fmla="*/ 4512171 w 4512171"/>
              <a:gd name="connsiteY1" fmla="*/ 0 h 6846621"/>
              <a:gd name="connsiteX2" fmla="*/ 4512171 w 4512171"/>
              <a:gd name="connsiteY2" fmla="*/ 6846621 h 6846621"/>
              <a:gd name="connsiteX3" fmla="*/ 563823 w 4512171"/>
              <a:gd name="connsiteY3" fmla="*/ 6846621 h 6846621"/>
              <a:gd name="connsiteX4" fmla="*/ 568538 w 4512171"/>
              <a:gd name="connsiteY4" fmla="*/ 6843623 h 6846621"/>
              <a:gd name="connsiteX5" fmla="*/ 568537 w 4512171"/>
              <a:gd name="connsiteY5" fmla="*/ 6843623 h 6846621"/>
              <a:gd name="connsiteX6" fmla="*/ 563822 w 4512171"/>
              <a:gd name="connsiteY6" fmla="*/ 6846621 h 6846621"/>
              <a:gd name="connsiteX7" fmla="*/ 0 w 4512171"/>
              <a:gd name="connsiteY7" fmla="*/ 6846621 h 6846621"/>
              <a:gd name="connsiteX8" fmla="*/ 167413 w 4512171"/>
              <a:gd name="connsiteY8" fmla="*/ 5809420 h 6846621"/>
              <a:gd name="connsiteX9" fmla="*/ 925593 w 4512171"/>
              <a:gd name="connsiteY9" fmla="*/ 5809420 h 6846621"/>
              <a:gd name="connsiteX10" fmla="*/ 925593 w 4512171"/>
              <a:gd name="connsiteY10" fmla="*/ 5809419 h 6846621"/>
              <a:gd name="connsiteX11" fmla="*/ 167413 w 4512171"/>
              <a:gd name="connsiteY11" fmla="*/ 5809419 h 6846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12171" h="6846621">
                <a:moveTo>
                  <a:pt x="1105105" y="0"/>
                </a:moveTo>
                <a:lnTo>
                  <a:pt x="4512171" y="0"/>
                </a:lnTo>
                <a:lnTo>
                  <a:pt x="4512171" y="6846621"/>
                </a:lnTo>
                <a:lnTo>
                  <a:pt x="563823" y="6846621"/>
                </a:lnTo>
                <a:lnTo>
                  <a:pt x="568538" y="6843623"/>
                </a:lnTo>
                <a:lnTo>
                  <a:pt x="568537" y="6843623"/>
                </a:lnTo>
                <a:lnTo>
                  <a:pt x="563822" y="6846621"/>
                </a:lnTo>
                <a:lnTo>
                  <a:pt x="0" y="6846621"/>
                </a:lnTo>
                <a:lnTo>
                  <a:pt x="167413" y="5809420"/>
                </a:lnTo>
                <a:lnTo>
                  <a:pt x="925593" y="5809420"/>
                </a:lnTo>
                <a:lnTo>
                  <a:pt x="925593" y="5809419"/>
                </a:lnTo>
                <a:lnTo>
                  <a:pt x="167413" y="5809419"/>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4984"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754C49C1-8AA7-0F1F-BDD2-D20FCD5EFE55}"/>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95A21216-ED13-9A75-4FCA-41458F1B4208}"/>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529C4750-0D70-9A2B-CCBC-6F21FCEE45D3}"/>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F5420FF3-6ECF-592C-9FFF-9EA3F12E618B}"/>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05A1EC57-8130-ECEA-8EA2-E1B71B53345E}"/>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7010A060-8C35-0A17-6A5F-11FA1E877719}"/>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C2B15FCE-EE3A-F834-536C-2549FD0CFEB7}"/>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1134AF12-4BC8-54C2-26AD-EB2B1E3CC4D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47002E28-7B97-0FEA-16ED-BEB9CCF0F2CB}"/>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F9F8651F-4ED1-03A2-5830-4D981C923467}"/>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69900B49-A9F5-061C-E96B-BA60DCDB487A}"/>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426885258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4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E2C11C0-6426-DFDF-852F-24881F59EC81}"/>
              </a:ext>
            </a:extLst>
          </p:cNvPr>
          <p:cNvGraphicFramePr>
            <a:graphicFrameLocks noChangeAspect="1"/>
          </p:cNvGraphicFramePr>
          <p:nvPr>
            <p:custDataLst>
              <p:tags r:id="rId1"/>
            </p:custDataLst>
            <p:extLst>
              <p:ext uri="{D42A27DB-BD31-4B8C-83A1-F6EECF244321}">
                <p14:modId xmlns:p14="http://schemas.microsoft.com/office/powerpoint/2010/main" val="62407986"/>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5E2C11C0-6426-DFDF-852F-24881F59EC81}"/>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Placeholder 14">
            <a:extLst>
              <a:ext uri="{FF2B5EF4-FFF2-40B4-BE49-F238E27FC236}">
                <a16:creationId xmlns:a16="http://schemas.microsoft.com/office/drawing/2014/main" id="{584B5DF4-86BD-4202-1277-BA2E5965C37E}"/>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a:noFill/>
        </p:spPr>
      </p:pic>
      <p:pic>
        <p:nvPicPr>
          <p:cNvPr id="6" name="Picture 5">
            <a:extLst>
              <a:ext uri="{FF2B5EF4-FFF2-40B4-BE49-F238E27FC236}">
                <a16:creationId xmlns:a16="http://schemas.microsoft.com/office/drawing/2014/main" id="{3233FA53-EEF8-0122-15A9-EC14690F4E38}"/>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9986" y="0"/>
            <a:ext cx="3379127" cy="5143500"/>
          </a:xfrm>
          <a:custGeom>
            <a:avLst/>
            <a:gdLst>
              <a:gd name="connsiteX0" fmla="*/ 1106941 w 4505502"/>
              <a:gd name="connsiteY0" fmla="*/ 0 h 6858000"/>
              <a:gd name="connsiteX1" fmla="*/ 1647112 w 4505502"/>
              <a:gd name="connsiteY1" fmla="*/ 0 h 6858000"/>
              <a:gd name="connsiteX2" fmla="*/ 1697679 w 4505502"/>
              <a:gd name="connsiteY2" fmla="*/ 6852 h 6858000"/>
              <a:gd name="connsiteX3" fmla="*/ 1697679 w 4505502"/>
              <a:gd name="connsiteY3" fmla="*/ 6851 h 6858000"/>
              <a:gd name="connsiteX4" fmla="*/ 1647120 w 4505502"/>
              <a:gd name="connsiteY4" fmla="*/ 0 h 6858000"/>
              <a:gd name="connsiteX5" fmla="*/ 4505502 w 4505502"/>
              <a:gd name="connsiteY5" fmla="*/ 0 h 6858000"/>
              <a:gd name="connsiteX6" fmla="*/ 4505502 w 4505502"/>
              <a:gd name="connsiteY6" fmla="*/ 6858000 h 6858000"/>
              <a:gd name="connsiteX7" fmla="*/ 566118 w 4505502"/>
              <a:gd name="connsiteY7" fmla="*/ 6858000 h 6858000"/>
              <a:gd name="connsiteX8" fmla="*/ 568275 w 4505502"/>
              <a:gd name="connsiteY8" fmla="*/ 6856628 h 6858000"/>
              <a:gd name="connsiteX9" fmla="*/ 568274 w 4505502"/>
              <a:gd name="connsiteY9" fmla="*/ 6856628 h 6858000"/>
              <a:gd name="connsiteX10" fmla="*/ 566117 w 4505502"/>
              <a:gd name="connsiteY10" fmla="*/ 6858000 h 6858000"/>
              <a:gd name="connsiteX11" fmla="*/ 0 w 4505502"/>
              <a:gd name="connsiteY11" fmla="*/ 6858000 h 6858000"/>
              <a:gd name="connsiteX12" fmla="*/ 167150 w 4505502"/>
              <a:gd name="connsiteY12" fmla="*/ 5822425 h 6858000"/>
              <a:gd name="connsiteX13" fmla="*/ 925330 w 4505502"/>
              <a:gd name="connsiteY13" fmla="*/ 5822425 h 6858000"/>
              <a:gd name="connsiteX14" fmla="*/ 925330 w 4505502"/>
              <a:gd name="connsiteY14" fmla="*/ 5822424 h 6858000"/>
              <a:gd name="connsiteX15" fmla="*/ 167150 w 4505502"/>
              <a:gd name="connsiteY15" fmla="*/ 582242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505502" h="6858000">
                <a:moveTo>
                  <a:pt x="1106941" y="0"/>
                </a:moveTo>
                <a:lnTo>
                  <a:pt x="1647112" y="0"/>
                </a:lnTo>
                <a:lnTo>
                  <a:pt x="1697679" y="6852"/>
                </a:lnTo>
                <a:lnTo>
                  <a:pt x="1697679" y="6851"/>
                </a:lnTo>
                <a:lnTo>
                  <a:pt x="1647120" y="0"/>
                </a:lnTo>
                <a:lnTo>
                  <a:pt x="4505502" y="0"/>
                </a:lnTo>
                <a:lnTo>
                  <a:pt x="4505502" y="6858000"/>
                </a:lnTo>
                <a:lnTo>
                  <a:pt x="566118" y="6858000"/>
                </a:lnTo>
                <a:lnTo>
                  <a:pt x="568275" y="6856628"/>
                </a:lnTo>
                <a:lnTo>
                  <a:pt x="568274" y="6856628"/>
                </a:lnTo>
                <a:lnTo>
                  <a:pt x="566117" y="6858000"/>
                </a:lnTo>
                <a:lnTo>
                  <a:pt x="0" y="6858000"/>
                </a:lnTo>
                <a:lnTo>
                  <a:pt x="167150" y="5822425"/>
                </a:lnTo>
                <a:lnTo>
                  <a:pt x="925330" y="5822425"/>
                </a:lnTo>
                <a:lnTo>
                  <a:pt x="925330" y="5822424"/>
                </a:lnTo>
                <a:lnTo>
                  <a:pt x="167150" y="5822424"/>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22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7CABED26-7966-83BC-CD38-D0FA0ED64687}"/>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239349BB-20C6-BC4C-ED58-815C227C7286}"/>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6C330FD3-37BA-1C25-3EE2-09801A8DD612}"/>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59E18091-2FC9-C880-98E1-E9A70B90594A}"/>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6255805A-685D-617D-2708-C3174AF447CE}"/>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E00EAD29-3933-B482-285C-895D8109346C}"/>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7E889D02-D7DA-90AC-0292-026985CAC566}"/>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7C92E67A-B504-BBC0-F0D8-D0AF818B23F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D5E4B536-3123-2FEC-A986-FC6438E9783E}"/>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FA6F6697-5756-A2CA-F234-E7871106B6C1}"/>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202CD2B1-3C58-D197-3055-CC1B20A047FB}"/>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81152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5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DA86ACB-53DD-D422-B321-A200D26EAF4F}"/>
              </a:ext>
            </a:extLst>
          </p:cNvPr>
          <p:cNvGraphicFramePr>
            <a:graphicFrameLocks noChangeAspect="1"/>
          </p:cNvGraphicFramePr>
          <p:nvPr>
            <p:custDataLst>
              <p:tags r:id="rId1"/>
            </p:custDataLst>
            <p:extLst>
              <p:ext uri="{D42A27DB-BD31-4B8C-83A1-F6EECF244321}">
                <p14:modId xmlns:p14="http://schemas.microsoft.com/office/powerpoint/2010/main" val="540723586"/>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8DA86ACB-53DD-D422-B321-A200D26EAF4F}"/>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Placeholder 8">
            <a:extLst>
              <a:ext uri="{FF2B5EF4-FFF2-40B4-BE49-F238E27FC236}">
                <a16:creationId xmlns:a16="http://schemas.microsoft.com/office/drawing/2014/main" id="{34A8CF12-0BFB-864B-4D28-45305DDC96B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pic>
        <p:nvPicPr>
          <p:cNvPr id="20" name="Picture 19">
            <a:extLst>
              <a:ext uri="{FF2B5EF4-FFF2-40B4-BE49-F238E27FC236}">
                <a16:creationId xmlns:a16="http://schemas.microsoft.com/office/drawing/2014/main" id="{7C356C6E-B2B5-7A95-5A61-3DAF040F4DCB}"/>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60699" y="0"/>
            <a:ext cx="3383302" cy="5143500"/>
          </a:xfrm>
          <a:custGeom>
            <a:avLst/>
            <a:gdLst>
              <a:gd name="connsiteX0" fmla="*/ 1106941 w 4511069"/>
              <a:gd name="connsiteY0" fmla="*/ 0 h 6858000"/>
              <a:gd name="connsiteX1" fmla="*/ 1639262 w 4511069"/>
              <a:gd name="connsiteY1" fmla="*/ 0 h 6858000"/>
              <a:gd name="connsiteX2" fmla="*/ 1697511 w 4511069"/>
              <a:gd name="connsiteY2" fmla="*/ 7893 h 6858000"/>
              <a:gd name="connsiteX3" fmla="*/ 1697511 w 4511069"/>
              <a:gd name="connsiteY3" fmla="*/ 7892 h 6858000"/>
              <a:gd name="connsiteX4" fmla="*/ 1639269 w 4511069"/>
              <a:gd name="connsiteY4" fmla="*/ 0 h 6858000"/>
              <a:gd name="connsiteX5" fmla="*/ 4511069 w 4511069"/>
              <a:gd name="connsiteY5" fmla="*/ 0 h 6858000"/>
              <a:gd name="connsiteX6" fmla="*/ 4511069 w 4511069"/>
              <a:gd name="connsiteY6" fmla="*/ 6858000 h 6858000"/>
              <a:gd name="connsiteX7" fmla="*/ 567587 w 4511069"/>
              <a:gd name="connsiteY7" fmla="*/ 6858000 h 6858000"/>
              <a:gd name="connsiteX8" fmla="*/ 568107 w 4511069"/>
              <a:gd name="connsiteY8" fmla="*/ 6857669 h 6858000"/>
              <a:gd name="connsiteX9" fmla="*/ 568106 w 4511069"/>
              <a:gd name="connsiteY9" fmla="*/ 6857669 h 6858000"/>
              <a:gd name="connsiteX10" fmla="*/ 567586 w 4511069"/>
              <a:gd name="connsiteY10" fmla="*/ 6858000 h 6858000"/>
              <a:gd name="connsiteX11" fmla="*/ 0 w 4511069"/>
              <a:gd name="connsiteY11" fmla="*/ 6858000 h 6858000"/>
              <a:gd name="connsiteX12" fmla="*/ 166982 w 4511069"/>
              <a:gd name="connsiteY12" fmla="*/ 5823466 h 6858000"/>
              <a:gd name="connsiteX13" fmla="*/ 925162 w 4511069"/>
              <a:gd name="connsiteY13" fmla="*/ 5823466 h 6858000"/>
              <a:gd name="connsiteX14" fmla="*/ 925162 w 4511069"/>
              <a:gd name="connsiteY14" fmla="*/ 5823465 h 6858000"/>
              <a:gd name="connsiteX15" fmla="*/ 166982 w 4511069"/>
              <a:gd name="connsiteY15" fmla="*/ 5823465 h 6858000"/>
              <a:gd name="connsiteX16" fmla="*/ 1106941 w 4511069"/>
              <a:gd name="connsiteY1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11069" h="6858000">
                <a:moveTo>
                  <a:pt x="1106941" y="0"/>
                </a:moveTo>
                <a:lnTo>
                  <a:pt x="1639262" y="0"/>
                </a:lnTo>
                <a:lnTo>
                  <a:pt x="1697511" y="7893"/>
                </a:lnTo>
                <a:lnTo>
                  <a:pt x="1697511" y="7892"/>
                </a:lnTo>
                <a:lnTo>
                  <a:pt x="1639269" y="0"/>
                </a:lnTo>
                <a:lnTo>
                  <a:pt x="4511069" y="0"/>
                </a:lnTo>
                <a:lnTo>
                  <a:pt x="4511069" y="6858000"/>
                </a:lnTo>
                <a:lnTo>
                  <a:pt x="567587" y="6858000"/>
                </a:lnTo>
                <a:lnTo>
                  <a:pt x="568107" y="6857669"/>
                </a:lnTo>
                <a:lnTo>
                  <a:pt x="568106" y="6857669"/>
                </a:lnTo>
                <a:lnTo>
                  <a:pt x="567586" y="6858000"/>
                </a:lnTo>
                <a:lnTo>
                  <a:pt x="0" y="6858000"/>
                </a:lnTo>
                <a:lnTo>
                  <a:pt x="166982" y="5823466"/>
                </a:lnTo>
                <a:lnTo>
                  <a:pt x="925162" y="5823466"/>
                </a:lnTo>
                <a:lnTo>
                  <a:pt x="925162" y="5823465"/>
                </a:lnTo>
                <a:lnTo>
                  <a:pt x="166982" y="5823465"/>
                </a:lnTo>
                <a:lnTo>
                  <a:pt x="1106941" y="0"/>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820144DC-C304-B32A-1CBF-DA4182FD900B}"/>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55029527-F74F-C5AB-91B9-18E81ACFCF52}"/>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B1EB0E71-2A88-117D-7FE5-296C8BB3E95C}"/>
                  </a:ext>
                </a:extLst>
              </p:cNvPr>
              <p:cNvGrpSpPr/>
              <p:nvPr/>
            </p:nvGrpSpPr>
            <p:grpSpPr>
              <a:xfrm>
                <a:off x="5720269" y="2764575"/>
                <a:ext cx="1656129" cy="1882392"/>
                <a:chOff x="5720269" y="2764575"/>
                <a:chExt cx="1656129" cy="1882392"/>
              </a:xfrm>
              <a:solidFill>
                <a:srgbClr val="00A099"/>
              </a:solidFill>
            </p:grpSpPr>
            <p:sp>
              <p:nvSpPr>
                <p:cNvPr id="15" name="Freeform 75">
                  <a:extLst>
                    <a:ext uri="{FF2B5EF4-FFF2-40B4-BE49-F238E27FC236}">
                      <a16:creationId xmlns:a16="http://schemas.microsoft.com/office/drawing/2014/main" id="{EBC0A3D5-B89F-E979-C021-6112BA917684}"/>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6">
                  <a:extLst>
                    <a:ext uri="{FF2B5EF4-FFF2-40B4-BE49-F238E27FC236}">
                      <a16:creationId xmlns:a16="http://schemas.microsoft.com/office/drawing/2014/main" id="{B240B972-98D0-CFA5-5793-0B58568149E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7">
                  <a:extLst>
                    <a:ext uri="{FF2B5EF4-FFF2-40B4-BE49-F238E27FC236}">
                      <a16:creationId xmlns:a16="http://schemas.microsoft.com/office/drawing/2014/main" id="{9B8D86FE-F15B-EA65-70CF-DAC426449208}"/>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0" name="Freeform 72">
                <a:extLst>
                  <a:ext uri="{FF2B5EF4-FFF2-40B4-BE49-F238E27FC236}">
                    <a16:creationId xmlns:a16="http://schemas.microsoft.com/office/drawing/2014/main" id="{7169D97B-1A2B-F9AB-A4A9-A42A92156498}"/>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1" name="Freeform 73">
                <a:extLst>
                  <a:ext uri="{FF2B5EF4-FFF2-40B4-BE49-F238E27FC236}">
                    <a16:creationId xmlns:a16="http://schemas.microsoft.com/office/drawing/2014/main" id="{669906C6-5F5D-C4F7-D241-51CEE1AD242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4">
                <a:extLst>
                  <a:ext uri="{FF2B5EF4-FFF2-40B4-BE49-F238E27FC236}">
                    <a16:creationId xmlns:a16="http://schemas.microsoft.com/office/drawing/2014/main" id="{39700647-4829-986E-BBD3-5593D5B2DFA0}"/>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DCC31620-3EE7-E5DF-60B2-68B569B435F6}"/>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0DF1DE43-19D2-DE99-8F9A-0D8A4B095399}"/>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35814462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12_Lunch slid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DEBB819-B9E6-4DB5-669C-19A93CDAD22A}"/>
              </a:ext>
            </a:extLst>
          </p:cNvPr>
          <p:cNvGraphicFramePr>
            <a:graphicFrameLocks noChangeAspect="1"/>
          </p:cNvGraphicFramePr>
          <p:nvPr>
            <p:custDataLst>
              <p:tags r:id="rId1"/>
            </p:custDataLst>
            <p:extLst>
              <p:ext uri="{D42A27DB-BD31-4B8C-83A1-F6EECF244321}">
                <p14:modId xmlns:p14="http://schemas.microsoft.com/office/powerpoint/2010/main" val="63427076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3DEBB819-B9E6-4DB5-669C-19A93CDAD22A}"/>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EBB36352-569E-80FC-83C4-466A015D7651}"/>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a:noFill/>
        </p:spPr>
      </p:pic>
      <p:pic>
        <p:nvPicPr>
          <p:cNvPr id="8" name="Picture 7">
            <a:extLst>
              <a:ext uri="{FF2B5EF4-FFF2-40B4-BE49-F238E27FC236}">
                <a16:creationId xmlns:a16="http://schemas.microsoft.com/office/drawing/2014/main" id="{BC993C79-BFCE-31FF-CBA8-7ED50119C0D3}"/>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5378" y="0"/>
            <a:ext cx="3388623" cy="5143500"/>
          </a:xfrm>
          <a:custGeom>
            <a:avLst/>
            <a:gdLst>
              <a:gd name="connsiteX0" fmla="*/ 1106942 w 4518164"/>
              <a:gd name="connsiteY0" fmla="*/ 0 h 6858000"/>
              <a:gd name="connsiteX1" fmla="*/ 4518164 w 4518164"/>
              <a:gd name="connsiteY1" fmla="*/ 0 h 6858000"/>
              <a:gd name="connsiteX2" fmla="*/ 4518164 w 4518164"/>
              <a:gd name="connsiteY2" fmla="*/ 6858000 h 6858000"/>
              <a:gd name="connsiteX3" fmla="*/ 0 w 4518164"/>
              <a:gd name="connsiteY3" fmla="*/ 6858000 h 6858000"/>
              <a:gd name="connsiteX4" fmla="*/ 166888 w 4518164"/>
              <a:gd name="connsiteY4" fmla="*/ 5824052 h 6858000"/>
              <a:gd name="connsiteX5" fmla="*/ 925068 w 4518164"/>
              <a:gd name="connsiteY5" fmla="*/ 5824052 h 6858000"/>
              <a:gd name="connsiteX6" fmla="*/ 925068 w 4518164"/>
              <a:gd name="connsiteY6" fmla="*/ 5824051 h 6858000"/>
              <a:gd name="connsiteX7" fmla="*/ 166888 w 4518164"/>
              <a:gd name="connsiteY7" fmla="*/ 5824051 h 6858000"/>
              <a:gd name="connsiteX8" fmla="*/ 1106941 w 4518164"/>
              <a:gd name="connsiteY8" fmla="*/ 2 h 6858000"/>
              <a:gd name="connsiteX9" fmla="*/ 1634858 w 4518164"/>
              <a:gd name="connsiteY9" fmla="*/ 2 h 6858000"/>
              <a:gd name="connsiteX10" fmla="*/ 1697417 w 4518164"/>
              <a:gd name="connsiteY10" fmla="*/ 8479 h 6858000"/>
              <a:gd name="connsiteX11" fmla="*/ 1697417 w 4518164"/>
              <a:gd name="connsiteY11" fmla="*/ 8478 h 6858000"/>
              <a:gd name="connsiteX12" fmla="*/ 1634858 w 4518164"/>
              <a:gd name="connsiteY12" fmla="*/ 1 h 6858000"/>
              <a:gd name="connsiteX13" fmla="*/ 1106941 w 4518164"/>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8164" h="6858000">
                <a:moveTo>
                  <a:pt x="1106942" y="0"/>
                </a:moveTo>
                <a:lnTo>
                  <a:pt x="4518164" y="0"/>
                </a:lnTo>
                <a:lnTo>
                  <a:pt x="4518164"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noFill/>
          <a:effectLst>
            <a:outerShdw blurRad="190500" dist="63500" dir="10800000" algn="r" rotWithShape="0">
              <a:srgbClr val="000000"/>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5378" y="1025"/>
            <a:ext cx="3393428"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E92E0EDF-0E5B-D679-E57D-ECE61D68542E}"/>
              </a:ext>
            </a:extLst>
          </p:cNvPr>
          <p:cNvGrpSpPr>
            <a:grpSpLocks noChangeAspect="1"/>
          </p:cNvGrpSpPr>
          <p:nvPr/>
        </p:nvGrpSpPr>
        <p:grpSpPr>
          <a:xfrm>
            <a:off x="4804" y="2"/>
            <a:ext cx="468178" cy="756000"/>
            <a:chOff x="4425584" y="267785"/>
            <a:chExt cx="2950814" cy="4756864"/>
          </a:xfrm>
          <a:solidFill>
            <a:schemeClr val="accent1"/>
          </a:solidFill>
        </p:grpSpPr>
        <p:grpSp>
          <p:nvGrpSpPr>
            <p:cNvPr id="4" name="Graphic 2">
              <a:extLst>
                <a:ext uri="{FF2B5EF4-FFF2-40B4-BE49-F238E27FC236}">
                  <a16:creationId xmlns:a16="http://schemas.microsoft.com/office/drawing/2014/main" id="{CC8C7BED-BE1A-BCD9-846E-90D1F0D07176}"/>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8E5EFA46-E019-218F-5055-1AEB65728389}"/>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E1F0A470-F632-FB64-6AD9-866075D9D3C9}"/>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C8A75F81-731B-B4C1-04E8-6442226482E4}"/>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10ED8382-08CC-AF29-35AC-88E3ADBE4601}"/>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6A92BA1F-A7B8-B6C2-D52C-92944E47D709}"/>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EA6D6A43-CC47-F289-81A1-50360EAECD36}"/>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B3614373-E207-919A-880C-CB801347C982}"/>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D4EF08F1-BF1E-7000-EE4B-E5CFCBD97D79}"/>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21199E50-4DFF-463B-15B8-92BAFD0AF0B4}"/>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lgn="l">
              <a:defRPr sz="2400" b="0">
                <a:solidFill>
                  <a:schemeClr val="bg1"/>
                </a:solidFill>
              </a:defRPr>
            </a:lvl1pPr>
          </a:lstStyle>
          <a:p>
            <a:r>
              <a:rPr lang="en-US"/>
              <a:t>Click to edit Master title style</a:t>
            </a:r>
            <a:endParaRPr lang="en-AE"/>
          </a:p>
        </p:txBody>
      </p:sp>
    </p:spTree>
    <p:extLst>
      <p:ext uri="{BB962C8B-B14F-4D97-AF65-F5344CB8AC3E}">
        <p14:creationId xmlns:p14="http://schemas.microsoft.com/office/powerpoint/2010/main" val="207330907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360DD0C-C6FA-43E6-8CA4-EC0315E75915}" type="datetime1">
              <a:rPr lang="en-US" smtClean="0"/>
              <a:t>8/1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762134446"/>
      </p:ext>
    </p:extLst>
  </p:cSld>
  <p:clrMapOvr>
    <a:overrideClrMapping bg1="lt1" tx1="dk1" bg2="lt2" tx2="dk2" accent1="accent1" accent2="accent2" accent3="accent3" accent4="accent4" accent5="accent5" accent6="accent6" hlink="hlink" folHlink="folHlink"/>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7_Lunch sl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B361D35-2BBC-923E-175B-2CDE95760283}"/>
              </a:ext>
            </a:extLst>
          </p:cNvPr>
          <p:cNvGraphicFramePr>
            <a:graphicFrameLocks noChangeAspect="1"/>
          </p:cNvGraphicFramePr>
          <p:nvPr>
            <p:custDataLst>
              <p:tags r:id="rId1"/>
            </p:custDataLst>
            <p:extLst>
              <p:ext uri="{D42A27DB-BD31-4B8C-83A1-F6EECF244321}">
                <p14:modId xmlns:p14="http://schemas.microsoft.com/office/powerpoint/2010/main" val="1836046427"/>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2B361D35-2BBC-923E-175B-2CDE9576028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5" name="Picture 4" descr="A picture containing text, person&#10;&#10;Description automatically generated">
            <a:extLst>
              <a:ext uri="{FF2B5EF4-FFF2-40B4-BE49-F238E27FC236}">
                <a16:creationId xmlns:a16="http://schemas.microsoft.com/office/drawing/2014/main" id="{D1333C2C-02F8-B78B-30B3-65CCEB8A228B}"/>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 y="0"/>
            <a:ext cx="9144001" cy="5143500"/>
          </a:xfrm>
          <a:prstGeom prst="rect">
            <a:avLst/>
          </a:prstGeom>
        </p:spPr>
      </p:pic>
      <p:pic>
        <p:nvPicPr>
          <p:cNvPr id="10" name="Picture 9" descr="A picture containing text, person&#10;&#10;Description automatically generated">
            <a:extLst>
              <a:ext uri="{FF2B5EF4-FFF2-40B4-BE49-F238E27FC236}">
                <a16:creationId xmlns:a16="http://schemas.microsoft.com/office/drawing/2014/main" id="{BF4B3445-CC71-1045-7F8C-D4A4676FCE77}"/>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a:stretch/>
        </p:blipFill>
        <p:spPr>
          <a:xfrm>
            <a:off x="5755378" y="0"/>
            <a:ext cx="3388623" cy="5143500"/>
          </a:xfrm>
          <a:custGeom>
            <a:avLst/>
            <a:gdLst>
              <a:gd name="connsiteX0" fmla="*/ 1106942 w 4518164"/>
              <a:gd name="connsiteY0" fmla="*/ 0 h 6858000"/>
              <a:gd name="connsiteX1" fmla="*/ 4518164 w 4518164"/>
              <a:gd name="connsiteY1" fmla="*/ 0 h 6858000"/>
              <a:gd name="connsiteX2" fmla="*/ 4518164 w 4518164"/>
              <a:gd name="connsiteY2" fmla="*/ 6858000 h 6858000"/>
              <a:gd name="connsiteX3" fmla="*/ 0 w 4518164"/>
              <a:gd name="connsiteY3" fmla="*/ 6858000 h 6858000"/>
              <a:gd name="connsiteX4" fmla="*/ 166888 w 4518164"/>
              <a:gd name="connsiteY4" fmla="*/ 5824052 h 6858000"/>
              <a:gd name="connsiteX5" fmla="*/ 925068 w 4518164"/>
              <a:gd name="connsiteY5" fmla="*/ 5824052 h 6858000"/>
              <a:gd name="connsiteX6" fmla="*/ 925068 w 4518164"/>
              <a:gd name="connsiteY6" fmla="*/ 5824051 h 6858000"/>
              <a:gd name="connsiteX7" fmla="*/ 166888 w 4518164"/>
              <a:gd name="connsiteY7" fmla="*/ 5824051 h 6858000"/>
              <a:gd name="connsiteX8" fmla="*/ 1106941 w 4518164"/>
              <a:gd name="connsiteY8" fmla="*/ 2 h 6858000"/>
              <a:gd name="connsiteX9" fmla="*/ 1634858 w 4518164"/>
              <a:gd name="connsiteY9" fmla="*/ 2 h 6858000"/>
              <a:gd name="connsiteX10" fmla="*/ 1697417 w 4518164"/>
              <a:gd name="connsiteY10" fmla="*/ 8479 h 6858000"/>
              <a:gd name="connsiteX11" fmla="*/ 1697417 w 4518164"/>
              <a:gd name="connsiteY11" fmla="*/ 8478 h 6858000"/>
              <a:gd name="connsiteX12" fmla="*/ 1634858 w 4518164"/>
              <a:gd name="connsiteY12" fmla="*/ 1 h 6858000"/>
              <a:gd name="connsiteX13" fmla="*/ 1106941 w 4518164"/>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8164" h="6858000">
                <a:moveTo>
                  <a:pt x="1106942" y="0"/>
                </a:moveTo>
                <a:lnTo>
                  <a:pt x="4518164" y="0"/>
                </a:lnTo>
                <a:lnTo>
                  <a:pt x="4518164"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4985"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D3F407CC-E96E-8C10-6ACF-483BE3FBBFD7}"/>
              </a:ext>
            </a:extLst>
          </p:cNvPr>
          <p:cNvGrpSpPr>
            <a:grpSpLocks noChangeAspect="1"/>
          </p:cNvGrpSpPr>
          <p:nvPr/>
        </p:nvGrpSpPr>
        <p:grpSpPr>
          <a:xfrm>
            <a:off x="4804" y="2"/>
            <a:ext cx="468178" cy="756000"/>
            <a:chOff x="4425584" y="267785"/>
            <a:chExt cx="2950814" cy="4756864"/>
          </a:xfrm>
          <a:solidFill>
            <a:schemeClr val="accent1"/>
          </a:solidFill>
        </p:grpSpPr>
        <p:grpSp>
          <p:nvGrpSpPr>
            <p:cNvPr id="4" name="Graphic 2">
              <a:extLst>
                <a:ext uri="{FF2B5EF4-FFF2-40B4-BE49-F238E27FC236}">
                  <a16:creationId xmlns:a16="http://schemas.microsoft.com/office/drawing/2014/main" id="{4BFD7DA3-4065-DC4F-E484-B5A0287E0EAE}"/>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7431D8A2-D9C9-DCFD-166D-012829BECA6E}"/>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199EF448-2A94-4B1C-E9DE-4B456EFCE4D5}"/>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35DE5CCA-6165-55E3-EB1E-44BCF30802EF}"/>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D4367764-7C6C-3B75-9B96-BCCCAB43D52D}"/>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42E83BB-908C-D738-BCEA-8C2BA99678BC}"/>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57DFE6D1-FE3B-BA5C-FAD2-2858643AB8DD}"/>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B04FB89B-0278-1877-89E0-D68409C11EBE}"/>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54BE19CA-0036-65A8-02DD-728241253BE2}"/>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CDAB89A4-BA5E-6F11-50D8-65A0A8C455E8}"/>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08447618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8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EDCF461-62AE-2E98-4A7E-3D15C53EB945}"/>
              </a:ext>
            </a:extLst>
          </p:cNvPr>
          <p:cNvGraphicFramePr>
            <a:graphicFrameLocks noChangeAspect="1"/>
          </p:cNvGraphicFramePr>
          <p:nvPr>
            <p:custDataLst>
              <p:tags r:id="rId1"/>
            </p:custDataLst>
            <p:extLst>
              <p:ext uri="{D42A27DB-BD31-4B8C-83A1-F6EECF244321}">
                <p14:modId xmlns:p14="http://schemas.microsoft.com/office/powerpoint/2010/main" val="3285493259"/>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BEDCF461-62AE-2E98-4A7E-3D15C53EB945}"/>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2" descr="A picture containing person, child&#10;&#10;Description automatically generated">
            <a:extLst>
              <a:ext uri="{FF2B5EF4-FFF2-40B4-BE49-F238E27FC236}">
                <a16:creationId xmlns:a16="http://schemas.microsoft.com/office/drawing/2014/main" id="{FC1E40EC-62F6-ACBD-7BF8-498D3BEF6FE9}"/>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pic>
        <p:nvPicPr>
          <p:cNvPr id="7" name="Picture 6" descr="A picture containing person, child&#10;&#10;Description automatically generated">
            <a:extLst>
              <a:ext uri="{FF2B5EF4-FFF2-40B4-BE49-F238E27FC236}">
                <a16:creationId xmlns:a16="http://schemas.microsoft.com/office/drawing/2014/main" id="{1D348B6A-6370-AFE2-6D61-115A09E28A47}"/>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5378" y="0"/>
            <a:ext cx="3388623" cy="5143500"/>
          </a:xfrm>
          <a:custGeom>
            <a:avLst/>
            <a:gdLst>
              <a:gd name="connsiteX0" fmla="*/ 1106942 w 4518164"/>
              <a:gd name="connsiteY0" fmla="*/ 0 h 6858000"/>
              <a:gd name="connsiteX1" fmla="*/ 4518164 w 4518164"/>
              <a:gd name="connsiteY1" fmla="*/ 0 h 6858000"/>
              <a:gd name="connsiteX2" fmla="*/ 4518164 w 4518164"/>
              <a:gd name="connsiteY2" fmla="*/ 6858000 h 6858000"/>
              <a:gd name="connsiteX3" fmla="*/ 0 w 4518164"/>
              <a:gd name="connsiteY3" fmla="*/ 6858000 h 6858000"/>
              <a:gd name="connsiteX4" fmla="*/ 166888 w 4518164"/>
              <a:gd name="connsiteY4" fmla="*/ 5824052 h 6858000"/>
              <a:gd name="connsiteX5" fmla="*/ 925068 w 4518164"/>
              <a:gd name="connsiteY5" fmla="*/ 5824052 h 6858000"/>
              <a:gd name="connsiteX6" fmla="*/ 925068 w 4518164"/>
              <a:gd name="connsiteY6" fmla="*/ 5824051 h 6858000"/>
              <a:gd name="connsiteX7" fmla="*/ 166888 w 4518164"/>
              <a:gd name="connsiteY7" fmla="*/ 5824051 h 6858000"/>
              <a:gd name="connsiteX8" fmla="*/ 1106941 w 4518164"/>
              <a:gd name="connsiteY8" fmla="*/ 2 h 6858000"/>
              <a:gd name="connsiteX9" fmla="*/ 1634858 w 4518164"/>
              <a:gd name="connsiteY9" fmla="*/ 2 h 6858000"/>
              <a:gd name="connsiteX10" fmla="*/ 1697417 w 4518164"/>
              <a:gd name="connsiteY10" fmla="*/ 8479 h 6858000"/>
              <a:gd name="connsiteX11" fmla="*/ 1697417 w 4518164"/>
              <a:gd name="connsiteY11" fmla="*/ 8478 h 6858000"/>
              <a:gd name="connsiteX12" fmla="*/ 1634858 w 4518164"/>
              <a:gd name="connsiteY12" fmla="*/ 1 h 6858000"/>
              <a:gd name="connsiteX13" fmla="*/ 1106941 w 4518164"/>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8164" h="6858000">
                <a:moveTo>
                  <a:pt x="1106942" y="0"/>
                </a:moveTo>
                <a:lnTo>
                  <a:pt x="4518164" y="0"/>
                </a:lnTo>
                <a:lnTo>
                  <a:pt x="4518164"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72CB7CD0-A34F-6F2F-D2D7-ADECAF8238D2}"/>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D0559BE9-C992-545A-B450-2C8C998BF320}"/>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054065DF-357D-8AF5-5D11-4A15C042F83A}"/>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ACE123F3-3323-306E-D4D3-677620C2951A}"/>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902C04C6-EFE6-F499-DC97-6465C84D3605}"/>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45379FAF-ECB7-5170-E5DC-FE1FCC791A7F}"/>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6B34178-BA66-66D8-FF95-8097DCAEDD79}"/>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E6A555FD-1160-EC48-F3D4-6AC6DD7DDD9F}"/>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AE320C55-0DF1-B5CE-8479-DC3BD2F420B4}"/>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41B3E22E-A3D6-4858-800C-24699BDA03CE}"/>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5281DDB1-F7A3-E40A-F1AB-E7AC2DD560F0}"/>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21193092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11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4173402-3923-03F5-14F9-FE53A7203C2F}"/>
              </a:ext>
            </a:extLst>
          </p:cNvPr>
          <p:cNvGraphicFramePr>
            <a:graphicFrameLocks noChangeAspect="1"/>
          </p:cNvGraphicFramePr>
          <p:nvPr>
            <p:custDataLst>
              <p:tags r:id="rId1"/>
            </p:custDataLst>
            <p:extLst>
              <p:ext uri="{D42A27DB-BD31-4B8C-83A1-F6EECF244321}">
                <p14:modId xmlns:p14="http://schemas.microsoft.com/office/powerpoint/2010/main" val="252985309"/>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34173402-3923-03F5-14F9-FE53A7203C2F}"/>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6" name="Picture 5" descr="A picture containing text, sign, signage, yellow&#10;&#10;Description automatically generated">
            <a:extLst>
              <a:ext uri="{FF2B5EF4-FFF2-40B4-BE49-F238E27FC236}">
                <a16:creationId xmlns:a16="http://schemas.microsoft.com/office/drawing/2014/main" id="{28EC72DA-2562-B205-1E5B-0E26F87339A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1024"/>
            <a:ext cx="9148805" cy="5146203"/>
          </a:xfrm>
          <a:prstGeom prst="rect">
            <a:avLst/>
          </a:prstGeom>
        </p:spPr>
      </p:pic>
      <p:pic>
        <p:nvPicPr>
          <p:cNvPr id="7" name="Picture 6">
            <a:extLst>
              <a:ext uri="{FF2B5EF4-FFF2-40B4-BE49-F238E27FC236}">
                <a16:creationId xmlns:a16="http://schemas.microsoft.com/office/drawing/2014/main" id="{507853F3-2813-D668-8606-33D082D59599}"/>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a:stretch/>
        </p:blipFill>
        <p:spPr>
          <a:xfrm>
            <a:off x="5755773" y="1"/>
            <a:ext cx="3388228" cy="5142476"/>
          </a:xfrm>
          <a:custGeom>
            <a:avLst/>
            <a:gdLst>
              <a:gd name="connsiteX0" fmla="*/ 1106417 w 4517639"/>
              <a:gd name="connsiteY0" fmla="*/ 0 h 6854747"/>
              <a:gd name="connsiteX1" fmla="*/ 4517639 w 4517639"/>
              <a:gd name="connsiteY1" fmla="*/ 0 h 6854747"/>
              <a:gd name="connsiteX2" fmla="*/ 4517639 w 4517639"/>
              <a:gd name="connsiteY2" fmla="*/ 6854747 h 6854747"/>
              <a:gd name="connsiteX3" fmla="*/ 0 w 4517639"/>
              <a:gd name="connsiteY3" fmla="*/ 6854747 h 6854747"/>
              <a:gd name="connsiteX4" fmla="*/ 166363 w 4517639"/>
              <a:gd name="connsiteY4" fmla="*/ 5824052 h 6854747"/>
              <a:gd name="connsiteX5" fmla="*/ 924543 w 4517639"/>
              <a:gd name="connsiteY5" fmla="*/ 5824052 h 6854747"/>
              <a:gd name="connsiteX6" fmla="*/ 924543 w 4517639"/>
              <a:gd name="connsiteY6" fmla="*/ 5824051 h 6854747"/>
              <a:gd name="connsiteX7" fmla="*/ 166363 w 4517639"/>
              <a:gd name="connsiteY7" fmla="*/ 5824051 h 6854747"/>
              <a:gd name="connsiteX8" fmla="*/ 1106416 w 4517639"/>
              <a:gd name="connsiteY8" fmla="*/ 2 h 6854747"/>
              <a:gd name="connsiteX9" fmla="*/ 1634333 w 4517639"/>
              <a:gd name="connsiteY9" fmla="*/ 2 h 6854747"/>
              <a:gd name="connsiteX10" fmla="*/ 1696892 w 4517639"/>
              <a:gd name="connsiteY10" fmla="*/ 8479 h 6854747"/>
              <a:gd name="connsiteX11" fmla="*/ 1696892 w 4517639"/>
              <a:gd name="connsiteY11" fmla="*/ 8478 h 6854747"/>
              <a:gd name="connsiteX12" fmla="*/ 1634333 w 4517639"/>
              <a:gd name="connsiteY12" fmla="*/ 1 h 6854747"/>
              <a:gd name="connsiteX13" fmla="*/ 1106416 w 4517639"/>
              <a:gd name="connsiteY13" fmla="*/ 1 h 685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7639" h="6854747">
                <a:moveTo>
                  <a:pt x="1106417" y="0"/>
                </a:moveTo>
                <a:lnTo>
                  <a:pt x="4517639" y="0"/>
                </a:lnTo>
                <a:lnTo>
                  <a:pt x="4517639" y="6854747"/>
                </a:lnTo>
                <a:lnTo>
                  <a:pt x="0" y="6854747"/>
                </a:lnTo>
                <a:lnTo>
                  <a:pt x="166363" y="5824052"/>
                </a:lnTo>
                <a:lnTo>
                  <a:pt x="924543" y="5824052"/>
                </a:lnTo>
                <a:lnTo>
                  <a:pt x="924543" y="5824051"/>
                </a:lnTo>
                <a:lnTo>
                  <a:pt x="166363" y="5824051"/>
                </a:lnTo>
                <a:lnTo>
                  <a:pt x="1106416" y="2"/>
                </a:lnTo>
                <a:lnTo>
                  <a:pt x="1634333" y="2"/>
                </a:lnTo>
                <a:lnTo>
                  <a:pt x="1696892" y="8479"/>
                </a:lnTo>
                <a:lnTo>
                  <a:pt x="1696892" y="8478"/>
                </a:lnTo>
                <a:lnTo>
                  <a:pt x="1634333" y="1"/>
                </a:lnTo>
                <a:lnTo>
                  <a:pt x="1106416"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77DCC829-9AFD-F7C5-4948-BF891AFB1B10}"/>
              </a:ext>
            </a:extLst>
          </p:cNvPr>
          <p:cNvGrpSpPr>
            <a:grpSpLocks noChangeAspect="1"/>
          </p:cNvGrpSpPr>
          <p:nvPr/>
        </p:nvGrpSpPr>
        <p:grpSpPr>
          <a:xfrm>
            <a:off x="4804" y="2"/>
            <a:ext cx="468178" cy="756000"/>
            <a:chOff x="4425584" y="267785"/>
            <a:chExt cx="2950814" cy="4756864"/>
          </a:xfrm>
          <a:solidFill>
            <a:schemeClr val="accent1"/>
          </a:solidFill>
        </p:grpSpPr>
        <p:grpSp>
          <p:nvGrpSpPr>
            <p:cNvPr id="3" name="Graphic 2">
              <a:extLst>
                <a:ext uri="{FF2B5EF4-FFF2-40B4-BE49-F238E27FC236}">
                  <a16:creationId xmlns:a16="http://schemas.microsoft.com/office/drawing/2014/main" id="{F33CC6F4-42A0-4769-40D5-476293C79492}"/>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4F7D57A8-042E-2749-738E-CDACBB23E88E}"/>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42E9497B-1752-8521-D6E7-F9EA945B22F9}"/>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85D442D1-FA86-8E38-A655-940897877A24}"/>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9E52AE32-1E08-D1AE-088E-F54F54D11127}"/>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123F2A8E-5E66-9877-F9F6-C986D4774F91}"/>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B6428678-C466-FC8C-156D-C99554F95BC8}"/>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90FA6F79-83D1-3B0F-C268-5CBCD0AE5A0D}"/>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5" name="Freeform 69">
              <a:extLst>
                <a:ext uri="{FF2B5EF4-FFF2-40B4-BE49-F238E27FC236}">
                  <a16:creationId xmlns:a16="http://schemas.microsoft.com/office/drawing/2014/main" id="{2EEA6596-3FA7-9C45-1B7A-D14B72A6525F}"/>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6BF1CF44-C41E-0A56-269A-47CFE7ED86A7}"/>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333294394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6_Lunch sl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C066A68-3330-CCD2-0850-5DE93DCBCCE2}"/>
              </a:ext>
            </a:extLst>
          </p:cNvPr>
          <p:cNvGraphicFramePr>
            <a:graphicFrameLocks noChangeAspect="1"/>
          </p:cNvGraphicFramePr>
          <p:nvPr>
            <p:custDataLst>
              <p:tags r:id="rId1"/>
            </p:custDataLst>
            <p:extLst>
              <p:ext uri="{D42A27DB-BD31-4B8C-83A1-F6EECF244321}">
                <p14:modId xmlns:p14="http://schemas.microsoft.com/office/powerpoint/2010/main" val="241148232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EC066A68-3330-CCD2-0850-5DE93DCBCCE2}"/>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4" name="Picture Placeholder 14">
            <a:extLst>
              <a:ext uri="{FF2B5EF4-FFF2-40B4-BE49-F238E27FC236}">
                <a16:creationId xmlns:a16="http://schemas.microsoft.com/office/drawing/2014/main" id="{E56A2616-C3F1-AEB6-ECAE-50731BEF70F7}"/>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flipH="1">
            <a:off x="0" y="0"/>
            <a:ext cx="9144000" cy="5143500"/>
          </a:xfrm>
          <a:prstGeom prst="rect">
            <a:avLst/>
          </a:prstGeom>
          <a:noFill/>
        </p:spPr>
      </p:pic>
      <p:pic>
        <p:nvPicPr>
          <p:cNvPr id="8" name="Picture 7">
            <a:extLst>
              <a:ext uri="{FF2B5EF4-FFF2-40B4-BE49-F238E27FC236}">
                <a16:creationId xmlns:a16="http://schemas.microsoft.com/office/drawing/2014/main" id="{EF1C848C-2A07-EFF6-B882-637547293991}"/>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a14:imgEffect>
                  </a14:imgLayer>
                </a14:imgProps>
              </a:ext>
              <a:ext uri="{28A0092B-C50C-407E-A947-70E740481C1C}">
                <a14:useLocalDpi xmlns:a14="http://schemas.microsoft.com/office/drawing/2010/main"/>
              </a:ext>
            </a:extLst>
          </a:blip>
          <a:srcRect/>
          <a:stretch/>
        </p:blipFill>
        <p:spPr>
          <a:xfrm flipH="1">
            <a:off x="5762680" y="14437"/>
            <a:ext cx="3367129" cy="5143500"/>
          </a:xfrm>
          <a:custGeom>
            <a:avLst/>
            <a:gdLst>
              <a:gd name="connsiteX0" fmla="*/ 3382563 w 4489505"/>
              <a:gd name="connsiteY0" fmla="*/ 0 h 6858000"/>
              <a:gd name="connsiteX1" fmla="*/ 2842399 w 4489505"/>
              <a:gd name="connsiteY1" fmla="*/ 0 h 6858000"/>
              <a:gd name="connsiteX2" fmla="*/ 2791825 w 4489505"/>
              <a:gd name="connsiteY2" fmla="*/ 6853 h 6858000"/>
              <a:gd name="connsiteX3" fmla="*/ 2791825 w 4489505"/>
              <a:gd name="connsiteY3" fmla="*/ 6852 h 6858000"/>
              <a:gd name="connsiteX4" fmla="*/ 2842392 w 4489505"/>
              <a:gd name="connsiteY4" fmla="*/ 0 h 6858000"/>
              <a:gd name="connsiteX5" fmla="*/ 0 w 4489505"/>
              <a:gd name="connsiteY5" fmla="*/ 0 h 6858000"/>
              <a:gd name="connsiteX6" fmla="*/ 0 w 4489505"/>
              <a:gd name="connsiteY6" fmla="*/ 6858000 h 6858000"/>
              <a:gd name="connsiteX7" fmla="*/ 3923385 w 4489505"/>
              <a:gd name="connsiteY7" fmla="*/ 6858000 h 6858000"/>
              <a:gd name="connsiteX8" fmla="*/ 3921229 w 4489505"/>
              <a:gd name="connsiteY8" fmla="*/ 6856629 h 6858000"/>
              <a:gd name="connsiteX9" fmla="*/ 3921230 w 4489505"/>
              <a:gd name="connsiteY9" fmla="*/ 6856629 h 6858000"/>
              <a:gd name="connsiteX10" fmla="*/ 3923386 w 4489505"/>
              <a:gd name="connsiteY10" fmla="*/ 6858000 h 6858000"/>
              <a:gd name="connsiteX11" fmla="*/ 4489505 w 4489505"/>
              <a:gd name="connsiteY11" fmla="*/ 6858000 h 6858000"/>
              <a:gd name="connsiteX12" fmla="*/ 4322354 w 4489505"/>
              <a:gd name="connsiteY12" fmla="*/ 5822426 h 6858000"/>
              <a:gd name="connsiteX13" fmla="*/ 3564174 w 4489505"/>
              <a:gd name="connsiteY13" fmla="*/ 5822426 h 6858000"/>
              <a:gd name="connsiteX14" fmla="*/ 3564174 w 4489505"/>
              <a:gd name="connsiteY14" fmla="*/ 5822425 h 6858000"/>
              <a:gd name="connsiteX15" fmla="*/ 4322354 w 4489505"/>
              <a:gd name="connsiteY15" fmla="*/ 582242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89505" h="6858000">
                <a:moveTo>
                  <a:pt x="3382563" y="0"/>
                </a:moveTo>
                <a:lnTo>
                  <a:pt x="2842399" y="0"/>
                </a:lnTo>
                <a:lnTo>
                  <a:pt x="2791825" y="6853"/>
                </a:lnTo>
                <a:lnTo>
                  <a:pt x="2791825" y="6852"/>
                </a:lnTo>
                <a:lnTo>
                  <a:pt x="2842392" y="0"/>
                </a:lnTo>
                <a:lnTo>
                  <a:pt x="0" y="0"/>
                </a:lnTo>
                <a:lnTo>
                  <a:pt x="0" y="6858000"/>
                </a:lnTo>
                <a:lnTo>
                  <a:pt x="3923385" y="6858000"/>
                </a:lnTo>
                <a:lnTo>
                  <a:pt x="3921229" y="6856629"/>
                </a:lnTo>
                <a:lnTo>
                  <a:pt x="3921230" y="6856629"/>
                </a:lnTo>
                <a:lnTo>
                  <a:pt x="3923386" y="6858000"/>
                </a:lnTo>
                <a:lnTo>
                  <a:pt x="4489505" y="6858000"/>
                </a:lnTo>
                <a:lnTo>
                  <a:pt x="4322354" y="5822426"/>
                </a:lnTo>
                <a:lnTo>
                  <a:pt x="3564174" y="5822426"/>
                </a:lnTo>
                <a:lnTo>
                  <a:pt x="3564174" y="5822425"/>
                </a:lnTo>
                <a:lnTo>
                  <a:pt x="4322354" y="5822425"/>
                </a:lnTo>
                <a:close/>
              </a:path>
            </a:pathLst>
          </a:custGeom>
          <a:noFill/>
          <a:effectLst>
            <a:outerShdw blurRad="190500" dist="63500" dir="10800000" algn="r" rotWithShape="0">
              <a:schemeClr val="tx1">
                <a:alpha val="40000"/>
              </a:scheme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5859F193-9741-E97F-5548-8313F467A5DA}"/>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F2E0ADD9-A47B-8421-0015-8460F99EEB75}"/>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8271746D-C212-D263-4ABE-39C3A88909AB}"/>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C03D4986-0C80-F2E3-FB1A-AC020F95A9B3}"/>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5BCDDD07-E454-B2A5-9209-ED2B7C50E983}"/>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4F7F126C-BD33-0F53-A480-E8D849799FC9}"/>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96012C3E-CCF8-8F81-057B-3C62B96952AF}"/>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F4C0C394-9E8F-507D-2ABA-04E05D62CE22}"/>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A6369DCB-B5D4-514F-A46D-F9FBAA6CA574}"/>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9B6FD9D0-4DD8-9C6A-F21F-61AA37A068D6}"/>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7AD702FF-20DB-66B4-76E4-F17C4B56AA33}"/>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336618509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10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DBAEA34-A133-F477-38AC-6261E38E644D}"/>
              </a:ext>
            </a:extLst>
          </p:cNvPr>
          <p:cNvGraphicFramePr>
            <a:graphicFrameLocks noChangeAspect="1"/>
          </p:cNvGraphicFramePr>
          <p:nvPr>
            <p:custDataLst>
              <p:tags r:id="rId1"/>
            </p:custDataLst>
            <p:extLst>
              <p:ext uri="{D42A27DB-BD31-4B8C-83A1-F6EECF244321}">
                <p14:modId xmlns:p14="http://schemas.microsoft.com/office/powerpoint/2010/main" val="227098223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BDBAEA34-A133-F477-38AC-6261E38E644D}"/>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43859227-41B1-FA74-F544-0FC47C2A08F5}"/>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 y="1"/>
            <a:ext cx="9148805" cy="5146202"/>
          </a:xfrm>
          <a:prstGeom prst="rect">
            <a:avLst/>
          </a:prstGeom>
          <a:noFill/>
        </p:spPr>
      </p:pic>
      <p:pic>
        <p:nvPicPr>
          <p:cNvPr id="5" name="Picture 4">
            <a:extLst>
              <a:ext uri="{FF2B5EF4-FFF2-40B4-BE49-F238E27FC236}">
                <a16:creationId xmlns:a16="http://schemas.microsoft.com/office/drawing/2014/main" id="{76D9B89E-0ABB-FDC7-88FF-85EC5B92D13B}"/>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a:stretch/>
        </p:blipFill>
        <p:spPr>
          <a:xfrm>
            <a:off x="5754985"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noFill/>
          <a:effectLst>
            <a:outerShdw blurRad="190500" dist="63500" dir="10800000" algn="r" rotWithShape="0">
              <a:schemeClr val="tx2">
                <a:alpha val="40000"/>
              </a:scheme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867EDFD2-793F-05CC-8ECA-2E7BBAC755FD}"/>
              </a:ext>
            </a:extLst>
          </p:cNvPr>
          <p:cNvGrpSpPr>
            <a:grpSpLocks noChangeAspect="1"/>
          </p:cNvGrpSpPr>
          <p:nvPr/>
        </p:nvGrpSpPr>
        <p:grpSpPr>
          <a:xfrm>
            <a:off x="4804" y="2"/>
            <a:ext cx="468178" cy="756000"/>
            <a:chOff x="4425584" y="267785"/>
            <a:chExt cx="2950814" cy="4756864"/>
          </a:xfrm>
          <a:solidFill>
            <a:schemeClr val="accent1"/>
          </a:solidFill>
        </p:grpSpPr>
        <p:grpSp>
          <p:nvGrpSpPr>
            <p:cNvPr id="6" name="Graphic 2">
              <a:extLst>
                <a:ext uri="{FF2B5EF4-FFF2-40B4-BE49-F238E27FC236}">
                  <a16:creationId xmlns:a16="http://schemas.microsoft.com/office/drawing/2014/main" id="{A9DBC34F-F3A6-E907-F187-528EA1DAE99E}"/>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033C72C7-D37C-B450-EB26-B4E28AECE86E}"/>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3A008AF3-E97E-F390-2EEC-755DBCB363D8}"/>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EBC3E639-F228-9588-6718-219B5D098792}"/>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833F1154-3CA4-D24D-5F54-7E37D01D799A}"/>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745BCC4-600A-40DC-EF58-FEF5DF8C1847}"/>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1F11A763-011D-E075-D573-BE82D0539618}"/>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320273BD-13FD-BB35-A367-7269815650D0}"/>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6CBF7EA9-C734-FDF4-181B-C362EBF7B34C}"/>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F083D06C-43D6-486F-8869-A52CFD5172B4}"/>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99882535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13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308886899"/>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73961AF3-0BAC-3B23-DECC-06C944A8A0FC}"/>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509" y="1"/>
            <a:ext cx="9138645" cy="5141060"/>
          </a:xfrm>
          <a:prstGeom prst="rect">
            <a:avLst/>
          </a:prstGeom>
        </p:spPr>
      </p:pic>
      <p:pic>
        <p:nvPicPr>
          <p:cNvPr id="17" name="Picture 16">
            <a:extLst>
              <a:ext uri="{FF2B5EF4-FFF2-40B4-BE49-F238E27FC236}">
                <a16:creationId xmlns:a16="http://schemas.microsoft.com/office/drawing/2014/main" id="{11511514-914E-FC06-D18F-12E951B5EDFF}"/>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t="-218" r="-245"/>
          <a:stretch/>
        </p:blipFill>
        <p:spPr>
          <a:xfrm>
            <a:off x="5744200" y="0"/>
            <a:ext cx="3394915" cy="5147988"/>
          </a:xfrm>
          <a:custGeom>
            <a:avLst/>
            <a:gdLst>
              <a:gd name="connsiteX0" fmla="*/ 1106417 w 4511121"/>
              <a:gd name="connsiteY0" fmla="*/ 0 h 6854747"/>
              <a:gd name="connsiteX1" fmla="*/ 4511121 w 4511121"/>
              <a:gd name="connsiteY1" fmla="*/ 0 h 6854747"/>
              <a:gd name="connsiteX2" fmla="*/ 4511121 w 4511121"/>
              <a:gd name="connsiteY2" fmla="*/ 6854747 h 6854747"/>
              <a:gd name="connsiteX3" fmla="*/ 0 w 4511121"/>
              <a:gd name="connsiteY3" fmla="*/ 6854747 h 6854747"/>
              <a:gd name="connsiteX4" fmla="*/ 166363 w 4511121"/>
              <a:gd name="connsiteY4" fmla="*/ 5824052 h 6854747"/>
              <a:gd name="connsiteX5" fmla="*/ 924543 w 4511121"/>
              <a:gd name="connsiteY5" fmla="*/ 5824052 h 6854747"/>
              <a:gd name="connsiteX6" fmla="*/ 924543 w 4511121"/>
              <a:gd name="connsiteY6" fmla="*/ 5824051 h 6854747"/>
              <a:gd name="connsiteX7" fmla="*/ 166363 w 4511121"/>
              <a:gd name="connsiteY7" fmla="*/ 5824051 h 6854747"/>
              <a:gd name="connsiteX8" fmla="*/ 1106416 w 4511121"/>
              <a:gd name="connsiteY8" fmla="*/ 2 h 6854747"/>
              <a:gd name="connsiteX9" fmla="*/ 1634333 w 4511121"/>
              <a:gd name="connsiteY9" fmla="*/ 2 h 6854747"/>
              <a:gd name="connsiteX10" fmla="*/ 1696892 w 4511121"/>
              <a:gd name="connsiteY10" fmla="*/ 8479 h 6854747"/>
              <a:gd name="connsiteX11" fmla="*/ 1696892 w 4511121"/>
              <a:gd name="connsiteY11" fmla="*/ 8478 h 6854747"/>
              <a:gd name="connsiteX12" fmla="*/ 1634333 w 4511121"/>
              <a:gd name="connsiteY12" fmla="*/ 1 h 6854747"/>
              <a:gd name="connsiteX13" fmla="*/ 1106416 w 4511121"/>
              <a:gd name="connsiteY13" fmla="*/ 1 h 685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121" h="6854747">
                <a:moveTo>
                  <a:pt x="1106417" y="0"/>
                </a:moveTo>
                <a:lnTo>
                  <a:pt x="4511121" y="0"/>
                </a:lnTo>
                <a:lnTo>
                  <a:pt x="4511121" y="6854747"/>
                </a:lnTo>
                <a:lnTo>
                  <a:pt x="0" y="6854747"/>
                </a:lnTo>
                <a:lnTo>
                  <a:pt x="166363" y="5824052"/>
                </a:lnTo>
                <a:lnTo>
                  <a:pt x="924543" y="5824052"/>
                </a:lnTo>
                <a:lnTo>
                  <a:pt x="924543" y="5824051"/>
                </a:lnTo>
                <a:lnTo>
                  <a:pt x="166363" y="5824051"/>
                </a:lnTo>
                <a:lnTo>
                  <a:pt x="1106416" y="2"/>
                </a:lnTo>
                <a:lnTo>
                  <a:pt x="1634333" y="2"/>
                </a:lnTo>
                <a:lnTo>
                  <a:pt x="1696892" y="8479"/>
                </a:lnTo>
                <a:lnTo>
                  <a:pt x="1696892" y="8478"/>
                </a:lnTo>
                <a:lnTo>
                  <a:pt x="1634333" y="1"/>
                </a:lnTo>
                <a:lnTo>
                  <a:pt x="1106416" y="1"/>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ABEF3C90-A9AF-7986-9EC9-D328CD35443B}"/>
              </a:ext>
            </a:extLst>
          </p:cNvPr>
          <p:cNvGrpSpPr>
            <a:grpSpLocks noChangeAspect="1"/>
          </p:cNvGrpSpPr>
          <p:nvPr/>
        </p:nvGrpSpPr>
        <p:grpSpPr>
          <a:xfrm>
            <a:off x="4804" y="2"/>
            <a:ext cx="468178" cy="756000"/>
            <a:chOff x="4425584" y="267785"/>
            <a:chExt cx="2950814" cy="4756864"/>
          </a:xfrm>
          <a:solidFill>
            <a:schemeClr val="accent1"/>
          </a:solidFill>
        </p:grpSpPr>
        <p:grpSp>
          <p:nvGrpSpPr>
            <p:cNvPr id="3" name="Graphic 2">
              <a:extLst>
                <a:ext uri="{FF2B5EF4-FFF2-40B4-BE49-F238E27FC236}">
                  <a16:creationId xmlns:a16="http://schemas.microsoft.com/office/drawing/2014/main" id="{72D73334-B35C-7954-1936-98ACBBAC9012}"/>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86939B4E-B5F4-9BB2-6772-8A5D1D9D2560}"/>
                  </a:ext>
                </a:extLst>
              </p:cNvPr>
              <p:cNvGrpSpPr/>
              <p:nvPr/>
            </p:nvGrpSpPr>
            <p:grpSpPr>
              <a:xfrm>
                <a:off x="5720269" y="2764575"/>
                <a:ext cx="1656129" cy="1882392"/>
                <a:chOff x="5720269" y="2764575"/>
                <a:chExt cx="1656129" cy="1882392"/>
              </a:xfrm>
              <a:solidFill>
                <a:srgbClr val="00A099"/>
              </a:solidFill>
            </p:grpSpPr>
            <p:sp>
              <p:nvSpPr>
                <p:cNvPr id="15" name="Freeform 75">
                  <a:extLst>
                    <a:ext uri="{FF2B5EF4-FFF2-40B4-BE49-F238E27FC236}">
                      <a16:creationId xmlns:a16="http://schemas.microsoft.com/office/drawing/2014/main" id="{17CF27B8-71E3-E5AD-D343-39885DAE95CB}"/>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6">
                  <a:extLst>
                    <a:ext uri="{FF2B5EF4-FFF2-40B4-BE49-F238E27FC236}">
                      <a16:creationId xmlns:a16="http://schemas.microsoft.com/office/drawing/2014/main" id="{4D998468-CD7C-54A7-A31D-1DC97D0965E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B86D4BE5-E10A-D56A-C6E9-E0971B82FD15}"/>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0" name="Freeform 72">
                <a:extLst>
                  <a:ext uri="{FF2B5EF4-FFF2-40B4-BE49-F238E27FC236}">
                    <a16:creationId xmlns:a16="http://schemas.microsoft.com/office/drawing/2014/main" id="{FEB3C013-7EE7-CA9E-91FB-85FCBD75D280}"/>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1" name="Freeform 73">
                <a:extLst>
                  <a:ext uri="{FF2B5EF4-FFF2-40B4-BE49-F238E27FC236}">
                    <a16:creationId xmlns:a16="http://schemas.microsoft.com/office/drawing/2014/main" id="{2F50CD9D-0F73-DD28-EE1E-47C74F19ADD5}"/>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4">
                <a:extLst>
                  <a:ext uri="{FF2B5EF4-FFF2-40B4-BE49-F238E27FC236}">
                    <a16:creationId xmlns:a16="http://schemas.microsoft.com/office/drawing/2014/main" id="{7C822FDB-D784-BC8E-2E16-DA792FF76843}"/>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10782F7F-4E40-D04E-1A96-BA3197EBF5AB}"/>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27227963-6E9C-F37F-ACAA-53CC991CFDE1}"/>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421872782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14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1385752830"/>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descr="Close-up of a pen writing on a chart">
            <a:extLst>
              <a:ext uri="{FF2B5EF4-FFF2-40B4-BE49-F238E27FC236}">
                <a16:creationId xmlns:a16="http://schemas.microsoft.com/office/drawing/2014/main" id="{2117F75F-8932-4B18-5263-6FD54F2D617B}"/>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a:noFill/>
        </p:spPr>
      </p:pic>
      <p:pic>
        <p:nvPicPr>
          <p:cNvPr id="8" name="Picture 7" descr="Close-up of a pen writing on a chart">
            <a:extLst>
              <a:ext uri="{FF2B5EF4-FFF2-40B4-BE49-F238E27FC236}">
                <a16:creationId xmlns:a16="http://schemas.microsoft.com/office/drawing/2014/main" id="{B140270D-787B-3A30-8E81-F2B0349FDB5E}"/>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5378" y="0"/>
            <a:ext cx="3383735" cy="5143500"/>
          </a:xfrm>
          <a:custGeom>
            <a:avLst/>
            <a:gdLst>
              <a:gd name="connsiteX0" fmla="*/ 1106942 w 4511646"/>
              <a:gd name="connsiteY0" fmla="*/ 0 h 6858000"/>
              <a:gd name="connsiteX1" fmla="*/ 4511646 w 4511646"/>
              <a:gd name="connsiteY1" fmla="*/ 0 h 6858000"/>
              <a:gd name="connsiteX2" fmla="*/ 4511646 w 4511646"/>
              <a:gd name="connsiteY2" fmla="*/ 6858000 h 6858000"/>
              <a:gd name="connsiteX3" fmla="*/ 0 w 4511646"/>
              <a:gd name="connsiteY3" fmla="*/ 6858000 h 6858000"/>
              <a:gd name="connsiteX4" fmla="*/ 166888 w 4511646"/>
              <a:gd name="connsiteY4" fmla="*/ 5824052 h 6858000"/>
              <a:gd name="connsiteX5" fmla="*/ 925068 w 4511646"/>
              <a:gd name="connsiteY5" fmla="*/ 5824052 h 6858000"/>
              <a:gd name="connsiteX6" fmla="*/ 925068 w 4511646"/>
              <a:gd name="connsiteY6" fmla="*/ 5824051 h 6858000"/>
              <a:gd name="connsiteX7" fmla="*/ 166888 w 4511646"/>
              <a:gd name="connsiteY7" fmla="*/ 5824051 h 6858000"/>
              <a:gd name="connsiteX8" fmla="*/ 1106941 w 4511646"/>
              <a:gd name="connsiteY8" fmla="*/ 2 h 6858000"/>
              <a:gd name="connsiteX9" fmla="*/ 1634858 w 4511646"/>
              <a:gd name="connsiteY9" fmla="*/ 2 h 6858000"/>
              <a:gd name="connsiteX10" fmla="*/ 1697417 w 4511646"/>
              <a:gd name="connsiteY10" fmla="*/ 8479 h 6858000"/>
              <a:gd name="connsiteX11" fmla="*/ 1697417 w 4511646"/>
              <a:gd name="connsiteY11" fmla="*/ 8478 h 6858000"/>
              <a:gd name="connsiteX12" fmla="*/ 1634858 w 4511646"/>
              <a:gd name="connsiteY12" fmla="*/ 1 h 6858000"/>
              <a:gd name="connsiteX13" fmla="*/ 1106941 w 4511646"/>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646" h="6858000">
                <a:moveTo>
                  <a:pt x="1106942" y="0"/>
                </a:moveTo>
                <a:lnTo>
                  <a:pt x="4511646" y="0"/>
                </a:lnTo>
                <a:lnTo>
                  <a:pt x="4511646"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9EC6A14E-CAD9-71F4-033C-4A4002363410}"/>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6F74C849-406E-D1CC-5AF9-BC946A661D5C}"/>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39F00991-38F4-4141-276C-06D7690DE4AF}"/>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9FE81324-22A5-5E78-9524-675E738F8A78}"/>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01EFE7C2-812E-10E2-7124-751F08F0541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CA2F1E99-699F-80C2-51EE-08E8C81D0F75}"/>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4C8B2E6E-2AA1-60BD-6690-8F5DCEF5704C}"/>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C454ACAA-9ED9-3F5E-F151-A766E07A1E4E}"/>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55413CD3-186D-6E43-7C77-8F8E75A7FE08}"/>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E1EE5F01-B53C-C4A2-A3B6-DAEA42072395}"/>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F756E25D-FFEA-C4E5-A3FF-C0294371F54B}"/>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01316157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17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224255359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5488AB93-1CC5-1523-C61D-F92B49553FD4}"/>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0" y="0"/>
            <a:ext cx="9144000" cy="5143500"/>
          </a:xfrm>
          <a:prstGeom prst="rect">
            <a:avLst/>
          </a:prstGeom>
          <a:noFill/>
        </p:spPr>
      </p:pic>
      <p:pic>
        <p:nvPicPr>
          <p:cNvPr id="8" name="Picture 7">
            <a:extLst>
              <a:ext uri="{FF2B5EF4-FFF2-40B4-BE49-F238E27FC236}">
                <a16:creationId xmlns:a16="http://schemas.microsoft.com/office/drawing/2014/main" id="{FDFA8344-EDB2-8E0A-0741-7E68EC526B00}"/>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b="-20"/>
          <a:stretch/>
        </p:blipFill>
        <p:spPr>
          <a:xfrm>
            <a:off x="5755378" y="0"/>
            <a:ext cx="3388623" cy="5143500"/>
          </a:xfrm>
          <a:custGeom>
            <a:avLst/>
            <a:gdLst>
              <a:gd name="connsiteX0" fmla="*/ 1106942 w 4518164"/>
              <a:gd name="connsiteY0" fmla="*/ 0 h 6858000"/>
              <a:gd name="connsiteX1" fmla="*/ 4518164 w 4518164"/>
              <a:gd name="connsiteY1" fmla="*/ 0 h 6858000"/>
              <a:gd name="connsiteX2" fmla="*/ 4518164 w 4518164"/>
              <a:gd name="connsiteY2" fmla="*/ 6858000 h 6858000"/>
              <a:gd name="connsiteX3" fmla="*/ 0 w 4518164"/>
              <a:gd name="connsiteY3" fmla="*/ 6858000 h 6858000"/>
              <a:gd name="connsiteX4" fmla="*/ 166888 w 4518164"/>
              <a:gd name="connsiteY4" fmla="*/ 5824052 h 6858000"/>
              <a:gd name="connsiteX5" fmla="*/ 925068 w 4518164"/>
              <a:gd name="connsiteY5" fmla="*/ 5824052 h 6858000"/>
              <a:gd name="connsiteX6" fmla="*/ 925068 w 4518164"/>
              <a:gd name="connsiteY6" fmla="*/ 5824051 h 6858000"/>
              <a:gd name="connsiteX7" fmla="*/ 166888 w 4518164"/>
              <a:gd name="connsiteY7" fmla="*/ 5824051 h 6858000"/>
              <a:gd name="connsiteX8" fmla="*/ 1106941 w 4518164"/>
              <a:gd name="connsiteY8" fmla="*/ 2 h 6858000"/>
              <a:gd name="connsiteX9" fmla="*/ 1634858 w 4518164"/>
              <a:gd name="connsiteY9" fmla="*/ 2 h 6858000"/>
              <a:gd name="connsiteX10" fmla="*/ 1697417 w 4518164"/>
              <a:gd name="connsiteY10" fmla="*/ 8479 h 6858000"/>
              <a:gd name="connsiteX11" fmla="*/ 1697417 w 4518164"/>
              <a:gd name="connsiteY11" fmla="*/ 8478 h 6858000"/>
              <a:gd name="connsiteX12" fmla="*/ 1634858 w 4518164"/>
              <a:gd name="connsiteY12" fmla="*/ 1 h 6858000"/>
              <a:gd name="connsiteX13" fmla="*/ 1106941 w 4518164"/>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8164" h="6858000">
                <a:moveTo>
                  <a:pt x="1106942" y="0"/>
                </a:moveTo>
                <a:lnTo>
                  <a:pt x="4518164" y="0"/>
                </a:lnTo>
                <a:lnTo>
                  <a:pt x="4518164"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4985"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04FE90DF-C7D4-8746-E3F6-95FCC169D3C9}"/>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3B7CD4DD-47D5-52E0-F9BB-212D85B04C32}"/>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420519BF-0BE4-DBAC-CAE5-9836244F21CD}"/>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1FA6642A-1534-9ED0-8D41-7C2300ECB332}"/>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41D268AB-F881-F75A-CC10-9E2695B51653}"/>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59B6614E-82EF-98E5-93A0-7A3145592869}"/>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FC18EA1-19C1-EF5B-C7F8-9DEDC8101BDA}"/>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65C3E232-6124-BD30-7B34-D85C8087EBA6}"/>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F0BA64A2-1D33-9F57-D2B4-51CEA3FBAF7F}"/>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3BAB17F1-553B-4DC3-AD60-DB86D9CD0945}"/>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B24904F8-B3A1-A913-348E-1E258A695E6F}"/>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303256064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9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1007173955"/>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43859227-41B1-FA74-F544-0FC47C2A08F5}"/>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a:noFill/>
        </p:spPr>
      </p:pic>
      <p:pic>
        <p:nvPicPr>
          <p:cNvPr id="6" name="Picture 5">
            <a:extLst>
              <a:ext uri="{FF2B5EF4-FFF2-40B4-BE49-F238E27FC236}">
                <a16:creationId xmlns:a16="http://schemas.microsoft.com/office/drawing/2014/main" id="{E86C371C-FB21-D6EA-4464-FF380523A5B4}"/>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5773" y="1"/>
            <a:ext cx="3383341" cy="5141060"/>
          </a:xfrm>
          <a:custGeom>
            <a:avLst/>
            <a:gdLst>
              <a:gd name="connsiteX0" fmla="*/ 1106417 w 4511121"/>
              <a:gd name="connsiteY0" fmla="*/ 0 h 6854747"/>
              <a:gd name="connsiteX1" fmla="*/ 4511121 w 4511121"/>
              <a:gd name="connsiteY1" fmla="*/ 0 h 6854747"/>
              <a:gd name="connsiteX2" fmla="*/ 4511121 w 4511121"/>
              <a:gd name="connsiteY2" fmla="*/ 6854747 h 6854747"/>
              <a:gd name="connsiteX3" fmla="*/ 0 w 4511121"/>
              <a:gd name="connsiteY3" fmla="*/ 6854747 h 6854747"/>
              <a:gd name="connsiteX4" fmla="*/ 166363 w 4511121"/>
              <a:gd name="connsiteY4" fmla="*/ 5824052 h 6854747"/>
              <a:gd name="connsiteX5" fmla="*/ 924543 w 4511121"/>
              <a:gd name="connsiteY5" fmla="*/ 5824052 h 6854747"/>
              <a:gd name="connsiteX6" fmla="*/ 924543 w 4511121"/>
              <a:gd name="connsiteY6" fmla="*/ 5824051 h 6854747"/>
              <a:gd name="connsiteX7" fmla="*/ 166363 w 4511121"/>
              <a:gd name="connsiteY7" fmla="*/ 5824051 h 6854747"/>
              <a:gd name="connsiteX8" fmla="*/ 1106416 w 4511121"/>
              <a:gd name="connsiteY8" fmla="*/ 2 h 6854747"/>
              <a:gd name="connsiteX9" fmla="*/ 1634333 w 4511121"/>
              <a:gd name="connsiteY9" fmla="*/ 2 h 6854747"/>
              <a:gd name="connsiteX10" fmla="*/ 1696892 w 4511121"/>
              <a:gd name="connsiteY10" fmla="*/ 8479 h 6854747"/>
              <a:gd name="connsiteX11" fmla="*/ 1696892 w 4511121"/>
              <a:gd name="connsiteY11" fmla="*/ 8478 h 6854747"/>
              <a:gd name="connsiteX12" fmla="*/ 1634333 w 4511121"/>
              <a:gd name="connsiteY12" fmla="*/ 1 h 6854747"/>
              <a:gd name="connsiteX13" fmla="*/ 1106416 w 4511121"/>
              <a:gd name="connsiteY13" fmla="*/ 1 h 685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121" h="6854747">
                <a:moveTo>
                  <a:pt x="1106417" y="0"/>
                </a:moveTo>
                <a:lnTo>
                  <a:pt x="4511121" y="0"/>
                </a:lnTo>
                <a:lnTo>
                  <a:pt x="4511121" y="6854747"/>
                </a:lnTo>
                <a:lnTo>
                  <a:pt x="0" y="6854747"/>
                </a:lnTo>
                <a:lnTo>
                  <a:pt x="166363" y="5824052"/>
                </a:lnTo>
                <a:lnTo>
                  <a:pt x="924543" y="5824052"/>
                </a:lnTo>
                <a:lnTo>
                  <a:pt x="924543" y="5824051"/>
                </a:lnTo>
                <a:lnTo>
                  <a:pt x="166363" y="5824051"/>
                </a:lnTo>
                <a:lnTo>
                  <a:pt x="1106416" y="2"/>
                </a:lnTo>
                <a:lnTo>
                  <a:pt x="1634333" y="2"/>
                </a:lnTo>
                <a:lnTo>
                  <a:pt x="1696892" y="8479"/>
                </a:lnTo>
                <a:lnTo>
                  <a:pt x="1696892" y="8478"/>
                </a:lnTo>
                <a:lnTo>
                  <a:pt x="1634333" y="1"/>
                </a:lnTo>
                <a:lnTo>
                  <a:pt x="1106416"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9A7759E3-A183-27BD-4CCE-09F922F4FDF5}"/>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E4DB8B3B-3E8E-3B0D-6176-159D7745F26E}"/>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8EC0F9E3-7712-626B-3965-79322F2D2F33}"/>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BA4CCC59-494F-091D-DCB5-23F21DA93489}"/>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DCEA12D7-D968-C9F0-F436-782592C03424}"/>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F4FEA879-8D7D-3598-C055-4C7BD47EA515}"/>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3DA045B4-9641-5CBD-D231-5BB2B0D81341}"/>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E03FB336-4D82-722A-1A40-528C18C106A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4AAED0AB-6D6E-0958-02E2-A651579E8D49}"/>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9619FCC4-E57B-ABA0-CE52-E34ADC1D64B1}"/>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DB428BAF-FBA7-DE9B-F236-A984CF644D17}"/>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9005314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16_Lunch slid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924CABC-6B2B-0EB2-D552-1EEEEFE14A7F}"/>
              </a:ext>
            </a:extLst>
          </p:cNvPr>
          <p:cNvGraphicFramePr>
            <a:graphicFrameLocks noChangeAspect="1"/>
          </p:cNvGraphicFramePr>
          <p:nvPr>
            <p:custDataLst>
              <p:tags r:id="rId1"/>
            </p:custDataLst>
            <p:extLst>
              <p:ext uri="{D42A27DB-BD31-4B8C-83A1-F6EECF244321}">
                <p14:modId xmlns:p14="http://schemas.microsoft.com/office/powerpoint/2010/main" val="1058180766"/>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5" name="think-cell data - do not delete" hidden="1">
                        <a:extLst>
                          <a:ext uri="{FF2B5EF4-FFF2-40B4-BE49-F238E27FC236}">
                            <a16:creationId xmlns:a16="http://schemas.microsoft.com/office/drawing/2014/main" id="{4924CABC-6B2B-0EB2-D552-1EEEEFE14A7F}"/>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pic>
        <p:nvPicPr>
          <p:cNvPr id="3" name="Picture 2" descr="A picture containing text, table, person, indoor&#10;&#10;Description automatically generated">
            <a:extLst>
              <a:ext uri="{FF2B5EF4-FFF2-40B4-BE49-F238E27FC236}">
                <a16:creationId xmlns:a16="http://schemas.microsoft.com/office/drawing/2014/main" id="{6E669C65-A98C-ED4F-411A-6AEBA075375E}"/>
              </a:ext>
            </a:extLst>
          </p:cNvPr>
          <p:cNvPicPr>
            <a:picLocks noChangeAspect="1"/>
          </p:cNvPicPr>
          <p:nvPr/>
        </p:nvPicPr>
        <p:blipFill rotWithShape="1">
          <a:blip r:embed="rId5" cstate="screen">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a:ext>
            </a:extLst>
          </a:blip>
          <a:srcRect/>
          <a:stretch/>
        </p:blipFill>
        <p:spPr>
          <a:xfrm>
            <a:off x="1" y="1"/>
            <a:ext cx="9139661" cy="5141060"/>
          </a:xfrm>
          <a:prstGeom prst="rect">
            <a:avLst/>
          </a:prstGeom>
        </p:spPr>
      </p:pic>
      <p:pic>
        <p:nvPicPr>
          <p:cNvPr id="7" name="Picture 6" descr="A picture containing text, table, person, indoor&#10;&#10;Description automatically generated">
            <a:extLst>
              <a:ext uri="{FF2B5EF4-FFF2-40B4-BE49-F238E27FC236}">
                <a16:creationId xmlns:a16="http://schemas.microsoft.com/office/drawing/2014/main" id="{C14B8F9F-639D-C63D-C2E9-6FB171F2A099}"/>
              </a:ext>
            </a:extLst>
          </p:cNvPr>
          <p:cNvPicPr>
            <a:picLocks noChangeAspect="1"/>
          </p:cNvPicPr>
          <p:nvPr/>
        </p:nvPicPr>
        <p:blipFill rotWithShape="1">
          <a:blip r:embed="rId7" cstate="email">
            <a:extLst>
              <a:ext uri="{BEBA8EAE-BF5A-486C-A8C5-ECC9F3942E4B}">
                <a14:imgProps xmlns:a14="http://schemas.microsoft.com/office/drawing/2010/main">
                  <a14:imgLayer r:embed="rId8">
                    <a14:imgEffect>
                      <a14:artisticBlur radius="20"/>
                    </a14:imgEffect>
                  </a14:imgLayer>
                </a14:imgProps>
              </a:ext>
              <a:ext uri="{28A0092B-C50C-407E-A947-70E740481C1C}">
                <a14:useLocalDpi xmlns:a14="http://schemas.microsoft.com/office/drawing/2010/main"/>
              </a:ext>
            </a:extLst>
          </a:blip>
          <a:srcRect/>
          <a:stretch/>
        </p:blipFill>
        <p:spPr>
          <a:xfrm>
            <a:off x="5755773" y="1"/>
            <a:ext cx="3383890" cy="5141060"/>
          </a:xfrm>
          <a:custGeom>
            <a:avLst/>
            <a:gdLst>
              <a:gd name="connsiteX0" fmla="*/ 1106416 w 4511853"/>
              <a:gd name="connsiteY0" fmla="*/ 0 h 6854746"/>
              <a:gd name="connsiteX1" fmla="*/ 4511853 w 4511853"/>
              <a:gd name="connsiteY1" fmla="*/ 0 h 6854746"/>
              <a:gd name="connsiteX2" fmla="*/ 4511853 w 4511853"/>
              <a:gd name="connsiteY2" fmla="*/ 6854746 h 6854746"/>
              <a:gd name="connsiteX3" fmla="*/ 0 w 4511853"/>
              <a:gd name="connsiteY3" fmla="*/ 6854746 h 6854746"/>
              <a:gd name="connsiteX4" fmla="*/ 166362 w 4511853"/>
              <a:gd name="connsiteY4" fmla="*/ 5824052 h 6854746"/>
              <a:gd name="connsiteX5" fmla="*/ 924542 w 4511853"/>
              <a:gd name="connsiteY5" fmla="*/ 5824052 h 6854746"/>
              <a:gd name="connsiteX6" fmla="*/ 924542 w 4511853"/>
              <a:gd name="connsiteY6" fmla="*/ 5824051 h 6854746"/>
              <a:gd name="connsiteX7" fmla="*/ 166362 w 4511853"/>
              <a:gd name="connsiteY7" fmla="*/ 5824051 h 6854746"/>
              <a:gd name="connsiteX8" fmla="*/ 1106415 w 4511853"/>
              <a:gd name="connsiteY8" fmla="*/ 2 h 6854746"/>
              <a:gd name="connsiteX9" fmla="*/ 1634332 w 4511853"/>
              <a:gd name="connsiteY9" fmla="*/ 2 h 6854746"/>
              <a:gd name="connsiteX10" fmla="*/ 1696891 w 4511853"/>
              <a:gd name="connsiteY10" fmla="*/ 8479 h 6854746"/>
              <a:gd name="connsiteX11" fmla="*/ 1696891 w 4511853"/>
              <a:gd name="connsiteY11" fmla="*/ 8478 h 6854746"/>
              <a:gd name="connsiteX12" fmla="*/ 1634332 w 4511853"/>
              <a:gd name="connsiteY12" fmla="*/ 1 h 6854746"/>
              <a:gd name="connsiteX13" fmla="*/ 1106415 w 4511853"/>
              <a:gd name="connsiteY13" fmla="*/ 1 h 6854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853" h="6854746">
                <a:moveTo>
                  <a:pt x="1106416" y="0"/>
                </a:moveTo>
                <a:lnTo>
                  <a:pt x="4511853" y="0"/>
                </a:lnTo>
                <a:lnTo>
                  <a:pt x="4511853" y="6854746"/>
                </a:lnTo>
                <a:lnTo>
                  <a:pt x="0" y="6854746"/>
                </a:lnTo>
                <a:lnTo>
                  <a:pt x="166362" y="5824052"/>
                </a:lnTo>
                <a:lnTo>
                  <a:pt x="924542" y="5824052"/>
                </a:lnTo>
                <a:lnTo>
                  <a:pt x="924542" y="5824051"/>
                </a:lnTo>
                <a:lnTo>
                  <a:pt x="166362" y="5824051"/>
                </a:lnTo>
                <a:lnTo>
                  <a:pt x="1106415" y="2"/>
                </a:lnTo>
                <a:lnTo>
                  <a:pt x="1634332" y="2"/>
                </a:lnTo>
                <a:lnTo>
                  <a:pt x="1696891" y="8479"/>
                </a:lnTo>
                <a:lnTo>
                  <a:pt x="1696891" y="8478"/>
                </a:lnTo>
                <a:lnTo>
                  <a:pt x="1634332" y="1"/>
                </a:lnTo>
                <a:lnTo>
                  <a:pt x="1106415" y="1"/>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4985"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A0DEEBA9-7BBF-9066-9AD9-814A666AAA57}"/>
              </a:ext>
            </a:extLst>
          </p:cNvPr>
          <p:cNvGrpSpPr>
            <a:grpSpLocks noChangeAspect="1"/>
          </p:cNvGrpSpPr>
          <p:nvPr/>
        </p:nvGrpSpPr>
        <p:grpSpPr>
          <a:xfrm>
            <a:off x="4804" y="2"/>
            <a:ext cx="468178" cy="756000"/>
            <a:chOff x="4425584" y="267785"/>
            <a:chExt cx="2950814" cy="4756864"/>
          </a:xfrm>
          <a:solidFill>
            <a:schemeClr val="accent1"/>
          </a:solidFill>
        </p:grpSpPr>
        <p:grpSp>
          <p:nvGrpSpPr>
            <p:cNvPr id="4" name="Graphic 2">
              <a:extLst>
                <a:ext uri="{FF2B5EF4-FFF2-40B4-BE49-F238E27FC236}">
                  <a16:creationId xmlns:a16="http://schemas.microsoft.com/office/drawing/2014/main" id="{9F52AFEC-BAB4-4C24-6530-8E881EC2B322}"/>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A686350E-9352-280A-C43E-4C1DAE50642F}"/>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FC719EC5-48AE-04D8-4E26-2390B98E1FA2}"/>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FA0F339F-286F-B39E-EEF3-19DF62AB63C9}"/>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52C3A899-E06B-129B-0B67-D272E2EA8DA3}"/>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429F100-6DEB-46D2-A6C9-8C5F421F8164}"/>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795E4EB8-EB67-EEEA-759D-7FB263E7053D}"/>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F899A539-AE95-C379-070F-0C5BDD78796B}"/>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E75F5C94-5DB8-2715-88E4-AF09ABADD090}"/>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E15942AF-EAA1-84B4-DACA-5D8516420FD8}"/>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39071453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A72B04A8-0642-4B74-B509-37603BFD0282}" type="datetime1">
              <a:rPr lang="en-US" smtClean="0"/>
              <a:t>8/1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79661759"/>
      </p:ext>
    </p:extLst>
  </p:cSld>
  <p:clrMapOvr>
    <a:overrideClrMapping bg1="lt1" tx1="dk1" bg2="lt2" tx2="dk2" accent1="accent1" accent2="accent2" accent3="accent3" accent4="accent4" accent5="accent5" accent6="accent6" hlink="hlink" folHlink="folHlink"/>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15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3893495268"/>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5" name="Picture Placeholder 4">
            <a:extLst>
              <a:ext uri="{FF2B5EF4-FFF2-40B4-BE49-F238E27FC236}">
                <a16:creationId xmlns:a16="http://schemas.microsoft.com/office/drawing/2014/main" id="{043D925F-E9DE-97E7-72EB-034C2AE8191C}"/>
              </a:ext>
            </a:extLst>
          </p:cNvPr>
          <p:cNvSpPr>
            <a:spLocks noGrp="1"/>
          </p:cNvSpPr>
          <p:nvPr>
            <p:ph type="pic" sz="quarter" idx="10"/>
          </p:nvPr>
        </p:nvSpPr>
        <p:spPr>
          <a:xfrm>
            <a:off x="4762" y="0"/>
            <a:ext cx="9139238" cy="5143500"/>
          </a:xfrm>
          <a:prstGeom prst="rect">
            <a:avLst/>
          </a:prstGeom>
          <a:solidFill>
            <a:schemeClr val="bg2">
              <a:lumMod val="90000"/>
            </a:schemeClr>
          </a:solidFill>
        </p:spPr>
        <p:txBody>
          <a:bodyPr/>
          <a:lstStyle/>
          <a:p>
            <a:r>
              <a:rPr lang="en-US"/>
              <a:t>Click icon to add picture</a:t>
            </a:r>
            <a:endParaRPr lang="en-GB"/>
          </a:p>
        </p:txBody>
      </p:sp>
      <p:sp>
        <p:nvSpPr>
          <p:cNvPr id="11" name="Picture Placeholder 10">
            <a:extLst>
              <a:ext uri="{FF2B5EF4-FFF2-40B4-BE49-F238E27FC236}">
                <a16:creationId xmlns:a16="http://schemas.microsoft.com/office/drawing/2014/main" id="{10D4FF9D-1245-7A3E-62CB-AF889860A481}"/>
              </a:ext>
            </a:extLst>
          </p:cNvPr>
          <p:cNvSpPr>
            <a:spLocks noGrp="1"/>
          </p:cNvSpPr>
          <p:nvPr>
            <p:ph type="pic" sz="quarter" idx="11"/>
          </p:nvPr>
        </p:nvSpPr>
        <p:spPr>
          <a:xfrm>
            <a:off x="5755773" y="1"/>
            <a:ext cx="3383341" cy="5141060"/>
          </a:xfrm>
          <a:custGeom>
            <a:avLst/>
            <a:gdLst>
              <a:gd name="connsiteX0" fmla="*/ 1106417 w 4511121"/>
              <a:gd name="connsiteY0" fmla="*/ 0 h 6854747"/>
              <a:gd name="connsiteX1" fmla="*/ 4511121 w 4511121"/>
              <a:gd name="connsiteY1" fmla="*/ 0 h 6854747"/>
              <a:gd name="connsiteX2" fmla="*/ 4511121 w 4511121"/>
              <a:gd name="connsiteY2" fmla="*/ 6854747 h 6854747"/>
              <a:gd name="connsiteX3" fmla="*/ 0 w 4511121"/>
              <a:gd name="connsiteY3" fmla="*/ 6854747 h 6854747"/>
              <a:gd name="connsiteX4" fmla="*/ 166363 w 4511121"/>
              <a:gd name="connsiteY4" fmla="*/ 5824052 h 6854747"/>
              <a:gd name="connsiteX5" fmla="*/ 924543 w 4511121"/>
              <a:gd name="connsiteY5" fmla="*/ 5824052 h 6854747"/>
              <a:gd name="connsiteX6" fmla="*/ 924543 w 4511121"/>
              <a:gd name="connsiteY6" fmla="*/ 5824051 h 6854747"/>
              <a:gd name="connsiteX7" fmla="*/ 166363 w 4511121"/>
              <a:gd name="connsiteY7" fmla="*/ 5824051 h 6854747"/>
              <a:gd name="connsiteX8" fmla="*/ 1106416 w 4511121"/>
              <a:gd name="connsiteY8" fmla="*/ 2 h 6854747"/>
              <a:gd name="connsiteX9" fmla="*/ 1634333 w 4511121"/>
              <a:gd name="connsiteY9" fmla="*/ 2 h 6854747"/>
              <a:gd name="connsiteX10" fmla="*/ 1696892 w 4511121"/>
              <a:gd name="connsiteY10" fmla="*/ 8479 h 6854747"/>
              <a:gd name="connsiteX11" fmla="*/ 1696892 w 4511121"/>
              <a:gd name="connsiteY11" fmla="*/ 8478 h 6854747"/>
              <a:gd name="connsiteX12" fmla="*/ 1634333 w 4511121"/>
              <a:gd name="connsiteY12" fmla="*/ 1 h 6854747"/>
              <a:gd name="connsiteX13" fmla="*/ 1106416 w 4511121"/>
              <a:gd name="connsiteY13" fmla="*/ 1 h 685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121" h="6854747">
                <a:moveTo>
                  <a:pt x="1106417" y="0"/>
                </a:moveTo>
                <a:lnTo>
                  <a:pt x="4511121" y="0"/>
                </a:lnTo>
                <a:lnTo>
                  <a:pt x="4511121" y="6854747"/>
                </a:lnTo>
                <a:lnTo>
                  <a:pt x="0" y="6854747"/>
                </a:lnTo>
                <a:lnTo>
                  <a:pt x="166363" y="5824052"/>
                </a:lnTo>
                <a:lnTo>
                  <a:pt x="924543" y="5824052"/>
                </a:lnTo>
                <a:lnTo>
                  <a:pt x="924543" y="5824051"/>
                </a:lnTo>
                <a:lnTo>
                  <a:pt x="166363" y="5824051"/>
                </a:lnTo>
                <a:lnTo>
                  <a:pt x="1106416" y="2"/>
                </a:lnTo>
                <a:lnTo>
                  <a:pt x="1634333" y="2"/>
                </a:lnTo>
                <a:lnTo>
                  <a:pt x="1696892" y="8479"/>
                </a:lnTo>
                <a:lnTo>
                  <a:pt x="1696892" y="8478"/>
                </a:lnTo>
                <a:lnTo>
                  <a:pt x="1634333" y="1"/>
                </a:lnTo>
                <a:lnTo>
                  <a:pt x="1106416" y="1"/>
                </a:lnTo>
                <a:close/>
              </a:path>
            </a:pathLst>
          </a:custGeom>
          <a:solidFill>
            <a:schemeClr val="accent3"/>
          </a:solidFill>
          <a:effectLst>
            <a:outerShdw blurRad="190500" dist="63500" dir="10800000" algn="r" rotWithShape="0">
              <a:prstClr val="black">
                <a:alpha val="40000"/>
              </a:prstClr>
            </a:outerShdw>
          </a:effectLst>
        </p:spPr>
        <p:txBody>
          <a:bodyPr wrap="square">
            <a:noAutofit/>
          </a:bodyPr>
          <a:lstStyle/>
          <a:p>
            <a:r>
              <a:rPr lang="en-US"/>
              <a:t>Click icon to add picture</a:t>
            </a:r>
            <a:endParaRPr lang="en-GB"/>
          </a:p>
        </p:txBody>
      </p:sp>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ABDF37E0-D086-07E4-E53D-1BE5E7332528}"/>
              </a:ext>
            </a:extLst>
          </p:cNvPr>
          <p:cNvGrpSpPr>
            <a:grpSpLocks noChangeAspect="1"/>
          </p:cNvGrpSpPr>
          <p:nvPr/>
        </p:nvGrpSpPr>
        <p:grpSpPr>
          <a:xfrm>
            <a:off x="4804" y="2"/>
            <a:ext cx="468178" cy="756000"/>
            <a:chOff x="4425584" y="267785"/>
            <a:chExt cx="2950814" cy="4756864"/>
          </a:xfrm>
          <a:solidFill>
            <a:schemeClr val="accent1"/>
          </a:solidFill>
        </p:grpSpPr>
        <p:grpSp>
          <p:nvGrpSpPr>
            <p:cNvPr id="6" name="Graphic 2">
              <a:extLst>
                <a:ext uri="{FF2B5EF4-FFF2-40B4-BE49-F238E27FC236}">
                  <a16:creationId xmlns:a16="http://schemas.microsoft.com/office/drawing/2014/main" id="{180BE3B6-5EA3-D02C-4D7E-21667A11A530}"/>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CCBA39EC-9686-8783-321B-270D8D6F3610}"/>
                  </a:ext>
                </a:extLst>
              </p:cNvPr>
              <p:cNvGrpSpPr/>
              <p:nvPr/>
            </p:nvGrpSpPr>
            <p:grpSpPr>
              <a:xfrm>
                <a:off x="5720269" y="2764575"/>
                <a:ext cx="1656129" cy="1882392"/>
                <a:chOff x="5720269" y="2764575"/>
                <a:chExt cx="1656129" cy="1882392"/>
              </a:xfrm>
              <a:solidFill>
                <a:srgbClr val="00A099"/>
              </a:solidFill>
            </p:grpSpPr>
            <p:sp>
              <p:nvSpPr>
                <p:cNvPr id="17" name="Freeform 75">
                  <a:extLst>
                    <a:ext uri="{FF2B5EF4-FFF2-40B4-BE49-F238E27FC236}">
                      <a16:creationId xmlns:a16="http://schemas.microsoft.com/office/drawing/2014/main" id="{AA94029E-F23C-C08C-F7E1-C2F2A9C85B53}"/>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6">
                  <a:extLst>
                    <a:ext uri="{FF2B5EF4-FFF2-40B4-BE49-F238E27FC236}">
                      <a16:creationId xmlns:a16="http://schemas.microsoft.com/office/drawing/2014/main" id="{E88982F6-91B8-45EB-3398-40D18384588B}"/>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Freeform 77">
                  <a:extLst>
                    <a:ext uri="{FF2B5EF4-FFF2-40B4-BE49-F238E27FC236}">
                      <a16:creationId xmlns:a16="http://schemas.microsoft.com/office/drawing/2014/main" id="{75D78B35-9DF4-D8E2-E0C3-83A3EEA0781E}"/>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2" name="Freeform 72">
                <a:extLst>
                  <a:ext uri="{FF2B5EF4-FFF2-40B4-BE49-F238E27FC236}">
                    <a16:creationId xmlns:a16="http://schemas.microsoft.com/office/drawing/2014/main" id="{E573A3C6-6716-D982-C1EA-0014F3817456}"/>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3">
                <a:extLst>
                  <a:ext uri="{FF2B5EF4-FFF2-40B4-BE49-F238E27FC236}">
                    <a16:creationId xmlns:a16="http://schemas.microsoft.com/office/drawing/2014/main" id="{94F203DD-CA5D-B8E1-7DD0-E6C7CB46A1C7}"/>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4">
                <a:extLst>
                  <a:ext uri="{FF2B5EF4-FFF2-40B4-BE49-F238E27FC236}">
                    <a16:creationId xmlns:a16="http://schemas.microsoft.com/office/drawing/2014/main" id="{5A15357C-17E0-841C-89B3-46D729D59C1E}"/>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2D3083DA-E962-222E-D6F1-A29AC7213A0A}"/>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6B6EAFFB-C231-8056-2DBB-B287971D9F5A}"/>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77962802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3_Custom Layout">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470281FC-4DA5-CBF6-3888-C1BF84972142}"/>
              </a:ext>
            </a:extLst>
          </p:cNvPr>
          <p:cNvGraphicFramePr>
            <a:graphicFrameLocks noChangeAspect="1"/>
          </p:cNvGraphicFramePr>
          <p:nvPr>
            <p:custDataLst>
              <p:tags r:id="rId1"/>
            </p:custDataLst>
            <p:extLst>
              <p:ext uri="{D42A27DB-BD31-4B8C-83A1-F6EECF244321}">
                <p14:modId xmlns:p14="http://schemas.microsoft.com/office/powerpoint/2010/main" val="197808098"/>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470281FC-4DA5-CBF6-3888-C1BF84972142}"/>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44C0A6C8-0742-BFC5-6418-EB121B24625B}"/>
              </a:ext>
            </a:extLst>
          </p:cNvPr>
          <p:cNvSpPr/>
          <p:nvPr/>
        </p:nvSpPr>
        <p:spPr>
          <a:xfrm flipV="1">
            <a:off x="298174" y="756404"/>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 name="Picture 3">
            <a:extLst>
              <a:ext uri="{FF2B5EF4-FFF2-40B4-BE49-F238E27FC236}">
                <a16:creationId xmlns:a16="http://schemas.microsoft.com/office/drawing/2014/main" id="{881EF171-5190-4F6B-A583-DC58847928D4}"/>
              </a:ext>
            </a:extLst>
          </p:cNvPr>
          <p:cNvPicPr>
            <a:picLocks noChangeAspect="1"/>
          </p:cNvPicPr>
          <p:nvPr/>
        </p:nvPicPr>
        <p:blipFill rotWithShape="1">
          <a:blip r:embed="rId5" cstate="print">
            <a:alphaModFix/>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a:ext>
            </a:extLst>
          </a:blip>
          <a:srcRect/>
          <a:stretch/>
        </p:blipFill>
        <p:spPr>
          <a:xfrm>
            <a:off x="1" y="2"/>
            <a:ext cx="2001645" cy="5138927"/>
          </a:xfrm>
          <a:custGeom>
            <a:avLst/>
            <a:gdLst>
              <a:gd name="connsiteX0" fmla="*/ 0 w 2668860"/>
              <a:gd name="connsiteY0" fmla="*/ 0 h 6851903"/>
              <a:gd name="connsiteX1" fmla="*/ 2668860 w 2668860"/>
              <a:gd name="connsiteY1" fmla="*/ 0 h 6851903"/>
              <a:gd name="connsiteX2" fmla="*/ 2427625 w 2668860"/>
              <a:gd name="connsiteY2" fmla="*/ 1012659 h 6851903"/>
              <a:gd name="connsiteX3" fmla="*/ 2427624 w 2668860"/>
              <a:gd name="connsiteY3" fmla="*/ 1012658 h 6851903"/>
              <a:gd name="connsiteX4" fmla="*/ 1036595 w 2668860"/>
              <a:gd name="connsiteY4" fmla="*/ 6851903 h 6851903"/>
              <a:gd name="connsiteX5" fmla="*/ 0 w 2668860"/>
              <a:gd name="connsiteY5" fmla="*/ 6851903 h 6851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8860" h="6851903">
                <a:moveTo>
                  <a:pt x="0" y="0"/>
                </a:moveTo>
                <a:lnTo>
                  <a:pt x="2668860" y="0"/>
                </a:lnTo>
                <a:lnTo>
                  <a:pt x="2427625" y="1012659"/>
                </a:lnTo>
                <a:lnTo>
                  <a:pt x="2427624" y="1012658"/>
                </a:lnTo>
                <a:lnTo>
                  <a:pt x="1036595" y="6851903"/>
                </a:lnTo>
                <a:lnTo>
                  <a:pt x="0" y="6851903"/>
                </a:lnTo>
                <a:close/>
              </a:path>
            </a:pathLst>
          </a:custGeom>
          <a:effectLst>
            <a:outerShdw blurRad="190500" dist="63500" algn="l" rotWithShape="0">
              <a:prstClr val="black">
                <a:alpha val="40000"/>
              </a:prstClr>
            </a:outerShdw>
          </a:effectLst>
        </p:spPr>
      </p:pic>
      <p:sp>
        <p:nvSpPr>
          <p:cNvPr id="5" name="Freeform 4">
            <a:extLst>
              <a:ext uri="{FF2B5EF4-FFF2-40B4-BE49-F238E27FC236}">
                <a16:creationId xmlns:a16="http://schemas.microsoft.com/office/drawing/2014/main" id="{BAE36E4B-15E5-8A2D-E35B-6E086214BBB5}"/>
              </a:ext>
            </a:extLst>
          </p:cNvPr>
          <p:cNvSpPr/>
          <p:nvPr/>
        </p:nvSpPr>
        <p:spPr>
          <a:xfrm>
            <a:off x="1" y="1"/>
            <a:ext cx="2003631"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pic>
        <p:nvPicPr>
          <p:cNvPr id="47" name="Graphic 46" descr="Questions with solid fill">
            <a:extLst>
              <a:ext uri="{FF2B5EF4-FFF2-40B4-BE49-F238E27FC236}">
                <a16:creationId xmlns:a16="http://schemas.microsoft.com/office/drawing/2014/main" id="{EE4A1AD7-6636-14B4-D364-9C1B63ABA4FB}"/>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591301" y="816769"/>
            <a:ext cx="2031206" cy="2031206"/>
          </a:xfrm>
          <a:prstGeom prst="rect">
            <a:avLst/>
          </a:prstGeom>
        </p:spPr>
      </p:pic>
      <p:grpSp>
        <p:nvGrpSpPr>
          <p:cNvPr id="18" name="Graphic 2">
            <a:extLst>
              <a:ext uri="{FF2B5EF4-FFF2-40B4-BE49-F238E27FC236}">
                <a16:creationId xmlns:a16="http://schemas.microsoft.com/office/drawing/2014/main" id="{AC89D95A-44CB-5A85-7E39-2788EA87B3EE}"/>
              </a:ext>
            </a:extLst>
          </p:cNvPr>
          <p:cNvGrpSpPr>
            <a:grpSpLocks noChangeAspect="1"/>
          </p:cNvGrpSpPr>
          <p:nvPr/>
        </p:nvGrpSpPr>
        <p:grpSpPr>
          <a:xfrm>
            <a:off x="4804" y="2"/>
            <a:ext cx="468178" cy="756000"/>
            <a:chOff x="4425584" y="267785"/>
            <a:chExt cx="2950814" cy="4756864"/>
          </a:xfrm>
          <a:solidFill>
            <a:schemeClr val="accent1"/>
          </a:solidFill>
        </p:grpSpPr>
        <p:grpSp>
          <p:nvGrpSpPr>
            <p:cNvPr id="19" name="Graphic 2">
              <a:extLst>
                <a:ext uri="{FF2B5EF4-FFF2-40B4-BE49-F238E27FC236}">
                  <a16:creationId xmlns:a16="http://schemas.microsoft.com/office/drawing/2014/main" id="{07D5AF5A-A3F3-267D-FFAA-BC9D3C756DE6}"/>
                </a:ext>
              </a:extLst>
            </p:cNvPr>
            <p:cNvGrpSpPr/>
            <p:nvPr/>
          </p:nvGrpSpPr>
          <p:grpSpPr>
            <a:xfrm>
              <a:off x="5720269" y="2764575"/>
              <a:ext cx="1656129" cy="1882392"/>
              <a:chOff x="5720269" y="2764575"/>
              <a:chExt cx="1656129" cy="1882392"/>
            </a:xfrm>
            <a:solidFill>
              <a:schemeClr val="accent1"/>
            </a:solidFill>
          </p:grpSpPr>
          <p:grpSp>
            <p:nvGrpSpPr>
              <p:cNvPr id="23" name="Graphic 2">
                <a:extLst>
                  <a:ext uri="{FF2B5EF4-FFF2-40B4-BE49-F238E27FC236}">
                    <a16:creationId xmlns:a16="http://schemas.microsoft.com/office/drawing/2014/main" id="{F9D1F83B-5E48-47F2-871D-FCA00540AA41}"/>
                  </a:ext>
                </a:extLst>
              </p:cNvPr>
              <p:cNvGrpSpPr/>
              <p:nvPr/>
            </p:nvGrpSpPr>
            <p:grpSpPr>
              <a:xfrm>
                <a:off x="5720269" y="2764575"/>
                <a:ext cx="1656129" cy="1882392"/>
                <a:chOff x="5720269" y="2764575"/>
                <a:chExt cx="1656129" cy="1882392"/>
              </a:xfrm>
              <a:solidFill>
                <a:srgbClr val="00A099"/>
              </a:solidFill>
            </p:grpSpPr>
            <p:sp>
              <p:nvSpPr>
                <p:cNvPr id="27" name="Freeform 75">
                  <a:extLst>
                    <a:ext uri="{FF2B5EF4-FFF2-40B4-BE49-F238E27FC236}">
                      <a16:creationId xmlns:a16="http://schemas.microsoft.com/office/drawing/2014/main" id="{06E72622-92E3-EBEA-0027-609D87E2ABFF}"/>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8" name="Freeform 76">
                  <a:extLst>
                    <a:ext uri="{FF2B5EF4-FFF2-40B4-BE49-F238E27FC236}">
                      <a16:creationId xmlns:a16="http://schemas.microsoft.com/office/drawing/2014/main" id="{2B9678C2-3912-814A-9644-8970C8799649}"/>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9" name="Freeform 77">
                  <a:extLst>
                    <a:ext uri="{FF2B5EF4-FFF2-40B4-BE49-F238E27FC236}">
                      <a16:creationId xmlns:a16="http://schemas.microsoft.com/office/drawing/2014/main" id="{C201A351-4259-F058-EE37-824824A0E6ED}"/>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4" name="Freeform 72">
                <a:extLst>
                  <a:ext uri="{FF2B5EF4-FFF2-40B4-BE49-F238E27FC236}">
                    <a16:creationId xmlns:a16="http://schemas.microsoft.com/office/drawing/2014/main" id="{A3240831-BB86-B9EF-BA18-BC2F6676C85D}"/>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5" name="Freeform 73">
                <a:extLst>
                  <a:ext uri="{FF2B5EF4-FFF2-40B4-BE49-F238E27FC236}">
                    <a16:creationId xmlns:a16="http://schemas.microsoft.com/office/drawing/2014/main" id="{82EB7286-1FF6-5D46-2A5F-38283459E3FF}"/>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6" name="Freeform 74">
                <a:extLst>
                  <a:ext uri="{FF2B5EF4-FFF2-40B4-BE49-F238E27FC236}">
                    <a16:creationId xmlns:a16="http://schemas.microsoft.com/office/drawing/2014/main" id="{9D06B755-51DE-33E0-305E-3D5826FB359F}"/>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0" name="Freeform 69">
              <a:extLst>
                <a:ext uri="{FF2B5EF4-FFF2-40B4-BE49-F238E27FC236}">
                  <a16:creationId xmlns:a16="http://schemas.microsoft.com/office/drawing/2014/main" id="{5697664E-6246-DD80-7AA1-B652A4EE3AC4}"/>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1" name="Freeform 70">
              <a:extLst>
                <a:ext uri="{FF2B5EF4-FFF2-40B4-BE49-F238E27FC236}">
                  <a16:creationId xmlns:a16="http://schemas.microsoft.com/office/drawing/2014/main" id="{224D0000-E85A-4DB6-88D9-D6B1AA97D3C5}"/>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45" name="TextBox 44">
            <a:extLst>
              <a:ext uri="{FF2B5EF4-FFF2-40B4-BE49-F238E27FC236}">
                <a16:creationId xmlns:a16="http://schemas.microsoft.com/office/drawing/2014/main" id="{2F2E65BA-3CC6-053E-18B1-3637B12D11C0}"/>
              </a:ext>
            </a:extLst>
          </p:cNvPr>
          <p:cNvSpPr txBox="1"/>
          <p:nvPr/>
        </p:nvSpPr>
        <p:spPr>
          <a:xfrm>
            <a:off x="2546747" y="715779"/>
            <a:ext cx="3140308" cy="516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lgn="l"/>
            <a:r>
              <a:rPr lang="en-GB" sz="3000">
                <a:solidFill>
                  <a:schemeClr val="accent1"/>
                </a:solidFill>
                <a:latin typeface="+mj-lt"/>
              </a:rPr>
              <a:t>Survey Question</a:t>
            </a:r>
          </a:p>
        </p:txBody>
      </p:sp>
      <p:sp>
        <p:nvSpPr>
          <p:cNvPr id="22" name="Title 21">
            <a:extLst>
              <a:ext uri="{FF2B5EF4-FFF2-40B4-BE49-F238E27FC236}">
                <a16:creationId xmlns:a16="http://schemas.microsoft.com/office/drawing/2014/main" id="{D2E328E9-ECC3-9B40-8F43-108C67AF3D54}"/>
              </a:ext>
            </a:extLst>
          </p:cNvPr>
          <p:cNvSpPr>
            <a:spLocks noGrp="1"/>
          </p:cNvSpPr>
          <p:nvPr>
            <p:ph type="title"/>
          </p:nvPr>
        </p:nvSpPr>
        <p:spPr>
          <a:xfrm>
            <a:off x="2546749" y="1984773"/>
            <a:ext cx="4050506" cy="586979"/>
          </a:xfrm>
          <a:prstGeom prst="rect">
            <a:avLst/>
          </a:prstGeom>
        </p:spPr>
        <p:txBody>
          <a:bodyPr vert="horz" anchor="b"/>
          <a:lstStyle>
            <a:lvl1pPr>
              <a:defRPr sz="1800"/>
            </a:lvl1pPr>
          </a:lstStyle>
          <a:p>
            <a:r>
              <a:rPr lang="en-US"/>
              <a:t>Click to edit Master title style</a:t>
            </a:r>
            <a:endParaRPr lang="en-GB"/>
          </a:p>
        </p:txBody>
      </p:sp>
      <p:sp>
        <p:nvSpPr>
          <p:cNvPr id="39" name="Text Placeholder 38">
            <a:extLst>
              <a:ext uri="{FF2B5EF4-FFF2-40B4-BE49-F238E27FC236}">
                <a16:creationId xmlns:a16="http://schemas.microsoft.com/office/drawing/2014/main" id="{766AA8F2-ED66-C8B6-F02F-A758C76F686D}"/>
              </a:ext>
            </a:extLst>
          </p:cNvPr>
          <p:cNvSpPr>
            <a:spLocks noGrp="1"/>
          </p:cNvSpPr>
          <p:nvPr>
            <p:ph type="body" sz="quarter" idx="10"/>
          </p:nvPr>
        </p:nvSpPr>
        <p:spPr>
          <a:xfrm>
            <a:off x="2546749" y="2571750"/>
            <a:ext cx="4050506" cy="2159794"/>
          </a:xfrm>
          <a:prstGeom prst="rect">
            <a:avLst/>
          </a:prstGeom>
        </p:spPr>
        <p:txBody>
          <a:bodyPr anchor="ctr"/>
          <a:lstStyle>
            <a:lvl1pPr>
              <a:spcBef>
                <a:spcPts val="450"/>
              </a:spcBef>
              <a:spcAft>
                <a:spcPts val="450"/>
              </a:spcAft>
              <a:defRPr sz="1500">
                <a:latin typeface="Nexa Book" panose="00000400000000000000" pitchFamily="50" charset="0"/>
              </a:defRPr>
            </a:lvl1pPr>
            <a:lvl2pPr>
              <a:spcBef>
                <a:spcPts val="450"/>
              </a:spcBef>
              <a:spcAft>
                <a:spcPts val="450"/>
              </a:spcAft>
              <a:defRPr sz="1500">
                <a:latin typeface="Nexa Book" panose="00000400000000000000" pitchFamily="50" charset="0"/>
              </a:defRPr>
            </a:lvl2pPr>
            <a:lvl3pPr>
              <a:spcBef>
                <a:spcPts val="450"/>
              </a:spcBef>
              <a:spcAft>
                <a:spcPts val="450"/>
              </a:spcAft>
              <a:defRPr sz="1500">
                <a:latin typeface="Nexa Book" panose="00000400000000000000" pitchFamily="50" charset="0"/>
              </a:defRPr>
            </a:lvl3pPr>
            <a:lvl4pPr>
              <a:spcBef>
                <a:spcPts val="450"/>
              </a:spcBef>
              <a:spcAft>
                <a:spcPts val="450"/>
              </a:spcAft>
              <a:defRPr sz="1500">
                <a:latin typeface="Nexa Book" panose="00000400000000000000" pitchFamily="50" charset="0"/>
              </a:defRPr>
            </a:lvl4pPr>
            <a:lvl5pPr>
              <a:spcBef>
                <a:spcPts val="450"/>
              </a:spcBef>
              <a:spcAft>
                <a:spcPts val="450"/>
              </a:spcAft>
              <a:defRPr sz="1500">
                <a:latin typeface="Nexa Book" panose="00000400000000000000" pitchFamily="50"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87881374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90716484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userDrawn="1"/>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9635056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userDrawn="1">
            <p:custDataLst>
              <p:tags r:id="rId1"/>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5" cstate="screen">
            <a:alphaModFix amt="15000"/>
            <a:extLst>
              <a:ext uri="{28A0092B-C50C-407E-A947-70E740481C1C}">
                <a14:useLocalDpi xmlns:a14="http://schemas.microsoft.com/office/drawing/2010/main"/>
              </a:ext>
            </a:extLst>
          </a:blip>
          <a:srcRect/>
          <a:stretch/>
        </p:blipFill>
        <p:spPr>
          <a:xfrm>
            <a:off x="1" y="790660"/>
            <a:ext cx="2653131" cy="4270686"/>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p:txBody>
          <a:bodyPr/>
          <a:lstStyle/>
          <a:p>
            <a:r>
              <a:rPr lang="en-US"/>
              <a:t>14/01/2024</a:t>
            </a:r>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521495" y="715919"/>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2771480" y="756000"/>
            <a:ext cx="5851026"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spTree>
    <p:extLst>
      <p:ext uri="{BB962C8B-B14F-4D97-AF65-F5344CB8AC3E}">
        <p14:creationId xmlns:p14="http://schemas.microsoft.com/office/powerpoint/2010/main" val="389918249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1_Subtitle &amp; Chart">
    <p:spTree>
      <p:nvGrpSpPr>
        <p:cNvPr id="1" name=""/>
        <p:cNvGrpSpPr/>
        <p:nvPr/>
      </p:nvGrpSpPr>
      <p:grpSpPr>
        <a:xfrm>
          <a:off x="0" y="0"/>
          <a:ext cx="0" cy="0"/>
          <a:chOff x="0" y="0"/>
          <a:chExt cx="0" cy="0"/>
        </a:xfrm>
      </p:grpSpPr>
      <p:sp>
        <p:nvSpPr>
          <p:cNvPr id="9" name="Date Placeholder 8">
            <a:extLst>
              <a:ext uri="{FF2B5EF4-FFF2-40B4-BE49-F238E27FC236}">
                <a16:creationId xmlns:a16="http://schemas.microsoft.com/office/drawing/2014/main" id="{9811D9C0-8736-4B36-9E13-374E792E42E5}"/>
              </a:ext>
            </a:extLst>
          </p:cNvPr>
          <p:cNvSpPr>
            <a:spLocks noGrp="1"/>
          </p:cNvSpPr>
          <p:nvPr>
            <p:ph type="dt" sz="half" idx="10"/>
          </p:nvPr>
        </p:nvSpPr>
        <p:spPr/>
        <p:txBody>
          <a:bodyPr/>
          <a:lstStyle>
            <a:lvl1pPr>
              <a:defRPr b="0" i="0">
                <a:latin typeface="Nexa Book" panose="00000400000000000000" pitchFamily="50" charset="0"/>
              </a:defRPr>
            </a:lvl1pPr>
          </a:lstStyle>
          <a:p>
            <a:fld id="{CD17B91A-3060-4837-8335-3BC08082BE89}" type="datetime1">
              <a:rPr lang="en-US" smtClean="0"/>
              <a:t>8/15/2025</a:t>
            </a:fld>
            <a:endParaRPr lang="en-US"/>
          </a:p>
        </p:txBody>
      </p:sp>
      <p:sp>
        <p:nvSpPr>
          <p:cNvPr id="10" name="Footer Placeholder 9">
            <a:extLst>
              <a:ext uri="{FF2B5EF4-FFF2-40B4-BE49-F238E27FC236}">
                <a16:creationId xmlns:a16="http://schemas.microsoft.com/office/drawing/2014/main" id="{7BBBFD60-4E0B-4B1D-B796-705519ED02B4}"/>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EF5CB6E5-8237-4D44-99D5-FD01A34D5457}"/>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cxnSp>
        <p:nvCxnSpPr>
          <p:cNvPr id="19" name="Straight Connector 18">
            <a:extLst>
              <a:ext uri="{FF2B5EF4-FFF2-40B4-BE49-F238E27FC236}">
                <a16:creationId xmlns:a16="http://schemas.microsoft.com/office/drawing/2014/main" id="{463E9F05-5744-462A-AB1D-B4CFDE2B82AD}"/>
              </a:ext>
            </a:extLst>
          </p:cNvPr>
          <p:cNvCxnSpPr>
            <a:cxnSpLocks/>
          </p:cNvCxnSpPr>
          <p:nvPr userDrawn="1"/>
        </p:nvCxnSpPr>
        <p:spPr>
          <a:xfrm flipV="1">
            <a:off x="548639" y="4956617"/>
            <a:ext cx="8092440" cy="366"/>
          </a:xfrm>
          <a:prstGeom prst="line">
            <a:avLst/>
          </a:prstGeom>
          <a:ln w="6350" cap="rnd">
            <a:solidFill>
              <a:schemeClr val="bg2"/>
            </a:solidFill>
          </a:ln>
        </p:spPr>
        <p:style>
          <a:lnRef idx="1">
            <a:schemeClr val="accent1"/>
          </a:lnRef>
          <a:fillRef idx="0">
            <a:schemeClr val="accent1"/>
          </a:fillRef>
          <a:effectRef idx="0">
            <a:schemeClr val="accent1"/>
          </a:effectRef>
          <a:fontRef idx="minor">
            <a:schemeClr val="tx1"/>
          </a:fontRef>
        </p:style>
      </p:cxnSp>
      <p:sp>
        <p:nvSpPr>
          <p:cNvPr id="5" name="Subtitle">
            <a:extLst>
              <a:ext uri="{FF2B5EF4-FFF2-40B4-BE49-F238E27FC236}">
                <a16:creationId xmlns:a16="http://schemas.microsoft.com/office/drawing/2014/main" id="{80C4D44D-B0D2-4219-99BF-8D83E1E753B9}"/>
              </a:ext>
            </a:extLst>
          </p:cNvPr>
          <p:cNvSpPr>
            <a:spLocks noGrp="1"/>
          </p:cNvSpPr>
          <p:nvPr>
            <p:ph type="body" sz="quarter" idx="14" hasCustomPrompt="1"/>
          </p:nvPr>
        </p:nvSpPr>
        <p:spPr>
          <a:xfrm>
            <a:off x="540000" y="810000"/>
            <a:ext cx="8100000" cy="405000"/>
          </a:xfrm>
          <a:prstGeom prst="rect">
            <a:avLst/>
          </a:prstGeom>
        </p:spPr>
        <p:txBody>
          <a:bodyPr/>
          <a:lstStyle>
            <a:lvl1pPr marL="0" indent="0">
              <a:spcBef>
                <a:spcPts val="0"/>
              </a:spcBef>
              <a:buNone/>
              <a:defRPr sz="1200" b="1" i="0">
                <a:solidFill>
                  <a:schemeClr val="accent3"/>
                </a:solidFill>
                <a:latin typeface="+mj-lt"/>
              </a:defRPr>
            </a:lvl1pPr>
          </a:lstStyle>
          <a:p>
            <a:pPr lvl="0"/>
            <a:r>
              <a:rPr lang="nl-NL"/>
              <a:t>Subtitle | Chart Title</a:t>
            </a:r>
          </a:p>
        </p:txBody>
      </p:sp>
      <p:sp>
        <p:nvSpPr>
          <p:cNvPr id="2" name="Title">
            <a:extLst>
              <a:ext uri="{FF2B5EF4-FFF2-40B4-BE49-F238E27FC236}">
                <a16:creationId xmlns:a16="http://schemas.microsoft.com/office/drawing/2014/main" id="{9508DFD5-ED18-4A85-ADC0-5BC7B99B4CC7}"/>
              </a:ext>
            </a:extLst>
          </p:cNvPr>
          <p:cNvSpPr>
            <a:spLocks noGrp="1"/>
          </p:cNvSpPr>
          <p:nvPr>
            <p:ph type="title"/>
          </p:nvPr>
        </p:nvSpPr>
        <p:spPr>
          <a:xfrm>
            <a:off x="540000" y="0"/>
            <a:ext cx="8100000" cy="810000"/>
          </a:xfrm>
          <a:prstGeom prst="rect">
            <a:avLst/>
          </a:prstGeom>
        </p:spPr>
        <p:txBody>
          <a:bodyPr anchor="b"/>
          <a:lstStyle>
            <a:lvl1pPr>
              <a:defRPr sz="1600" b="1" i="0">
                <a:solidFill>
                  <a:srgbClr val="006D6F"/>
                </a:solidFill>
                <a:latin typeface="+mj-lt"/>
              </a:defRPr>
            </a:lvl1pPr>
          </a:lstStyle>
          <a:p>
            <a:endParaRPr lang="nl-BE"/>
          </a:p>
        </p:txBody>
      </p:sp>
      <p:sp>
        <p:nvSpPr>
          <p:cNvPr id="6" name="Data Source">
            <a:extLst>
              <a:ext uri="{FF2B5EF4-FFF2-40B4-BE49-F238E27FC236}">
                <a16:creationId xmlns:a16="http://schemas.microsoft.com/office/drawing/2014/main" id="{5BB432D7-6E88-6B8A-7752-5601376315B4}"/>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Tree>
    <p:extLst>
      <p:ext uri="{BB962C8B-B14F-4D97-AF65-F5344CB8AC3E}">
        <p14:creationId xmlns:p14="http://schemas.microsoft.com/office/powerpoint/2010/main" val="172195554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0633CBBD-B4D1-4554-8FA6-7E0971BE6CDD}" type="datetime1">
              <a:rPr lang="en-US" smtClean="0"/>
              <a:t>8/15/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84577302"/>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FDB13B3-371F-4F34-83E5-544D47331F3F}" type="datetime1">
              <a:rPr lang="en-US" smtClean="0"/>
              <a:t>8/1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962175567"/>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1" Type="http://schemas.openxmlformats.org/officeDocument/2006/relationships/slideLayout" Target="../slideLayouts/slideLayout25.xml"/><Relationship Id="rId2" Type="http://schemas.openxmlformats.org/officeDocument/2006/relationships/slideLayout" Target="../slideLayouts/slideLayout26.xml"/><Relationship Id="rId3" Type="http://schemas.openxmlformats.org/officeDocument/2006/relationships/slideLayout" Target="../slideLayouts/slideLayout27.xml"/><Relationship Id="rId4" Type="http://schemas.openxmlformats.org/officeDocument/2006/relationships/slideLayout" Target="../slideLayouts/slideLayout28.xml"/><Relationship Id="rId5" Type="http://schemas.openxmlformats.org/officeDocument/2006/relationships/slideLayout" Target="../slideLayouts/slideLayout29.xml"/><Relationship Id="rId6" Type="http://schemas.openxmlformats.org/officeDocument/2006/relationships/slideLayout" Target="../slideLayouts/slideLayout30.xml"/><Relationship Id="rId7" Type="http://schemas.openxmlformats.org/officeDocument/2006/relationships/slideLayout" Target="../slideLayouts/slideLayout31.xml"/><Relationship Id="rId8" Type="http://schemas.openxmlformats.org/officeDocument/2006/relationships/slideLayout" Target="../slideLayouts/slideLayout32.xml"/><Relationship Id="rId9" Type="http://schemas.openxmlformats.org/officeDocument/2006/relationships/slideLayout" Target="../slideLayouts/slideLayout33.xml"/><Relationship Id="rId10" Type="http://schemas.openxmlformats.org/officeDocument/2006/relationships/slideLayout" Target="../slideLayouts/slideLayout34.xml"/><Relationship Id="rId11" Type="http://schemas.openxmlformats.org/officeDocument/2006/relationships/slideLayout" Target="../slideLayouts/slideLayout35.xml"/><Relationship Id="rId12" Type="http://schemas.openxmlformats.org/officeDocument/2006/relationships/slideLayout" Target="../slideLayouts/slideLayout36.xml"/><Relationship Id="rId13" Type="http://schemas.openxmlformats.org/officeDocument/2006/relationships/slideLayout" Target="../slideLayouts/slideLayout37.xml"/><Relationship Id="rId14" Type="http://schemas.openxmlformats.org/officeDocument/2006/relationships/slideLayout" Target="../slideLayouts/slideLayout38.xml"/><Relationship Id="rId15" Type="http://schemas.openxmlformats.org/officeDocument/2006/relationships/slideLayout" Target="../slideLayouts/slideLayout39.xml"/><Relationship Id="rId16" Type="http://schemas.openxmlformats.org/officeDocument/2006/relationships/slideLayout" Target="../slideLayouts/slideLayout40.xml"/><Relationship Id="rId17" Type="http://schemas.openxmlformats.org/officeDocument/2006/relationships/slideLayout" Target="../slideLayouts/slideLayout41.xml"/><Relationship Id="rId18" Type="http://schemas.openxmlformats.org/officeDocument/2006/relationships/slideLayout" Target="../slideLayouts/slideLayout42.xml"/><Relationship Id="rId19" Type="http://schemas.openxmlformats.org/officeDocument/2006/relationships/slideLayout" Target="../slideLayouts/slideLayout43.xml"/><Relationship Id="rId20" Type="http://schemas.openxmlformats.org/officeDocument/2006/relationships/slideLayout" Target="../slideLayouts/slideLayout44.xml"/><Relationship Id="rId21" Type="http://schemas.openxmlformats.org/officeDocument/2006/relationships/slideLayout" Target="../slideLayouts/slideLayout45.xml"/><Relationship Id="rId22" Type="http://schemas.openxmlformats.org/officeDocument/2006/relationships/slideLayout" Target="../slideLayouts/slideLayout46.xml"/><Relationship Id="rId23" Type="http://schemas.openxmlformats.org/officeDocument/2006/relationships/slideLayout" Target="../slideLayouts/slideLayout47.xml"/><Relationship Id="rId24" Type="http://schemas.openxmlformats.org/officeDocument/2006/relationships/slideLayout" Target="../slideLayouts/slideLayout48.xml"/><Relationship Id="rId25" Type="http://schemas.openxmlformats.org/officeDocument/2006/relationships/slideLayout" Target="../slideLayouts/slideLayout49.xml"/><Relationship Id="rId26" Type="http://schemas.openxmlformats.org/officeDocument/2006/relationships/slideLayout" Target="../slideLayouts/slideLayout50.xml"/><Relationship Id="rId27" Type="http://schemas.openxmlformats.org/officeDocument/2006/relationships/slideLayout" Target="../slideLayouts/slideLayout51.xml"/><Relationship Id="rId28" Type="http://schemas.openxmlformats.org/officeDocument/2006/relationships/slideLayout" Target="../slideLayouts/slideLayout52.xml"/><Relationship Id="rId29" Type="http://schemas.openxmlformats.org/officeDocument/2006/relationships/slideLayout" Target="../slideLayouts/slideLayout53.xml"/><Relationship Id="rId30" Type="http://schemas.openxmlformats.org/officeDocument/2006/relationships/slideLayout" Target="../slideLayouts/slideLayout54.xml"/><Relationship Id="rId31" Type="http://schemas.openxmlformats.org/officeDocument/2006/relationships/slideLayout" Target="../slideLayouts/slideLayout55.xml"/><Relationship Id="rId32" Type="http://schemas.openxmlformats.org/officeDocument/2006/relationships/slideLayout" Target="../slideLayouts/slideLayout56.xml"/><Relationship Id="rId33" Type="http://schemas.openxmlformats.org/officeDocument/2006/relationships/slideLayout" Target="../slideLayouts/slideLayout57.xml"/><Relationship Id="rId34" Type="http://schemas.openxmlformats.org/officeDocument/2006/relationships/slideLayout" Target="../slideLayouts/slideLayout58.xml"/><Relationship Id="rId35" Type="http://schemas.openxmlformats.org/officeDocument/2006/relationships/slideLayout" Target="../slideLayouts/slideLayout59.xml"/><Relationship Id="rId36" Type="http://schemas.openxmlformats.org/officeDocument/2006/relationships/slideLayout" Target="../slideLayouts/slideLayout60.xml"/><Relationship Id="rId37" Type="http://schemas.openxmlformats.org/officeDocument/2006/relationships/slideLayout" Target="../slideLayouts/slideLayout61.xml"/><Relationship Id="rId38" Type="http://schemas.openxmlformats.org/officeDocument/2006/relationships/slideLayout" Target="../slideLayouts/slideLayout62.xml"/><Relationship Id="rId39" Type="http://schemas.openxmlformats.org/officeDocument/2006/relationships/slideLayout" Target="../slideLayouts/slideLayout63.xml"/><Relationship Id="rId40" Type="http://schemas.openxmlformats.org/officeDocument/2006/relationships/slideLayout" Target="../slideLayouts/slideLayout64.xml"/><Relationship Id="rId41" Type="http://schemas.openxmlformats.org/officeDocument/2006/relationships/slideLayout" Target="../slideLayouts/slideLayout65.xml"/><Relationship Id="rId42" Type="http://schemas.openxmlformats.org/officeDocument/2006/relationships/slideLayout" Target="../slideLayouts/slideLayout66.xml"/><Relationship Id="rId43" Type="http://schemas.openxmlformats.org/officeDocument/2006/relationships/slideLayout" Target="../slideLayouts/slideLayout67.xml"/><Relationship Id="rId44" Type="http://schemas.openxmlformats.org/officeDocument/2006/relationships/slideLayout" Target="../slideLayouts/slideLayout68.xml"/><Relationship Id="rId45" Type="http://schemas.openxmlformats.org/officeDocument/2006/relationships/slideLayout" Target="../slideLayouts/slideLayout69.xml"/><Relationship Id="rId46" Type="http://schemas.openxmlformats.org/officeDocument/2006/relationships/slideLayout" Target="../slideLayouts/slideLayout70.xml"/><Relationship Id="rId47" Type="http://schemas.openxmlformats.org/officeDocument/2006/relationships/slideLayout" Target="../slideLayouts/slideLayout71.xml"/><Relationship Id="rId48" Type="http://schemas.openxmlformats.org/officeDocument/2006/relationships/slideLayout" Target="../slideLayouts/slideLayout72.xml"/><Relationship Id="rId49" Type="http://schemas.openxmlformats.org/officeDocument/2006/relationships/slideLayout" Target="../slideLayouts/slideLayout73.xml"/><Relationship Id="rId50" Type="http://schemas.openxmlformats.org/officeDocument/2006/relationships/slideLayout" Target="../slideLayouts/slideLayout74.xml"/><Relationship Id="rId51" Type="http://schemas.openxmlformats.org/officeDocument/2006/relationships/theme" Target="../theme/theme2.xml"/><Relationship Id="rId52" Type="http://schemas.openxmlformats.org/officeDocument/2006/relationships/tags" Target="../tags/tag28.xml"/><Relationship Id="rId53" Type="http://schemas.openxmlformats.org/officeDocument/2006/relationships/oleObject" Target="../embeddings/oleObject27.bin"/><Relationship Id="rId5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dirty="0"/>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18CE4270-D9B5-48D2-813E-D95B26603E57}" type="datetime1">
              <a:rPr lang="en-US" smtClean="0"/>
              <a:t>8/15/2025</a:t>
            </a:fld>
            <a:endParaRPr lang="en-US"/>
          </a:p>
        </p:txBody>
      </p:sp>
    </p:spTree>
    <p:extLst>
      <p:ext uri="{BB962C8B-B14F-4D97-AF65-F5344CB8AC3E}">
        <p14:creationId xmlns:p14="http://schemas.microsoft.com/office/powerpoint/2010/main" val="883732927"/>
      </p:ext>
    </p:extLst>
  </p:cSld>
  <p:clrMap bg1="lt1" tx1="dk1" bg2="lt2" tx2="dk2" accent1="accent1" accent2="accent2" accent3="accent3" accent4="accent4" accent5="accent5" accent6="accent6" hlink="hlink" folHlink="folHlink"/>
  <p:sldLayoutIdLst>
    <p:sldLayoutId id="2147483895" r:id="rId1"/>
    <p:sldLayoutId id="2147483899" r:id="rId2"/>
    <p:sldLayoutId id="2147483900" r:id="rId3"/>
    <p:sldLayoutId id="2147483901" r:id="rId4"/>
    <p:sldLayoutId id="2147483902" r:id="rId5"/>
    <p:sldLayoutId id="2147483903" r:id="rId6"/>
    <p:sldLayoutId id="2147483904" r:id="rId7"/>
    <p:sldLayoutId id="2147483905" r:id="rId8"/>
    <p:sldLayoutId id="2147483906" r:id="rId9"/>
    <p:sldLayoutId id="2147483907" r:id="rId10"/>
    <p:sldLayoutId id="2147483908" r:id="rId11"/>
    <p:sldLayoutId id="2147483909" r:id="rId12"/>
    <p:sldLayoutId id="2147483910" r:id="rId13"/>
    <p:sldLayoutId id="2147483911" r:id="rId14"/>
    <p:sldLayoutId id="2147483912" r:id="rId15"/>
    <p:sldLayoutId id="2147483913" r:id="rId16"/>
    <p:sldLayoutId id="2147483914" r:id="rId17"/>
    <p:sldLayoutId id="2147483915" r:id="rId18"/>
    <p:sldLayoutId id="2147483916" r:id="rId19"/>
    <p:sldLayoutId id="2147483917" r:id="rId20"/>
    <p:sldLayoutId id="2147483918" r:id="rId21"/>
    <p:sldLayoutId id="2147483919" r:id="rId22"/>
    <p:sldLayoutId id="2147483954" r:id="rId23"/>
    <p:sldLayoutId id="214748395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52"/>
            </p:custDataLst>
            <p:extLst>
              <p:ext uri="{D42A27DB-BD31-4B8C-83A1-F6EECF244321}">
                <p14:modId xmlns:p14="http://schemas.microsoft.com/office/powerpoint/2010/main" val="319834510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3" imgW="7772400" imgH="10058400" progId="TCLayout.ActiveDocument.1">
                  <p:embed/>
                </p:oleObj>
              </mc:Choice>
              <mc:Fallback>
                <p:oleObj name="think-cell Slide" r:id="rId53"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54"/>
                      <a:stretch>
                        <a:fillRect/>
                      </a:stretch>
                    </p:blipFill>
                    <p:spPr>
                      <a:xfrm>
                        <a:off x="1192" y="1192"/>
                        <a:ext cx="920" cy="1191"/>
                      </a:xfrm>
                      <a:prstGeom prst="rect">
                        <a:avLst/>
                      </a:prstGeom>
                    </p:spPr>
                  </p:pic>
                </p:oleObj>
              </mc:Fallback>
            </mc:AlternateContent>
          </a:graphicData>
        </a:graphic>
      </p:graphicFrame>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7638966" y="4972050"/>
            <a:ext cx="400722"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7" name="TextBox 6">
            <a:extLst>
              <a:ext uri="{FF2B5EF4-FFF2-40B4-BE49-F238E27FC236}">
                <a16:creationId xmlns:a16="http://schemas.microsoft.com/office/drawing/2014/main" id="{5B7E8C9D-13C9-4358-B3E5-91451D3B0CC2}"/>
              </a:ext>
            </a:extLst>
          </p:cNvPr>
          <p:cNvSpPr txBox="1"/>
          <p:nvPr/>
        </p:nvSpPr>
        <p:spPr>
          <a:xfrm>
            <a:off x="8027895" y="4976308"/>
            <a:ext cx="1116106" cy="184666"/>
          </a:xfrm>
          <a:prstGeom prst="rect">
            <a:avLst/>
          </a:prstGeom>
          <a:noFill/>
        </p:spPr>
        <p:txBody>
          <a:bodyPr wrap="square" lIns="27000" rIns="27000">
            <a:spAutoFit/>
          </a:bodyPr>
          <a:lstStyle/>
          <a:p>
            <a:pPr algn="r"/>
            <a:r>
              <a:rPr lang="en-US" sz="600" b="0" i="0">
                <a:solidFill>
                  <a:schemeClr val="bg1">
                    <a:lumMod val="50000"/>
                  </a:schemeClr>
                </a:solidFill>
                <a:latin typeface="Nexa Book" panose="00000400000000000000" pitchFamily="50" charset="0"/>
              </a:rPr>
              <a:t>PRICING</a:t>
            </a:r>
            <a:r>
              <a:rPr lang="en-US" sz="600" b="0" i="0">
                <a:solidFill>
                  <a:schemeClr val="accent3"/>
                </a:solidFill>
                <a:latin typeface="+mj-lt"/>
              </a:rPr>
              <a:t>ONE</a:t>
            </a:r>
            <a:r>
              <a:rPr lang="en-US" sz="600" b="0" i="0">
                <a:solidFill>
                  <a:schemeClr val="bg1">
                    <a:lumMod val="50000"/>
                  </a:schemeClr>
                </a:solidFill>
                <a:latin typeface="Nexa Book" panose="00000400000000000000" pitchFamily="50" charset="0"/>
              </a:rPr>
              <a:t> </a:t>
            </a:r>
            <a:r>
              <a:rPr lang="en-US" sz="600" b="0" i="0">
                <a:solidFill>
                  <a:schemeClr val="bg1">
                    <a:lumMod val="50000"/>
                  </a:schemeClr>
                </a:solidFill>
                <a:latin typeface="Nexa Book" pitchFamily="2" charset="77"/>
              </a:rPr>
              <a:t>Confidential</a:t>
            </a:r>
            <a:endParaRPr lang="en-US" sz="600" b="0" i="0">
              <a:solidFill>
                <a:schemeClr val="tx1">
                  <a:tint val="75000"/>
                </a:schemeClr>
              </a:solidFill>
              <a:latin typeface="Nexa Book" pitchFamily="2" charset="77"/>
            </a:endParaRPr>
          </a:p>
        </p:txBody>
      </p:sp>
      <p:sp>
        <p:nvSpPr>
          <p:cNvPr id="8" name="Date Placeholder 7">
            <a:extLst>
              <a:ext uri="{FF2B5EF4-FFF2-40B4-BE49-F238E27FC236}">
                <a16:creationId xmlns:a16="http://schemas.microsoft.com/office/drawing/2014/main" id="{E79A2962-62B5-468D-9268-B9C7896028CE}"/>
              </a:ext>
            </a:extLst>
          </p:cNvPr>
          <p:cNvSpPr>
            <a:spLocks noGrp="1"/>
          </p:cNvSpPr>
          <p:nvPr>
            <p:ph type="dt" sz="half" idx="2"/>
          </p:nvPr>
        </p:nvSpPr>
        <p:spPr>
          <a:xfrm>
            <a:off x="7024385" y="4972050"/>
            <a:ext cx="609508"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r>
              <a:rPr lang="en-US"/>
              <a:t>14/01/2024</a:t>
            </a:r>
          </a:p>
        </p:txBody>
      </p:sp>
      <p:grpSp>
        <p:nvGrpSpPr>
          <p:cNvPr id="9" name="Group 8">
            <a:extLst>
              <a:ext uri="{FF2B5EF4-FFF2-40B4-BE49-F238E27FC236}">
                <a16:creationId xmlns:a16="http://schemas.microsoft.com/office/drawing/2014/main" id="{CEBC34F0-0D86-A441-2116-F47E5238DF4F}"/>
              </a:ext>
            </a:extLst>
          </p:cNvPr>
          <p:cNvGrpSpPr>
            <a:grpSpLocks noChangeAspect="1"/>
          </p:cNvGrpSpPr>
          <p:nvPr/>
        </p:nvGrpSpPr>
        <p:grpSpPr>
          <a:xfrm>
            <a:off x="-1" y="-9332"/>
            <a:ext cx="469047" cy="756000"/>
            <a:chOff x="-1" y="-12441"/>
            <a:chExt cx="653922" cy="1053977"/>
          </a:xfrm>
        </p:grpSpPr>
        <p:sp>
          <p:nvSpPr>
            <p:cNvPr id="10" name="Freeform 9">
              <a:extLst>
                <a:ext uri="{FF2B5EF4-FFF2-40B4-BE49-F238E27FC236}">
                  <a16:creationId xmlns:a16="http://schemas.microsoft.com/office/drawing/2014/main" id="{6E642D8F-FD02-8E6C-4906-C958269150EA}"/>
                </a:ext>
              </a:extLst>
            </p:cNvPr>
            <p:cNvSpPr/>
            <p:nvPr userDrawn="1"/>
          </p:nvSpPr>
          <p:spPr>
            <a:xfrm>
              <a:off x="286911" y="660185"/>
              <a:ext cx="172436" cy="297393"/>
            </a:xfrm>
            <a:custGeom>
              <a:avLst/>
              <a:gdLst>
                <a:gd name="connsiteX0" fmla="*/ 418 w 172436"/>
                <a:gd name="connsiteY0" fmla="*/ 0 h 297393"/>
                <a:gd name="connsiteX1" fmla="*/ 46627 w 172436"/>
                <a:gd name="connsiteY1" fmla="*/ 26579 h 297393"/>
                <a:gd name="connsiteX2" fmla="*/ 165922 w 172436"/>
                <a:gd name="connsiteY2" fmla="*/ 95475 h 297393"/>
                <a:gd name="connsiteX3" fmla="*/ 172436 w 172436"/>
                <a:gd name="connsiteY3" fmla="*/ 104630 h 297393"/>
                <a:gd name="connsiteX4" fmla="*/ 172268 w 172436"/>
                <a:gd name="connsiteY4" fmla="*/ 292985 h 297393"/>
                <a:gd name="connsiteX5" fmla="*/ 171972 w 172436"/>
                <a:gd name="connsiteY5" fmla="*/ 297394 h 297393"/>
                <a:gd name="connsiteX6" fmla="*/ 166681 w 172436"/>
                <a:gd name="connsiteY6" fmla="*/ 294926 h 297393"/>
                <a:gd name="connsiteX7" fmla="*/ 4550 w 172436"/>
                <a:gd name="connsiteY7" fmla="*/ 201117 h 297393"/>
                <a:gd name="connsiteX8" fmla="*/ 186 w 172436"/>
                <a:gd name="connsiteY8" fmla="*/ 194093 h 297393"/>
                <a:gd name="connsiteX9" fmla="*/ 17 w 172436"/>
                <a:gd name="connsiteY9" fmla="*/ 3544 h 297393"/>
                <a:gd name="connsiteX10" fmla="*/ 418 w 172436"/>
                <a:gd name="connsiteY10" fmla="*/ 0 h 297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2436" h="297393">
                  <a:moveTo>
                    <a:pt x="418" y="0"/>
                  </a:moveTo>
                  <a:cubicBezTo>
                    <a:pt x="16418" y="9197"/>
                    <a:pt x="31533" y="17867"/>
                    <a:pt x="46627" y="26579"/>
                  </a:cubicBezTo>
                  <a:cubicBezTo>
                    <a:pt x="86385" y="49552"/>
                    <a:pt x="126122" y="72566"/>
                    <a:pt x="165922" y="95475"/>
                  </a:cubicBezTo>
                  <a:cubicBezTo>
                    <a:pt x="169590" y="97584"/>
                    <a:pt x="172457" y="99293"/>
                    <a:pt x="172436" y="104630"/>
                  </a:cubicBezTo>
                  <a:cubicBezTo>
                    <a:pt x="172204" y="167408"/>
                    <a:pt x="172289" y="230207"/>
                    <a:pt x="172268" y="292985"/>
                  </a:cubicBezTo>
                  <a:cubicBezTo>
                    <a:pt x="172268" y="294187"/>
                    <a:pt x="172120" y="295390"/>
                    <a:pt x="171972" y="297394"/>
                  </a:cubicBezTo>
                  <a:cubicBezTo>
                    <a:pt x="169949" y="296466"/>
                    <a:pt x="168241" y="295812"/>
                    <a:pt x="166681" y="294926"/>
                  </a:cubicBezTo>
                  <a:cubicBezTo>
                    <a:pt x="112588" y="263726"/>
                    <a:pt x="58495" y="232527"/>
                    <a:pt x="4550" y="201117"/>
                  </a:cubicBezTo>
                  <a:cubicBezTo>
                    <a:pt x="2399" y="199873"/>
                    <a:pt x="186" y="196476"/>
                    <a:pt x="186" y="194093"/>
                  </a:cubicBezTo>
                  <a:cubicBezTo>
                    <a:pt x="-46" y="130576"/>
                    <a:pt x="-4" y="67060"/>
                    <a:pt x="17" y="3544"/>
                  </a:cubicBezTo>
                  <a:cubicBezTo>
                    <a:pt x="17" y="2827"/>
                    <a:pt x="165" y="2088"/>
                    <a:pt x="418" y="0"/>
                  </a:cubicBezTo>
                  <a:close/>
                </a:path>
              </a:pathLst>
            </a:custGeom>
            <a:solidFill>
              <a:srgbClr val="00A099"/>
            </a:solidFill>
            <a:ln w="453" cap="flat">
              <a:solidFill>
                <a:srgbClr val="04A8B5"/>
              </a:solidFill>
              <a:prstDash val="solid"/>
              <a:miter/>
            </a:ln>
          </p:spPr>
          <p:txBody>
            <a:bodyPr rtlCol="0" anchor="ctr"/>
            <a:lstStyle/>
            <a:p>
              <a:endParaRPr lang="en-US" sz="1013" b="0" i="0">
                <a:latin typeface="Nexa Book" pitchFamily="2" charset="77"/>
              </a:endParaRPr>
            </a:p>
          </p:txBody>
        </p:sp>
        <p:sp>
          <p:nvSpPr>
            <p:cNvPr id="11" name="Freeform 10">
              <a:extLst>
                <a:ext uri="{FF2B5EF4-FFF2-40B4-BE49-F238E27FC236}">
                  <a16:creationId xmlns:a16="http://schemas.microsoft.com/office/drawing/2014/main" id="{6F719CEF-6F38-DFFB-857E-15693A32263B}"/>
                </a:ext>
              </a:extLst>
            </p:cNvPr>
            <p:cNvSpPr/>
            <p:nvPr/>
          </p:nvSpPr>
          <p:spPr>
            <a:xfrm>
              <a:off x="481503" y="660249"/>
              <a:ext cx="172418" cy="297583"/>
            </a:xfrm>
            <a:custGeom>
              <a:avLst/>
              <a:gdLst>
                <a:gd name="connsiteX0" fmla="*/ 172292 w 172418"/>
                <a:gd name="connsiteY0" fmla="*/ 21 h 297583"/>
                <a:gd name="connsiteX1" fmla="*/ 172292 w 172418"/>
                <a:gd name="connsiteY1" fmla="*/ 8143 h 297583"/>
                <a:gd name="connsiteX2" fmla="*/ 172419 w 172418"/>
                <a:gd name="connsiteY2" fmla="*/ 191519 h 297583"/>
                <a:gd name="connsiteX3" fmla="*/ 166158 w 172418"/>
                <a:gd name="connsiteY3" fmla="*/ 202256 h 297583"/>
                <a:gd name="connsiteX4" fmla="*/ 5629 w 172418"/>
                <a:gd name="connsiteY4" fmla="*/ 294778 h 297583"/>
                <a:gd name="connsiteX5" fmla="*/ 485 w 172418"/>
                <a:gd name="connsiteY5" fmla="*/ 297583 h 297583"/>
                <a:gd name="connsiteX6" fmla="*/ 84 w 172418"/>
                <a:gd name="connsiteY6" fmla="*/ 289968 h 297583"/>
                <a:gd name="connsiteX7" fmla="*/ 0 w 172418"/>
                <a:gd name="connsiteY7" fmla="*/ 105853 h 297583"/>
                <a:gd name="connsiteX8" fmla="*/ 5123 w 172418"/>
                <a:gd name="connsiteY8" fmla="*/ 95897 h 297583"/>
                <a:gd name="connsiteX9" fmla="*/ 163755 w 172418"/>
                <a:gd name="connsiteY9" fmla="*/ 4451 h 297583"/>
                <a:gd name="connsiteX10" fmla="*/ 172292 w 172418"/>
                <a:gd name="connsiteY10" fmla="*/ 0 h 297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2418" h="297583">
                  <a:moveTo>
                    <a:pt x="172292" y="21"/>
                  </a:moveTo>
                  <a:lnTo>
                    <a:pt x="172292" y="8143"/>
                  </a:lnTo>
                  <a:cubicBezTo>
                    <a:pt x="172292" y="69275"/>
                    <a:pt x="172208" y="130408"/>
                    <a:pt x="172419" y="191519"/>
                  </a:cubicBezTo>
                  <a:cubicBezTo>
                    <a:pt x="172419" y="196877"/>
                    <a:pt x="170754" y="199598"/>
                    <a:pt x="166158" y="202256"/>
                  </a:cubicBezTo>
                  <a:cubicBezTo>
                    <a:pt x="112571" y="232949"/>
                    <a:pt x="59110" y="263895"/>
                    <a:pt x="5629" y="294778"/>
                  </a:cubicBezTo>
                  <a:cubicBezTo>
                    <a:pt x="4216" y="295601"/>
                    <a:pt x="2740" y="296339"/>
                    <a:pt x="485" y="297583"/>
                  </a:cubicBezTo>
                  <a:cubicBezTo>
                    <a:pt x="316" y="294546"/>
                    <a:pt x="84" y="292268"/>
                    <a:pt x="84" y="289968"/>
                  </a:cubicBezTo>
                  <a:cubicBezTo>
                    <a:pt x="84" y="228604"/>
                    <a:pt x="84" y="167239"/>
                    <a:pt x="0" y="105853"/>
                  </a:cubicBezTo>
                  <a:cubicBezTo>
                    <a:pt x="0" y="101402"/>
                    <a:pt x="717" y="98407"/>
                    <a:pt x="5123" y="95897"/>
                  </a:cubicBezTo>
                  <a:cubicBezTo>
                    <a:pt x="58077" y="65562"/>
                    <a:pt x="110905" y="34975"/>
                    <a:pt x="163755" y="4451"/>
                  </a:cubicBezTo>
                  <a:cubicBezTo>
                    <a:pt x="166200" y="3038"/>
                    <a:pt x="168751" y="1835"/>
                    <a:pt x="172292" y="0"/>
                  </a:cubicBezTo>
                  <a:close/>
                </a:path>
              </a:pathLst>
            </a:custGeom>
            <a:solidFill>
              <a:srgbClr val="00A099"/>
            </a:solidFill>
            <a:ln w="453" cap="flat">
              <a:solidFill>
                <a:srgbClr val="04A8B5"/>
              </a:solidFill>
              <a:prstDash val="solid"/>
              <a:miter/>
            </a:ln>
          </p:spPr>
          <p:txBody>
            <a:bodyPr rtlCol="0" anchor="ctr"/>
            <a:lstStyle/>
            <a:p>
              <a:endParaRPr lang="en-US" sz="1013" b="0" i="0">
                <a:latin typeface="Nexa Book" pitchFamily="2" charset="77"/>
              </a:endParaRPr>
            </a:p>
          </p:txBody>
        </p:sp>
        <p:sp>
          <p:nvSpPr>
            <p:cNvPr id="12" name="Freeform 11">
              <a:extLst>
                <a:ext uri="{FF2B5EF4-FFF2-40B4-BE49-F238E27FC236}">
                  <a16:creationId xmlns:a16="http://schemas.microsoft.com/office/drawing/2014/main" id="{D6D8F994-7445-5B73-86FF-CF586DD3917B}"/>
                </a:ext>
              </a:extLst>
            </p:cNvPr>
            <p:cNvSpPr/>
            <p:nvPr/>
          </p:nvSpPr>
          <p:spPr>
            <a:xfrm>
              <a:off x="298543" y="540772"/>
              <a:ext cx="343720" cy="195823"/>
            </a:xfrm>
            <a:custGeom>
              <a:avLst/>
              <a:gdLst>
                <a:gd name="connsiteX0" fmla="*/ 0 w 343720"/>
                <a:gd name="connsiteY0" fmla="*/ 97517 h 195823"/>
                <a:gd name="connsiteX1" fmla="*/ 44143 w 343720"/>
                <a:gd name="connsiteY1" fmla="*/ 71866 h 195823"/>
                <a:gd name="connsiteX2" fmla="*/ 163375 w 343720"/>
                <a:gd name="connsiteY2" fmla="*/ 2802 h 195823"/>
                <a:gd name="connsiteX3" fmla="*/ 179776 w 343720"/>
                <a:gd name="connsiteY3" fmla="*/ 2528 h 195823"/>
                <a:gd name="connsiteX4" fmla="*/ 335626 w 343720"/>
                <a:gd name="connsiteY4" fmla="*/ 92771 h 195823"/>
                <a:gd name="connsiteX5" fmla="*/ 343721 w 343720"/>
                <a:gd name="connsiteY5" fmla="*/ 97770 h 195823"/>
                <a:gd name="connsiteX6" fmla="*/ 294308 w 343720"/>
                <a:gd name="connsiteY6" fmla="*/ 126438 h 195823"/>
                <a:gd name="connsiteX7" fmla="*/ 177563 w 343720"/>
                <a:gd name="connsiteY7" fmla="*/ 193962 h 195823"/>
                <a:gd name="connsiteX8" fmla="*/ 165821 w 343720"/>
                <a:gd name="connsiteY8" fmla="*/ 193836 h 195823"/>
                <a:gd name="connsiteX9" fmla="*/ 6788 w 343720"/>
                <a:gd name="connsiteY9" fmla="*/ 101842 h 195823"/>
                <a:gd name="connsiteX10" fmla="*/ 0 w 343720"/>
                <a:gd name="connsiteY10" fmla="*/ 97517 h 195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3720" h="195823">
                  <a:moveTo>
                    <a:pt x="0" y="97517"/>
                  </a:moveTo>
                  <a:cubicBezTo>
                    <a:pt x="15241" y="88657"/>
                    <a:pt x="29661" y="80220"/>
                    <a:pt x="44143" y="71866"/>
                  </a:cubicBezTo>
                  <a:cubicBezTo>
                    <a:pt x="83901" y="48873"/>
                    <a:pt x="123765" y="26048"/>
                    <a:pt x="163375" y="2802"/>
                  </a:cubicBezTo>
                  <a:cubicBezTo>
                    <a:pt x="169278" y="-658"/>
                    <a:pt x="173599" y="-1101"/>
                    <a:pt x="179776" y="2528"/>
                  </a:cubicBezTo>
                  <a:cubicBezTo>
                    <a:pt x="231592" y="32841"/>
                    <a:pt x="283641" y="62732"/>
                    <a:pt x="335626" y="92771"/>
                  </a:cubicBezTo>
                  <a:cubicBezTo>
                    <a:pt x="338050" y="94163"/>
                    <a:pt x="340411" y="95724"/>
                    <a:pt x="343721" y="97770"/>
                  </a:cubicBezTo>
                  <a:cubicBezTo>
                    <a:pt x="326582" y="107706"/>
                    <a:pt x="310455" y="117093"/>
                    <a:pt x="294308" y="126438"/>
                  </a:cubicBezTo>
                  <a:cubicBezTo>
                    <a:pt x="255371" y="148925"/>
                    <a:pt x="216372" y="171286"/>
                    <a:pt x="177563" y="193962"/>
                  </a:cubicBezTo>
                  <a:cubicBezTo>
                    <a:pt x="173115" y="196557"/>
                    <a:pt x="170205" y="196367"/>
                    <a:pt x="165821" y="193836"/>
                  </a:cubicBezTo>
                  <a:cubicBezTo>
                    <a:pt x="112887" y="163016"/>
                    <a:pt x="59827" y="132471"/>
                    <a:pt x="6788" y="101842"/>
                  </a:cubicBezTo>
                  <a:cubicBezTo>
                    <a:pt x="4743" y="100660"/>
                    <a:pt x="2804" y="99289"/>
                    <a:pt x="0" y="97517"/>
                  </a:cubicBezTo>
                  <a:close/>
                </a:path>
              </a:pathLst>
            </a:custGeom>
            <a:solidFill>
              <a:srgbClr val="00A099"/>
            </a:solidFill>
            <a:ln w="453" cap="flat">
              <a:solidFill>
                <a:srgbClr val="04A8B5"/>
              </a:solidFill>
              <a:prstDash val="solid"/>
              <a:miter/>
            </a:ln>
          </p:spPr>
          <p:txBody>
            <a:bodyPr rtlCol="0" anchor="ctr"/>
            <a:lstStyle/>
            <a:p>
              <a:endParaRPr lang="en-US" sz="1013" b="0" i="0">
                <a:latin typeface="Nexa Book" pitchFamily="2" charset="77"/>
              </a:endParaRPr>
            </a:p>
          </p:txBody>
        </p:sp>
        <p:sp>
          <p:nvSpPr>
            <p:cNvPr id="13" name="Freeform 12">
              <a:extLst>
                <a:ext uri="{FF2B5EF4-FFF2-40B4-BE49-F238E27FC236}">
                  <a16:creationId xmlns:a16="http://schemas.microsoft.com/office/drawing/2014/main" id="{A6A1B091-7952-82E0-226C-14D34CD0804A}"/>
                </a:ext>
              </a:extLst>
            </p:cNvPr>
            <p:cNvSpPr/>
            <p:nvPr/>
          </p:nvSpPr>
          <p:spPr>
            <a:xfrm>
              <a:off x="412522" y="598536"/>
              <a:ext cx="123408" cy="71567"/>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Freeform 13">
              <a:extLst>
                <a:ext uri="{FF2B5EF4-FFF2-40B4-BE49-F238E27FC236}">
                  <a16:creationId xmlns:a16="http://schemas.microsoft.com/office/drawing/2014/main" id="{5043DE0B-B68A-8ED7-248B-EBC50E5DC0C6}"/>
                </a:ext>
              </a:extLst>
            </p:cNvPr>
            <p:cNvSpPr/>
            <p:nvPr/>
          </p:nvSpPr>
          <p:spPr>
            <a:xfrm>
              <a:off x="332589" y="741054"/>
              <a:ext cx="67226" cy="138914"/>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Freeform 14">
              <a:extLst>
                <a:ext uri="{FF2B5EF4-FFF2-40B4-BE49-F238E27FC236}">
                  <a16:creationId xmlns:a16="http://schemas.microsoft.com/office/drawing/2014/main" id="{EAF64219-666E-A102-563F-42073AB1B74A}"/>
                </a:ext>
              </a:extLst>
            </p:cNvPr>
            <p:cNvSpPr/>
            <p:nvPr/>
          </p:nvSpPr>
          <p:spPr>
            <a:xfrm>
              <a:off x="542805" y="747538"/>
              <a:ext cx="58983" cy="133506"/>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16" name="Freeform 15">
              <a:extLst>
                <a:ext uri="{FF2B5EF4-FFF2-40B4-BE49-F238E27FC236}">
                  <a16:creationId xmlns:a16="http://schemas.microsoft.com/office/drawing/2014/main" id="{6AE0CAE5-6737-8510-EF96-DC50F0C8E02E}"/>
                </a:ext>
              </a:extLst>
            </p:cNvPr>
            <p:cNvSpPr/>
            <p:nvPr/>
          </p:nvSpPr>
          <p:spPr>
            <a:xfrm>
              <a:off x="-1" y="280248"/>
              <a:ext cx="461498" cy="761288"/>
            </a:xfrm>
            <a:custGeom>
              <a:avLst/>
              <a:gdLst>
                <a:gd name="connsiteX0" fmla="*/ 0 w 461498"/>
                <a:gd name="connsiteY0" fmla="*/ 761288 h 761288"/>
                <a:gd name="connsiteX1" fmla="*/ 237685 w 461498"/>
                <a:gd name="connsiteY1" fmla="*/ 599449 h 761288"/>
                <a:gd name="connsiteX2" fmla="*/ 236820 w 461498"/>
                <a:gd name="connsiteY2" fmla="*/ 323256 h 761288"/>
                <a:gd name="connsiteX3" fmla="*/ 460950 w 461498"/>
                <a:gd name="connsiteY3" fmla="*/ 194662 h 761288"/>
                <a:gd name="connsiteX4" fmla="*/ 461498 w 461498"/>
                <a:gd name="connsiteY4" fmla="*/ 0 h 761288"/>
                <a:gd name="connsiteX5" fmla="*/ 696 w 461498"/>
                <a:gd name="connsiteY5" fmla="*/ 280075 h 761288"/>
                <a:gd name="connsiteX6" fmla="*/ 0 w 461498"/>
                <a:gd name="connsiteY6" fmla="*/ 761288 h 761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1498" h="761288">
                  <a:moveTo>
                    <a:pt x="0" y="761288"/>
                  </a:moveTo>
                  <a:lnTo>
                    <a:pt x="237685" y="599449"/>
                  </a:lnTo>
                  <a:lnTo>
                    <a:pt x="236820" y="323256"/>
                  </a:lnTo>
                  <a:lnTo>
                    <a:pt x="460950" y="194662"/>
                  </a:lnTo>
                  <a:lnTo>
                    <a:pt x="461498" y="0"/>
                  </a:lnTo>
                  <a:lnTo>
                    <a:pt x="696" y="280075"/>
                  </a:lnTo>
                  <a:lnTo>
                    <a:pt x="0" y="761288"/>
                  </a:lnTo>
                  <a:close/>
                </a:path>
              </a:pathLst>
            </a:custGeom>
            <a:solidFill>
              <a:srgbClr val="575756"/>
            </a:solidFill>
            <a:ln w="453" cap="flat">
              <a:noFill/>
              <a:prstDash val="solid"/>
              <a:miter/>
            </a:ln>
          </p:spPr>
          <p:txBody>
            <a:bodyPr rtlCol="0" anchor="ctr"/>
            <a:lstStyle/>
            <a:p>
              <a:endParaRPr lang="en-US" sz="1013" b="0" i="0">
                <a:latin typeface="Nexa Book" pitchFamily="2" charset="77"/>
              </a:endParaRPr>
            </a:p>
          </p:txBody>
        </p:sp>
        <p:sp>
          <p:nvSpPr>
            <p:cNvPr id="17" name="Freeform 16">
              <a:extLst>
                <a:ext uri="{FF2B5EF4-FFF2-40B4-BE49-F238E27FC236}">
                  <a16:creationId xmlns:a16="http://schemas.microsoft.com/office/drawing/2014/main" id="{3D546042-5181-94E7-B31B-EE46334167AB}"/>
                </a:ext>
              </a:extLst>
            </p:cNvPr>
            <p:cNvSpPr/>
            <p:nvPr/>
          </p:nvSpPr>
          <p:spPr>
            <a:xfrm>
              <a:off x="104" y="-12441"/>
              <a:ext cx="419379" cy="417907"/>
            </a:xfrm>
            <a:custGeom>
              <a:avLst/>
              <a:gdLst>
                <a:gd name="connsiteX0" fmla="*/ 419379 w 419379"/>
                <a:gd name="connsiteY0" fmla="*/ 250163 h 417907"/>
                <a:gd name="connsiteX1" fmla="*/ 148703 w 419379"/>
                <a:gd name="connsiteY1" fmla="*/ 417908 h 417907"/>
                <a:gd name="connsiteX2" fmla="*/ 443 w 419379"/>
                <a:gd name="connsiteY2" fmla="*/ 336313 h 417907"/>
                <a:gd name="connsiteX3" fmla="*/ 0 w 419379"/>
                <a:gd name="connsiteY3" fmla="*/ 0 h 417907"/>
                <a:gd name="connsiteX4" fmla="*/ 419379 w 419379"/>
                <a:gd name="connsiteY4" fmla="*/ 250163 h 4179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379" h="417907">
                  <a:moveTo>
                    <a:pt x="419379" y="250163"/>
                  </a:moveTo>
                  <a:lnTo>
                    <a:pt x="148703" y="417908"/>
                  </a:lnTo>
                  <a:lnTo>
                    <a:pt x="443" y="336313"/>
                  </a:lnTo>
                  <a:lnTo>
                    <a:pt x="0" y="0"/>
                  </a:lnTo>
                  <a:lnTo>
                    <a:pt x="419379" y="250163"/>
                  </a:lnTo>
                  <a:close/>
                </a:path>
              </a:pathLst>
            </a:custGeom>
            <a:solidFill>
              <a:srgbClr val="575756"/>
            </a:solidFill>
            <a:ln w="453" cap="flat">
              <a:noFill/>
              <a:prstDash val="solid"/>
              <a:miter/>
            </a:ln>
          </p:spPr>
          <p:txBody>
            <a:bodyPr rtlCol="0" anchor="ctr"/>
            <a:lstStyle/>
            <a:p>
              <a:endParaRPr lang="en-US" sz="1013" b="0" i="0">
                <a:latin typeface="Nexa Book" pitchFamily="2" charset="77"/>
              </a:endParaRPr>
            </a:p>
          </p:txBody>
        </p:sp>
      </p:grpSp>
      <p:grpSp>
        <p:nvGrpSpPr>
          <p:cNvPr id="18" name="Group 17">
            <a:extLst>
              <a:ext uri="{FF2B5EF4-FFF2-40B4-BE49-F238E27FC236}">
                <a16:creationId xmlns:a16="http://schemas.microsoft.com/office/drawing/2014/main" id="{28AA2510-84D8-077A-5103-F5B14632F42F}"/>
              </a:ext>
            </a:extLst>
          </p:cNvPr>
          <p:cNvGrpSpPr/>
          <p:nvPr/>
        </p:nvGrpSpPr>
        <p:grpSpPr>
          <a:xfrm>
            <a:off x="2337" y="4972051"/>
            <a:ext cx="544631" cy="177437"/>
            <a:chOff x="61151" y="6718048"/>
            <a:chExt cx="726174" cy="236582"/>
          </a:xfrm>
        </p:grpSpPr>
        <p:sp>
          <p:nvSpPr>
            <p:cNvPr id="19" name="Freeform 18">
              <a:extLst>
                <a:ext uri="{FF2B5EF4-FFF2-40B4-BE49-F238E27FC236}">
                  <a16:creationId xmlns:a16="http://schemas.microsoft.com/office/drawing/2014/main" id="{3C25AEC9-071D-725A-4B03-9E4B973E66AB}"/>
                </a:ext>
              </a:extLst>
            </p:cNvPr>
            <p:cNvSpPr/>
            <p:nvPr/>
          </p:nvSpPr>
          <p:spPr>
            <a:xfrm>
              <a:off x="125600" y="6869014"/>
              <a:ext cx="38735" cy="66769"/>
            </a:xfrm>
            <a:custGeom>
              <a:avLst/>
              <a:gdLst>
                <a:gd name="connsiteX0" fmla="*/ 95 w 38735"/>
                <a:gd name="connsiteY0" fmla="*/ 0 h 66769"/>
                <a:gd name="connsiteX1" fmla="*/ 10465 w 38735"/>
                <a:gd name="connsiteY1" fmla="*/ 5967 h 66769"/>
                <a:gd name="connsiteX2" fmla="*/ 37268 w 38735"/>
                <a:gd name="connsiteY2" fmla="*/ 21452 h 66769"/>
                <a:gd name="connsiteX3" fmla="*/ 38736 w 38735"/>
                <a:gd name="connsiteY3" fmla="*/ 23488 h 66769"/>
                <a:gd name="connsiteX4" fmla="*/ 38688 w 38735"/>
                <a:gd name="connsiteY4" fmla="*/ 65775 h 66769"/>
                <a:gd name="connsiteX5" fmla="*/ 38641 w 38735"/>
                <a:gd name="connsiteY5" fmla="*/ 66770 h 66769"/>
                <a:gd name="connsiteX6" fmla="*/ 37457 w 38735"/>
                <a:gd name="connsiteY6" fmla="*/ 66201 h 66769"/>
                <a:gd name="connsiteX7" fmla="*/ 1042 w 38735"/>
                <a:gd name="connsiteY7" fmla="*/ 45129 h 66769"/>
                <a:gd name="connsiteX8" fmla="*/ 47 w 38735"/>
                <a:gd name="connsiteY8" fmla="*/ 43566 h 66769"/>
                <a:gd name="connsiteX9" fmla="*/ 0 w 38735"/>
                <a:gd name="connsiteY9" fmla="*/ 805 h 66769"/>
                <a:gd name="connsiteX10" fmla="*/ 95 w 38735"/>
                <a:gd name="connsiteY10" fmla="*/ 0 h 66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735" h="66769">
                  <a:moveTo>
                    <a:pt x="95" y="0"/>
                  </a:moveTo>
                  <a:cubicBezTo>
                    <a:pt x="3694" y="2084"/>
                    <a:pt x="7103" y="4025"/>
                    <a:pt x="10465" y="5967"/>
                  </a:cubicBezTo>
                  <a:cubicBezTo>
                    <a:pt x="19415" y="11128"/>
                    <a:pt x="28318" y="16290"/>
                    <a:pt x="37268" y="21452"/>
                  </a:cubicBezTo>
                  <a:cubicBezTo>
                    <a:pt x="38073" y="21925"/>
                    <a:pt x="38736" y="22304"/>
                    <a:pt x="38736" y="23488"/>
                  </a:cubicBezTo>
                  <a:cubicBezTo>
                    <a:pt x="38688" y="37599"/>
                    <a:pt x="38688" y="51664"/>
                    <a:pt x="38688" y="65775"/>
                  </a:cubicBezTo>
                  <a:cubicBezTo>
                    <a:pt x="38688" y="66059"/>
                    <a:pt x="38641" y="66296"/>
                    <a:pt x="38641" y="66770"/>
                  </a:cubicBezTo>
                  <a:cubicBezTo>
                    <a:pt x="38167" y="66580"/>
                    <a:pt x="37789" y="66391"/>
                    <a:pt x="37457" y="66201"/>
                  </a:cubicBezTo>
                  <a:cubicBezTo>
                    <a:pt x="25287" y="59193"/>
                    <a:pt x="13164" y="52185"/>
                    <a:pt x="1042" y="45129"/>
                  </a:cubicBezTo>
                  <a:cubicBezTo>
                    <a:pt x="568" y="44845"/>
                    <a:pt x="47" y="44087"/>
                    <a:pt x="47" y="43566"/>
                  </a:cubicBezTo>
                  <a:cubicBezTo>
                    <a:pt x="0" y="29312"/>
                    <a:pt x="0" y="15059"/>
                    <a:pt x="0" y="805"/>
                  </a:cubicBezTo>
                  <a:cubicBezTo>
                    <a:pt x="0" y="663"/>
                    <a:pt x="47" y="474"/>
                    <a:pt x="95" y="0"/>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20" name="Freeform 19">
              <a:extLst>
                <a:ext uri="{FF2B5EF4-FFF2-40B4-BE49-F238E27FC236}">
                  <a16:creationId xmlns:a16="http://schemas.microsoft.com/office/drawing/2014/main" id="{07371303-DD01-0C0A-CABA-67DFFFC9A7C4}"/>
                </a:ext>
              </a:extLst>
            </p:cNvPr>
            <p:cNvSpPr/>
            <p:nvPr/>
          </p:nvSpPr>
          <p:spPr>
            <a:xfrm>
              <a:off x="169403" y="6869061"/>
              <a:ext cx="38688" cy="66816"/>
            </a:xfrm>
            <a:custGeom>
              <a:avLst/>
              <a:gdLst>
                <a:gd name="connsiteX0" fmla="*/ 38641 w 38688"/>
                <a:gd name="connsiteY0" fmla="*/ 0 h 66816"/>
                <a:gd name="connsiteX1" fmla="*/ 38641 w 38688"/>
                <a:gd name="connsiteY1" fmla="*/ 1847 h 66816"/>
                <a:gd name="connsiteX2" fmla="*/ 38688 w 38688"/>
                <a:gd name="connsiteY2" fmla="*/ 42998 h 66816"/>
                <a:gd name="connsiteX3" fmla="*/ 37268 w 38688"/>
                <a:gd name="connsiteY3" fmla="*/ 45413 h 66816"/>
                <a:gd name="connsiteX4" fmla="*/ 1231 w 38688"/>
                <a:gd name="connsiteY4" fmla="*/ 66201 h 66816"/>
                <a:gd name="connsiteX5" fmla="*/ 95 w 38688"/>
                <a:gd name="connsiteY5" fmla="*/ 66817 h 66816"/>
                <a:gd name="connsiteX6" fmla="*/ 0 w 38688"/>
                <a:gd name="connsiteY6" fmla="*/ 65112 h 66816"/>
                <a:gd name="connsiteX7" fmla="*/ 0 w 38688"/>
                <a:gd name="connsiteY7" fmla="*/ 23772 h 66816"/>
                <a:gd name="connsiteX8" fmla="*/ 1137 w 38688"/>
                <a:gd name="connsiteY8" fmla="*/ 21546 h 66816"/>
                <a:gd name="connsiteX9" fmla="*/ 36794 w 38688"/>
                <a:gd name="connsiteY9" fmla="*/ 1042 h 66816"/>
                <a:gd name="connsiteX10" fmla="*/ 38641 w 38688"/>
                <a:gd name="connsiteY10" fmla="*/ 0 h 66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688" h="66816">
                  <a:moveTo>
                    <a:pt x="38641" y="0"/>
                  </a:moveTo>
                  <a:cubicBezTo>
                    <a:pt x="38641" y="758"/>
                    <a:pt x="38641" y="1279"/>
                    <a:pt x="38641" y="1847"/>
                  </a:cubicBezTo>
                  <a:cubicBezTo>
                    <a:pt x="38641" y="15580"/>
                    <a:pt x="38641" y="29312"/>
                    <a:pt x="38688" y="42998"/>
                  </a:cubicBezTo>
                  <a:cubicBezTo>
                    <a:pt x="38688" y="44182"/>
                    <a:pt x="38309" y="44797"/>
                    <a:pt x="37268" y="45413"/>
                  </a:cubicBezTo>
                  <a:cubicBezTo>
                    <a:pt x="25240" y="52327"/>
                    <a:pt x="13212" y="59240"/>
                    <a:pt x="1231" y="66201"/>
                  </a:cubicBezTo>
                  <a:cubicBezTo>
                    <a:pt x="900" y="66391"/>
                    <a:pt x="568" y="66533"/>
                    <a:pt x="95" y="66817"/>
                  </a:cubicBezTo>
                  <a:cubicBezTo>
                    <a:pt x="47" y="66154"/>
                    <a:pt x="0" y="65633"/>
                    <a:pt x="0" y="65112"/>
                  </a:cubicBezTo>
                  <a:cubicBezTo>
                    <a:pt x="0" y="51332"/>
                    <a:pt x="0" y="37552"/>
                    <a:pt x="0" y="23772"/>
                  </a:cubicBezTo>
                  <a:cubicBezTo>
                    <a:pt x="0" y="22777"/>
                    <a:pt x="142" y="22114"/>
                    <a:pt x="1137" y="21546"/>
                  </a:cubicBezTo>
                  <a:cubicBezTo>
                    <a:pt x="13022" y="14727"/>
                    <a:pt x="24908" y="7861"/>
                    <a:pt x="36794" y="1042"/>
                  </a:cubicBezTo>
                  <a:cubicBezTo>
                    <a:pt x="37268" y="663"/>
                    <a:pt x="37836" y="379"/>
                    <a:pt x="38641" y="0"/>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21" name="Freeform 20">
              <a:extLst>
                <a:ext uri="{FF2B5EF4-FFF2-40B4-BE49-F238E27FC236}">
                  <a16:creationId xmlns:a16="http://schemas.microsoft.com/office/drawing/2014/main" id="{56A4F206-2BD3-3928-C081-F79FA7D3D3A6}"/>
                </a:ext>
              </a:extLst>
            </p:cNvPr>
            <p:cNvSpPr/>
            <p:nvPr/>
          </p:nvSpPr>
          <p:spPr>
            <a:xfrm>
              <a:off x="128205" y="6842264"/>
              <a:ext cx="77187" cy="43964"/>
            </a:xfrm>
            <a:custGeom>
              <a:avLst/>
              <a:gdLst>
                <a:gd name="connsiteX0" fmla="*/ 0 w 77187"/>
                <a:gd name="connsiteY0" fmla="*/ 21873 h 43964"/>
                <a:gd name="connsiteX1" fmla="*/ 9897 w 77187"/>
                <a:gd name="connsiteY1" fmla="*/ 16096 h 43964"/>
                <a:gd name="connsiteX2" fmla="*/ 36699 w 77187"/>
                <a:gd name="connsiteY2" fmla="*/ 611 h 43964"/>
                <a:gd name="connsiteX3" fmla="*/ 40393 w 77187"/>
                <a:gd name="connsiteY3" fmla="*/ 564 h 43964"/>
                <a:gd name="connsiteX4" fmla="*/ 75388 w 77187"/>
                <a:gd name="connsiteY4" fmla="*/ 20831 h 43964"/>
                <a:gd name="connsiteX5" fmla="*/ 77187 w 77187"/>
                <a:gd name="connsiteY5" fmla="*/ 21968 h 43964"/>
                <a:gd name="connsiteX6" fmla="*/ 66106 w 77187"/>
                <a:gd name="connsiteY6" fmla="*/ 28408 h 43964"/>
                <a:gd name="connsiteX7" fmla="*/ 39872 w 77187"/>
                <a:gd name="connsiteY7" fmla="*/ 43561 h 43964"/>
                <a:gd name="connsiteX8" fmla="*/ 37220 w 77187"/>
                <a:gd name="connsiteY8" fmla="*/ 43514 h 43964"/>
                <a:gd name="connsiteX9" fmla="*/ 1515 w 77187"/>
                <a:gd name="connsiteY9" fmla="*/ 22867 h 43964"/>
                <a:gd name="connsiteX10" fmla="*/ 0 w 77187"/>
                <a:gd name="connsiteY10" fmla="*/ 21873 h 43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187" h="43964">
                  <a:moveTo>
                    <a:pt x="0" y="21873"/>
                  </a:moveTo>
                  <a:cubicBezTo>
                    <a:pt x="3410" y="19884"/>
                    <a:pt x="6677" y="17990"/>
                    <a:pt x="9897" y="16096"/>
                  </a:cubicBezTo>
                  <a:cubicBezTo>
                    <a:pt x="18847" y="10934"/>
                    <a:pt x="27797" y="5820"/>
                    <a:pt x="36699" y="611"/>
                  </a:cubicBezTo>
                  <a:cubicBezTo>
                    <a:pt x="38025" y="-147"/>
                    <a:pt x="38972" y="-241"/>
                    <a:pt x="40393" y="564"/>
                  </a:cubicBezTo>
                  <a:cubicBezTo>
                    <a:pt x="52042" y="7383"/>
                    <a:pt x="63739" y="14060"/>
                    <a:pt x="75388" y="20831"/>
                  </a:cubicBezTo>
                  <a:cubicBezTo>
                    <a:pt x="75956" y="21163"/>
                    <a:pt x="76477" y="21494"/>
                    <a:pt x="77187" y="21968"/>
                  </a:cubicBezTo>
                  <a:cubicBezTo>
                    <a:pt x="73352" y="24193"/>
                    <a:pt x="69705" y="26324"/>
                    <a:pt x="66106" y="28408"/>
                  </a:cubicBezTo>
                  <a:cubicBezTo>
                    <a:pt x="57346" y="33475"/>
                    <a:pt x="48585" y="38494"/>
                    <a:pt x="39872" y="43561"/>
                  </a:cubicBezTo>
                  <a:cubicBezTo>
                    <a:pt x="38878" y="44130"/>
                    <a:pt x="38215" y="44082"/>
                    <a:pt x="37220" y="43514"/>
                  </a:cubicBezTo>
                  <a:cubicBezTo>
                    <a:pt x="25334" y="36600"/>
                    <a:pt x="13401" y="29734"/>
                    <a:pt x="1515" y="22867"/>
                  </a:cubicBezTo>
                  <a:cubicBezTo>
                    <a:pt x="1089" y="22583"/>
                    <a:pt x="663" y="22252"/>
                    <a:pt x="0" y="21873"/>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22" name="Freeform 21">
              <a:extLst>
                <a:ext uri="{FF2B5EF4-FFF2-40B4-BE49-F238E27FC236}">
                  <a16:creationId xmlns:a16="http://schemas.microsoft.com/office/drawing/2014/main" id="{6F2B041D-50C4-FBDF-25DE-552893B4629F}"/>
                </a:ext>
              </a:extLst>
            </p:cNvPr>
            <p:cNvSpPr/>
            <p:nvPr/>
          </p:nvSpPr>
          <p:spPr>
            <a:xfrm>
              <a:off x="153811" y="6855216"/>
              <a:ext cx="27703" cy="16089"/>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23" name="Freeform 22">
              <a:extLst>
                <a:ext uri="{FF2B5EF4-FFF2-40B4-BE49-F238E27FC236}">
                  <a16:creationId xmlns:a16="http://schemas.microsoft.com/office/drawing/2014/main" id="{8B5D850D-9927-13B8-4C26-7ECECAE1E3AB}"/>
                </a:ext>
              </a:extLst>
            </p:cNvPr>
            <p:cNvSpPr/>
            <p:nvPr/>
          </p:nvSpPr>
          <p:spPr>
            <a:xfrm>
              <a:off x="135829" y="6887147"/>
              <a:ext cx="15153" cy="31167"/>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24" name="Freeform 23">
              <a:extLst>
                <a:ext uri="{FF2B5EF4-FFF2-40B4-BE49-F238E27FC236}">
                  <a16:creationId xmlns:a16="http://schemas.microsoft.com/office/drawing/2014/main" id="{F81FA937-37B5-1CB2-3F28-3B261344C253}"/>
                </a:ext>
              </a:extLst>
            </p:cNvPr>
            <p:cNvSpPr/>
            <p:nvPr/>
          </p:nvSpPr>
          <p:spPr>
            <a:xfrm>
              <a:off x="183088" y="6888648"/>
              <a:ext cx="13211" cy="29965"/>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25" name="Freeform 24">
              <a:extLst>
                <a:ext uri="{FF2B5EF4-FFF2-40B4-BE49-F238E27FC236}">
                  <a16:creationId xmlns:a16="http://schemas.microsoft.com/office/drawing/2014/main" id="{7261EFDC-F301-EA6F-637C-479C98F85CD6}"/>
                </a:ext>
              </a:extLst>
            </p:cNvPr>
            <p:cNvSpPr/>
            <p:nvPr/>
          </p:nvSpPr>
          <p:spPr>
            <a:xfrm>
              <a:off x="61151" y="6783729"/>
              <a:ext cx="103658" cy="170901"/>
            </a:xfrm>
            <a:custGeom>
              <a:avLst/>
              <a:gdLst>
                <a:gd name="connsiteX0" fmla="*/ 0 w 103658"/>
                <a:gd name="connsiteY0" fmla="*/ 170902 h 170901"/>
                <a:gd name="connsiteX1" fmla="*/ 53415 w 103658"/>
                <a:gd name="connsiteY1" fmla="*/ 134581 h 170901"/>
                <a:gd name="connsiteX2" fmla="*/ 53226 w 103658"/>
                <a:gd name="connsiteY2" fmla="*/ 72594 h 170901"/>
                <a:gd name="connsiteX3" fmla="*/ 103563 w 103658"/>
                <a:gd name="connsiteY3" fmla="*/ 43708 h 170901"/>
                <a:gd name="connsiteX4" fmla="*/ 103658 w 103658"/>
                <a:gd name="connsiteY4" fmla="*/ 0 h 170901"/>
                <a:gd name="connsiteX5" fmla="*/ 142 w 103658"/>
                <a:gd name="connsiteY5" fmla="*/ 62887 h 170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658" h="170901">
                  <a:moveTo>
                    <a:pt x="0" y="170902"/>
                  </a:moveTo>
                  <a:lnTo>
                    <a:pt x="53415" y="134581"/>
                  </a:lnTo>
                  <a:lnTo>
                    <a:pt x="53226" y="72594"/>
                  </a:lnTo>
                  <a:lnTo>
                    <a:pt x="103563" y="43708"/>
                  </a:lnTo>
                  <a:lnTo>
                    <a:pt x="103658" y="0"/>
                  </a:lnTo>
                  <a:lnTo>
                    <a:pt x="142" y="6288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26" name="Freeform 25">
              <a:extLst>
                <a:ext uri="{FF2B5EF4-FFF2-40B4-BE49-F238E27FC236}">
                  <a16:creationId xmlns:a16="http://schemas.microsoft.com/office/drawing/2014/main" id="{2F5A7E50-99D6-E700-ED9D-397466413306}"/>
                </a:ext>
              </a:extLst>
            </p:cNvPr>
            <p:cNvSpPr/>
            <p:nvPr/>
          </p:nvSpPr>
          <p:spPr>
            <a:xfrm>
              <a:off x="61199" y="6718048"/>
              <a:ext cx="94187" cy="93808"/>
            </a:xfrm>
            <a:custGeom>
              <a:avLst/>
              <a:gdLst>
                <a:gd name="connsiteX0" fmla="*/ 94187 w 94187"/>
                <a:gd name="connsiteY0" fmla="*/ 56162 h 93808"/>
                <a:gd name="connsiteX1" fmla="*/ 33385 w 94187"/>
                <a:gd name="connsiteY1" fmla="*/ 93809 h 93808"/>
                <a:gd name="connsiteX2" fmla="*/ 95 w 94187"/>
                <a:gd name="connsiteY2" fmla="*/ 75483 h 93808"/>
                <a:gd name="connsiteX3" fmla="*/ 0 w 94187"/>
                <a:gd name="connsiteY3" fmla="*/ 0 h 93808"/>
              </a:gdLst>
              <a:ahLst/>
              <a:cxnLst>
                <a:cxn ang="0">
                  <a:pos x="connsiteX0" y="connsiteY0"/>
                </a:cxn>
                <a:cxn ang="0">
                  <a:pos x="connsiteX1" y="connsiteY1"/>
                </a:cxn>
                <a:cxn ang="0">
                  <a:pos x="connsiteX2" y="connsiteY2"/>
                </a:cxn>
                <a:cxn ang="0">
                  <a:pos x="connsiteX3" y="connsiteY3"/>
                </a:cxn>
              </a:cxnLst>
              <a:rect l="l" t="t" r="r" b="b"/>
              <a:pathLst>
                <a:path w="94187" h="93808">
                  <a:moveTo>
                    <a:pt x="94187" y="56162"/>
                  </a:moveTo>
                  <a:lnTo>
                    <a:pt x="33385" y="93809"/>
                  </a:lnTo>
                  <a:lnTo>
                    <a:pt x="95" y="75483"/>
                  </a:lnTo>
                  <a:lnTo>
                    <a:pt x="0" y="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27" name="Freeform 26">
              <a:extLst>
                <a:ext uri="{FF2B5EF4-FFF2-40B4-BE49-F238E27FC236}">
                  <a16:creationId xmlns:a16="http://schemas.microsoft.com/office/drawing/2014/main" id="{526E3B70-8091-BD1D-AB4D-B244DBEA6F79}"/>
                </a:ext>
              </a:extLst>
            </p:cNvPr>
            <p:cNvSpPr/>
            <p:nvPr/>
          </p:nvSpPr>
          <p:spPr>
            <a:xfrm>
              <a:off x="221682" y="6811526"/>
              <a:ext cx="47223" cy="61797"/>
            </a:xfrm>
            <a:custGeom>
              <a:avLst/>
              <a:gdLst>
                <a:gd name="connsiteX0" fmla="*/ 4783 w 47223"/>
                <a:gd name="connsiteY0" fmla="*/ 40441 h 61797"/>
                <a:gd name="connsiteX1" fmla="*/ 4783 w 47223"/>
                <a:gd name="connsiteY1" fmla="*/ 61797 h 61797"/>
                <a:gd name="connsiteX2" fmla="*/ 0 w 47223"/>
                <a:gd name="connsiteY2" fmla="*/ 61797 h 61797"/>
                <a:gd name="connsiteX3" fmla="*/ 0 w 47223"/>
                <a:gd name="connsiteY3" fmla="*/ 0 h 61797"/>
                <a:gd name="connsiteX4" fmla="*/ 27087 w 47223"/>
                <a:gd name="connsiteY4" fmla="*/ 0 h 61797"/>
                <a:gd name="connsiteX5" fmla="*/ 27087 w 47223"/>
                <a:gd name="connsiteY5" fmla="*/ 40441 h 61797"/>
                <a:gd name="connsiteX6" fmla="*/ 4783 w 47223"/>
                <a:gd name="connsiteY6" fmla="*/ 40441 h 61797"/>
                <a:gd name="connsiteX7" fmla="*/ 4783 w 47223"/>
                <a:gd name="connsiteY7" fmla="*/ 4404 h 61797"/>
                <a:gd name="connsiteX8" fmla="*/ 4783 w 47223"/>
                <a:gd name="connsiteY8" fmla="*/ 36084 h 61797"/>
                <a:gd name="connsiteX9" fmla="*/ 27134 w 47223"/>
                <a:gd name="connsiteY9" fmla="*/ 36084 h 61797"/>
                <a:gd name="connsiteX10" fmla="*/ 27134 w 47223"/>
                <a:gd name="connsiteY10" fmla="*/ 4404 h 61797"/>
                <a:gd name="connsiteX11" fmla="*/ 4783 w 47223"/>
                <a:gd name="connsiteY11" fmla="*/ 4404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223" h="61797">
                  <a:moveTo>
                    <a:pt x="4783" y="40441"/>
                  </a:moveTo>
                  <a:lnTo>
                    <a:pt x="4783" y="61797"/>
                  </a:lnTo>
                  <a:lnTo>
                    <a:pt x="0" y="61797"/>
                  </a:lnTo>
                  <a:lnTo>
                    <a:pt x="0" y="0"/>
                  </a:lnTo>
                  <a:cubicBezTo>
                    <a:pt x="8997" y="0"/>
                    <a:pt x="18089" y="0"/>
                    <a:pt x="27087" y="0"/>
                  </a:cubicBezTo>
                  <a:cubicBezTo>
                    <a:pt x="53936" y="0"/>
                    <a:pt x="53936" y="40441"/>
                    <a:pt x="27087" y="40441"/>
                  </a:cubicBezTo>
                  <a:lnTo>
                    <a:pt x="4783" y="40441"/>
                  </a:lnTo>
                  <a:close/>
                  <a:moveTo>
                    <a:pt x="4783" y="4404"/>
                  </a:moveTo>
                  <a:lnTo>
                    <a:pt x="4783" y="36084"/>
                  </a:lnTo>
                  <a:lnTo>
                    <a:pt x="27134" y="36084"/>
                  </a:lnTo>
                  <a:cubicBezTo>
                    <a:pt x="47733" y="36084"/>
                    <a:pt x="47733" y="4404"/>
                    <a:pt x="27134" y="4404"/>
                  </a:cubicBezTo>
                  <a:lnTo>
                    <a:pt x="4783" y="4404"/>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28" name="Freeform 27">
              <a:extLst>
                <a:ext uri="{FF2B5EF4-FFF2-40B4-BE49-F238E27FC236}">
                  <a16:creationId xmlns:a16="http://schemas.microsoft.com/office/drawing/2014/main" id="{285D7E07-4063-8919-C488-9DF15D0100C6}"/>
                </a:ext>
              </a:extLst>
            </p:cNvPr>
            <p:cNvSpPr/>
            <p:nvPr/>
          </p:nvSpPr>
          <p:spPr>
            <a:xfrm>
              <a:off x="279501" y="6811526"/>
              <a:ext cx="49295" cy="61797"/>
            </a:xfrm>
            <a:custGeom>
              <a:avLst/>
              <a:gdLst>
                <a:gd name="connsiteX0" fmla="*/ 49296 w 49295"/>
                <a:gd name="connsiteY0" fmla="*/ 61797 h 61797"/>
                <a:gd name="connsiteX1" fmla="*/ 43045 w 49295"/>
                <a:gd name="connsiteY1" fmla="*/ 61797 h 61797"/>
                <a:gd name="connsiteX2" fmla="*/ 21641 w 49295"/>
                <a:gd name="connsiteY2" fmla="*/ 38404 h 61797"/>
                <a:gd name="connsiteX3" fmla="*/ 4783 w 49295"/>
                <a:gd name="connsiteY3" fmla="*/ 38404 h 61797"/>
                <a:gd name="connsiteX4" fmla="*/ 4783 w 49295"/>
                <a:gd name="connsiteY4" fmla="*/ 61797 h 61797"/>
                <a:gd name="connsiteX5" fmla="*/ 0 w 49295"/>
                <a:gd name="connsiteY5" fmla="*/ 61797 h 61797"/>
                <a:gd name="connsiteX6" fmla="*/ 0 w 49295"/>
                <a:gd name="connsiteY6" fmla="*/ 0 h 61797"/>
                <a:gd name="connsiteX7" fmla="*/ 27181 w 49295"/>
                <a:gd name="connsiteY7" fmla="*/ 0 h 61797"/>
                <a:gd name="connsiteX8" fmla="*/ 47496 w 49295"/>
                <a:gd name="connsiteY8" fmla="*/ 19273 h 61797"/>
                <a:gd name="connsiteX9" fmla="*/ 27465 w 49295"/>
                <a:gd name="connsiteY9" fmla="*/ 38168 h 61797"/>
                <a:gd name="connsiteX10" fmla="*/ 49296 w 49295"/>
                <a:gd name="connsiteY10" fmla="*/ 61797 h 61797"/>
                <a:gd name="connsiteX11" fmla="*/ 4783 w 49295"/>
                <a:gd name="connsiteY11" fmla="*/ 33906 h 61797"/>
                <a:gd name="connsiteX12" fmla="*/ 26660 w 49295"/>
                <a:gd name="connsiteY12" fmla="*/ 33906 h 61797"/>
                <a:gd name="connsiteX13" fmla="*/ 42287 w 49295"/>
                <a:gd name="connsiteY13" fmla="*/ 19179 h 61797"/>
                <a:gd name="connsiteX14" fmla="*/ 27181 w 49295"/>
                <a:gd name="connsiteY14" fmla="*/ 4451 h 61797"/>
                <a:gd name="connsiteX15" fmla="*/ 4735 w 49295"/>
                <a:gd name="connsiteY15" fmla="*/ 4451 h 61797"/>
                <a:gd name="connsiteX16" fmla="*/ 4735 w 49295"/>
                <a:gd name="connsiteY16" fmla="*/ 33906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9295" h="61797">
                  <a:moveTo>
                    <a:pt x="49296" y="61797"/>
                  </a:moveTo>
                  <a:lnTo>
                    <a:pt x="43045" y="61797"/>
                  </a:lnTo>
                  <a:lnTo>
                    <a:pt x="21641" y="38404"/>
                  </a:lnTo>
                  <a:lnTo>
                    <a:pt x="4783" y="38404"/>
                  </a:lnTo>
                  <a:lnTo>
                    <a:pt x="4783" y="61797"/>
                  </a:lnTo>
                  <a:lnTo>
                    <a:pt x="0" y="61797"/>
                  </a:lnTo>
                  <a:lnTo>
                    <a:pt x="0" y="0"/>
                  </a:lnTo>
                  <a:cubicBezTo>
                    <a:pt x="9092" y="0"/>
                    <a:pt x="18089" y="0"/>
                    <a:pt x="27181" y="0"/>
                  </a:cubicBezTo>
                  <a:cubicBezTo>
                    <a:pt x="40582" y="0"/>
                    <a:pt x="47401" y="9613"/>
                    <a:pt x="47496" y="19273"/>
                  </a:cubicBezTo>
                  <a:cubicBezTo>
                    <a:pt x="47591" y="29360"/>
                    <a:pt x="40961" y="38168"/>
                    <a:pt x="27465" y="38168"/>
                  </a:cubicBezTo>
                  <a:lnTo>
                    <a:pt x="49296" y="61797"/>
                  </a:lnTo>
                  <a:close/>
                  <a:moveTo>
                    <a:pt x="4783" y="33906"/>
                  </a:moveTo>
                  <a:lnTo>
                    <a:pt x="26660" y="33906"/>
                  </a:lnTo>
                  <a:cubicBezTo>
                    <a:pt x="37457" y="33906"/>
                    <a:pt x="42193" y="27797"/>
                    <a:pt x="42287" y="19179"/>
                  </a:cubicBezTo>
                  <a:cubicBezTo>
                    <a:pt x="42382" y="11933"/>
                    <a:pt x="37410" y="4451"/>
                    <a:pt x="27181" y="4451"/>
                  </a:cubicBezTo>
                  <a:lnTo>
                    <a:pt x="4735" y="4451"/>
                  </a:lnTo>
                  <a:lnTo>
                    <a:pt x="4735" y="33906"/>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29" name="Freeform 28">
              <a:extLst>
                <a:ext uri="{FF2B5EF4-FFF2-40B4-BE49-F238E27FC236}">
                  <a16:creationId xmlns:a16="http://schemas.microsoft.com/office/drawing/2014/main" id="{C9FB357A-51A4-470F-1602-66ACD4E547FA}"/>
                </a:ext>
              </a:extLst>
            </p:cNvPr>
            <p:cNvSpPr/>
            <p:nvPr/>
          </p:nvSpPr>
          <p:spPr>
            <a:xfrm>
              <a:off x="336847" y="6811526"/>
              <a:ext cx="4688" cy="61797"/>
            </a:xfrm>
            <a:custGeom>
              <a:avLst/>
              <a:gdLst>
                <a:gd name="connsiteX0" fmla="*/ 0 w 4688"/>
                <a:gd name="connsiteY0" fmla="*/ 61797 h 61797"/>
                <a:gd name="connsiteX1" fmla="*/ 0 w 4688"/>
                <a:gd name="connsiteY1" fmla="*/ 0 h 61797"/>
                <a:gd name="connsiteX2" fmla="*/ 4688 w 4688"/>
                <a:gd name="connsiteY2" fmla="*/ 0 h 61797"/>
                <a:gd name="connsiteX3" fmla="*/ 4688 w 4688"/>
                <a:gd name="connsiteY3" fmla="*/ 61797 h 61797"/>
                <a:gd name="connsiteX4" fmla="*/ 0 w 4688"/>
                <a:gd name="connsiteY4" fmla="*/ 61797 h 61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8" h="61797">
                  <a:moveTo>
                    <a:pt x="0" y="61797"/>
                  </a:moveTo>
                  <a:lnTo>
                    <a:pt x="0" y="0"/>
                  </a:lnTo>
                  <a:lnTo>
                    <a:pt x="4688" y="0"/>
                  </a:lnTo>
                  <a:lnTo>
                    <a:pt x="4688" y="61797"/>
                  </a:lnTo>
                  <a:lnTo>
                    <a:pt x="0" y="6179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0" name="Freeform 29">
              <a:extLst>
                <a:ext uri="{FF2B5EF4-FFF2-40B4-BE49-F238E27FC236}">
                  <a16:creationId xmlns:a16="http://schemas.microsoft.com/office/drawing/2014/main" id="{4F61FF0F-5EF4-8A5F-D147-8AD7E10E46E2}"/>
                </a:ext>
              </a:extLst>
            </p:cNvPr>
            <p:cNvSpPr/>
            <p:nvPr/>
          </p:nvSpPr>
          <p:spPr>
            <a:xfrm>
              <a:off x="351808" y="6810816"/>
              <a:ext cx="54317" cy="63218"/>
            </a:xfrm>
            <a:custGeom>
              <a:avLst/>
              <a:gdLst>
                <a:gd name="connsiteX0" fmla="*/ 54318 w 54317"/>
                <a:gd name="connsiteY0" fmla="*/ 53937 h 63218"/>
                <a:gd name="connsiteX1" fmla="*/ 31777 w 54317"/>
                <a:gd name="connsiteY1" fmla="*/ 63218 h 63218"/>
                <a:gd name="connsiteX2" fmla="*/ 2 w 54317"/>
                <a:gd name="connsiteY2" fmla="*/ 31964 h 63218"/>
                <a:gd name="connsiteX3" fmla="*/ 31777 w 54317"/>
                <a:gd name="connsiteY3" fmla="*/ 0 h 63218"/>
                <a:gd name="connsiteX4" fmla="*/ 54318 w 54317"/>
                <a:gd name="connsiteY4" fmla="*/ 9281 h 63218"/>
                <a:gd name="connsiteX5" fmla="*/ 51050 w 54317"/>
                <a:gd name="connsiteY5" fmla="*/ 12123 h 63218"/>
                <a:gd name="connsiteX6" fmla="*/ 31777 w 54317"/>
                <a:gd name="connsiteY6" fmla="*/ 4262 h 63218"/>
                <a:gd name="connsiteX7" fmla="*/ 4596 w 54317"/>
                <a:gd name="connsiteY7" fmla="*/ 31822 h 63218"/>
                <a:gd name="connsiteX8" fmla="*/ 31777 w 54317"/>
                <a:gd name="connsiteY8" fmla="*/ 58861 h 63218"/>
                <a:gd name="connsiteX9" fmla="*/ 51098 w 54317"/>
                <a:gd name="connsiteY9" fmla="*/ 51001 h 63218"/>
                <a:gd name="connsiteX10" fmla="*/ 54318 w 54317"/>
                <a:gd name="connsiteY10" fmla="*/ 53937 h 63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317" h="63218">
                  <a:moveTo>
                    <a:pt x="54318" y="53937"/>
                  </a:moveTo>
                  <a:cubicBezTo>
                    <a:pt x="48114" y="60140"/>
                    <a:pt x="39922" y="63218"/>
                    <a:pt x="31777" y="63218"/>
                  </a:cubicBezTo>
                  <a:cubicBezTo>
                    <a:pt x="10941" y="63218"/>
                    <a:pt x="97" y="48633"/>
                    <a:pt x="2" y="31964"/>
                  </a:cubicBezTo>
                  <a:cubicBezTo>
                    <a:pt x="-187" y="15438"/>
                    <a:pt x="10610" y="0"/>
                    <a:pt x="31777" y="0"/>
                  </a:cubicBezTo>
                  <a:cubicBezTo>
                    <a:pt x="39922" y="0"/>
                    <a:pt x="48114" y="3078"/>
                    <a:pt x="54318" y="9281"/>
                  </a:cubicBezTo>
                  <a:lnTo>
                    <a:pt x="51050" y="12123"/>
                  </a:lnTo>
                  <a:cubicBezTo>
                    <a:pt x="45747" y="6819"/>
                    <a:pt x="38785" y="4262"/>
                    <a:pt x="31777" y="4262"/>
                  </a:cubicBezTo>
                  <a:cubicBezTo>
                    <a:pt x="13782" y="4262"/>
                    <a:pt x="4501" y="17000"/>
                    <a:pt x="4596" y="31822"/>
                  </a:cubicBezTo>
                  <a:cubicBezTo>
                    <a:pt x="4785" y="46313"/>
                    <a:pt x="13972" y="58861"/>
                    <a:pt x="31777" y="58861"/>
                  </a:cubicBezTo>
                  <a:cubicBezTo>
                    <a:pt x="38738" y="58861"/>
                    <a:pt x="45841" y="56210"/>
                    <a:pt x="51098" y="51001"/>
                  </a:cubicBezTo>
                  <a:lnTo>
                    <a:pt x="54318" y="5393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1" name="Freeform 30">
              <a:extLst>
                <a:ext uri="{FF2B5EF4-FFF2-40B4-BE49-F238E27FC236}">
                  <a16:creationId xmlns:a16="http://schemas.microsoft.com/office/drawing/2014/main" id="{8E880BDF-9C9C-9E0C-93B0-1DAF7E07F904}"/>
                </a:ext>
              </a:extLst>
            </p:cNvPr>
            <p:cNvSpPr/>
            <p:nvPr/>
          </p:nvSpPr>
          <p:spPr>
            <a:xfrm>
              <a:off x="417443" y="6811526"/>
              <a:ext cx="4688" cy="61797"/>
            </a:xfrm>
            <a:custGeom>
              <a:avLst/>
              <a:gdLst>
                <a:gd name="connsiteX0" fmla="*/ 0 w 4688"/>
                <a:gd name="connsiteY0" fmla="*/ 61797 h 61797"/>
                <a:gd name="connsiteX1" fmla="*/ 0 w 4688"/>
                <a:gd name="connsiteY1" fmla="*/ 0 h 61797"/>
                <a:gd name="connsiteX2" fmla="*/ 4688 w 4688"/>
                <a:gd name="connsiteY2" fmla="*/ 0 h 61797"/>
                <a:gd name="connsiteX3" fmla="*/ 4688 w 4688"/>
                <a:gd name="connsiteY3" fmla="*/ 61797 h 61797"/>
                <a:gd name="connsiteX4" fmla="*/ 0 w 4688"/>
                <a:gd name="connsiteY4" fmla="*/ 61797 h 61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8" h="61797">
                  <a:moveTo>
                    <a:pt x="0" y="61797"/>
                  </a:moveTo>
                  <a:lnTo>
                    <a:pt x="0" y="0"/>
                  </a:lnTo>
                  <a:lnTo>
                    <a:pt x="4688" y="0"/>
                  </a:lnTo>
                  <a:lnTo>
                    <a:pt x="4688" y="61797"/>
                  </a:lnTo>
                  <a:lnTo>
                    <a:pt x="0" y="6179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2" name="Freeform 31">
              <a:extLst>
                <a:ext uri="{FF2B5EF4-FFF2-40B4-BE49-F238E27FC236}">
                  <a16:creationId xmlns:a16="http://schemas.microsoft.com/office/drawing/2014/main" id="{B88CF999-ED30-8E65-E57F-83326EBA9F1F}"/>
                </a:ext>
              </a:extLst>
            </p:cNvPr>
            <p:cNvSpPr/>
            <p:nvPr/>
          </p:nvSpPr>
          <p:spPr>
            <a:xfrm>
              <a:off x="435817" y="6811526"/>
              <a:ext cx="48301" cy="61797"/>
            </a:xfrm>
            <a:custGeom>
              <a:avLst/>
              <a:gdLst>
                <a:gd name="connsiteX0" fmla="*/ 2036 w 48301"/>
                <a:gd name="connsiteY0" fmla="*/ 0 h 61797"/>
                <a:gd name="connsiteX1" fmla="*/ 43613 w 48301"/>
                <a:gd name="connsiteY1" fmla="*/ 51143 h 61797"/>
                <a:gd name="connsiteX2" fmla="*/ 43613 w 48301"/>
                <a:gd name="connsiteY2" fmla="*/ 0 h 61797"/>
                <a:gd name="connsiteX3" fmla="*/ 48301 w 48301"/>
                <a:gd name="connsiteY3" fmla="*/ 0 h 61797"/>
                <a:gd name="connsiteX4" fmla="*/ 48301 w 48301"/>
                <a:gd name="connsiteY4" fmla="*/ 61797 h 61797"/>
                <a:gd name="connsiteX5" fmla="*/ 46454 w 48301"/>
                <a:gd name="connsiteY5" fmla="*/ 61797 h 61797"/>
                <a:gd name="connsiteX6" fmla="*/ 4783 w 48301"/>
                <a:gd name="connsiteY6" fmla="*/ 10749 h 61797"/>
                <a:gd name="connsiteX7" fmla="*/ 4783 w 48301"/>
                <a:gd name="connsiteY7" fmla="*/ 61797 h 61797"/>
                <a:gd name="connsiteX8" fmla="*/ 0 w 48301"/>
                <a:gd name="connsiteY8" fmla="*/ 61797 h 61797"/>
                <a:gd name="connsiteX9" fmla="*/ 0 w 48301"/>
                <a:gd name="connsiteY9" fmla="*/ 0 h 61797"/>
                <a:gd name="connsiteX10" fmla="*/ 2036 w 48301"/>
                <a:gd name="connsiteY10" fmla="*/ 0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301" h="61797">
                  <a:moveTo>
                    <a:pt x="2036" y="0"/>
                  </a:moveTo>
                  <a:lnTo>
                    <a:pt x="43613" y="51143"/>
                  </a:lnTo>
                  <a:lnTo>
                    <a:pt x="43613" y="0"/>
                  </a:lnTo>
                  <a:lnTo>
                    <a:pt x="48301" y="0"/>
                  </a:lnTo>
                  <a:lnTo>
                    <a:pt x="48301" y="61797"/>
                  </a:lnTo>
                  <a:lnTo>
                    <a:pt x="46454" y="61797"/>
                  </a:lnTo>
                  <a:lnTo>
                    <a:pt x="4783" y="10749"/>
                  </a:lnTo>
                  <a:lnTo>
                    <a:pt x="4783" y="61797"/>
                  </a:lnTo>
                  <a:lnTo>
                    <a:pt x="0" y="61797"/>
                  </a:lnTo>
                  <a:lnTo>
                    <a:pt x="0" y="0"/>
                  </a:lnTo>
                  <a:lnTo>
                    <a:pt x="2036" y="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3" name="Freeform 32">
              <a:extLst>
                <a:ext uri="{FF2B5EF4-FFF2-40B4-BE49-F238E27FC236}">
                  <a16:creationId xmlns:a16="http://schemas.microsoft.com/office/drawing/2014/main" id="{54B26BEC-DA9E-A4E8-B495-EA83743A1051}"/>
                </a:ext>
              </a:extLst>
            </p:cNvPr>
            <p:cNvSpPr/>
            <p:nvPr/>
          </p:nvSpPr>
          <p:spPr>
            <a:xfrm>
              <a:off x="494820" y="6810626"/>
              <a:ext cx="55168" cy="63502"/>
            </a:xfrm>
            <a:custGeom>
              <a:avLst/>
              <a:gdLst>
                <a:gd name="connsiteX0" fmla="*/ 51711 w 55168"/>
                <a:gd name="connsiteY0" fmla="*/ 12265 h 63502"/>
                <a:gd name="connsiteX1" fmla="*/ 31822 w 55168"/>
                <a:gd name="connsiteY1" fmla="*/ 4309 h 63502"/>
                <a:gd name="connsiteX2" fmla="*/ 4546 w 55168"/>
                <a:gd name="connsiteY2" fmla="*/ 31869 h 63502"/>
                <a:gd name="connsiteX3" fmla="*/ 31822 w 55168"/>
                <a:gd name="connsiteY3" fmla="*/ 58956 h 63502"/>
                <a:gd name="connsiteX4" fmla="*/ 50622 w 55168"/>
                <a:gd name="connsiteY4" fmla="*/ 51806 h 63502"/>
                <a:gd name="connsiteX5" fmla="*/ 50622 w 55168"/>
                <a:gd name="connsiteY5" fmla="*/ 34474 h 63502"/>
                <a:gd name="connsiteX6" fmla="*/ 29123 w 55168"/>
                <a:gd name="connsiteY6" fmla="*/ 34474 h 63502"/>
                <a:gd name="connsiteX7" fmla="*/ 29123 w 55168"/>
                <a:gd name="connsiteY7" fmla="*/ 30307 h 63502"/>
                <a:gd name="connsiteX8" fmla="*/ 55168 w 55168"/>
                <a:gd name="connsiteY8" fmla="*/ 30307 h 63502"/>
                <a:gd name="connsiteX9" fmla="*/ 55168 w 55168"/>
                <a:gd name="connsiteY9" fmla="*/ 53510 h 63502"/>
                <a:gd name="connsiteX10" fmla="*/ 31870 w 55168"/>
                <a:gd name="connsiteY10" fmla="*/ 63502 h 63502"/>
                <a:gd name="connsiteX11" fmla="*/ 1 w 55168"/>
                <a:gd name="connsiteY11" fmla="*/ 31964 h 63502"/>
                <a:gd name="connsiteX12" fmla="*/ 31870 w 55168"/>
                <a:gd name="connsiteY12" fmla="*/ 0 h 63502"/>
                <a:gd name="connsiteX13" fmla="*/ 54458 w 55168"/>
                <a:gd name="connsiteY13" fmla="*/ 9281 h 63502"/>
                <a:gd name="connsiteX14" fmla="*/ 51711 w 55168"/>
                <a:gd name="connsiteY14" fmla="*/ 12265 h 63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5168" h="63502">
                  <a:moveTo>
                    <a:pt x="51711" y="12265"/>
                  </a:moveTo>
                  <a:cubicBezTo>
                    <a:pt x="46313" y="6961"/>
                    <a:pt x="38831" y="4309"/>
                    <a:pt x="31822" y="4309"/>
                  </a:cubicBezTo>
                  <a:cubicBezTo>
                    <a:pt x="13733" y="4309"/>
                    <a:pt x="4452" y="17568"/>
                    <a:pt x="4546" y="31869"/>
                  </a:cubicBezTo>
                  <a:cubicBezTo>
                    <a:pt x="4546" y="46455"/>
                    <a:pt x="13828" y="58956"/>
                    <a:pt x="31822" y="58956"/>
                  </a:cubicBezTo>
                  <a:cubicBezTo>
                    <a:pt x="38452" y="58956"/>
                    <a:pt x="45318" y="56683"/>
                    <a:pt x="50622" y="51806"/>
                  </a:cubicBezTo>
                  <a:lnTo>
                    <a:pt x="50622" y="34474"/>
                  </a:lnTo>
                  <a:lnTo>
                    <a:pt x="29123" y="34474"/>
                  </a:lnTo>
                  <a:lnTo>
                    <a:pt x="29123" y="30307"/>
                  </a:lnTo>
                  <a:lnTo>
                    <a:pt x="55168" y="30307"/>
                  </a:lnTo>
                  <a:lnTo>
                    <a:pt x="55168" y="53510"/>
                  </a:lnTo>
                  <a:cubicBezTo>
                    <a:pt x="48728" y="59951"/>
                    <a:pt x="41056" y="63502"/>
                    <a:pt x="31870" y="63502"/>
                  </a:cubicBezTo>
                  <a:cubicBezTo>
                    <a:pt x="10845" y="63502"/>
                    <a:pt x="1" y="48822"/>
                    <a:pt x="1" y="31964"/>
                  </a:cubicBezTo>
                  <a:cubicBezTo>
                    <a:pt x="-94" y="12644"/>
                    <a:pt x="13070" y="0"/>
                    <a:pt x="31870" y="0"/>
                  </a:cubicBezTo>
                  <a:cubicBezTo>
                    <a:pt x="40015" y="0"/>
                    <a:pt x="48207" y="3078"/>
                    <a:pt x="54458" y="9281"/>
                  </a:cubicBezTo>
                  <a:lnTo>
                    <a:pt x="51711" y="12265"/>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4" name="Freeform 33">
              <a:extLst>
                <a:ext uri="{FF2B5EF4-FFF2-40B4-BE49-F238E27FC236}">
                  <a16:creationId xmlns:a16="http://schemas.microsoft.com/office/drawing/2014/main" id="{D9E9AFD0-C0FD-DCE4-DBB9-0CED1C35159A}"/>
                </a:ext>
              </a:extLst>
            </p:cNvPr>
            <p:cNvSpPr/>
            <p:nvPr/>
          </p:nvSpPr>
          <p:spPr>
            <a:xfrm>
              <a:off x="565094" y="6809348"/>
              <a:ext cx="63504" cy="64449"/>
            </a:xfrm>
            <a:custGeom>
              <a:avLst/>
              <a:gdLst>
                <a:gd name="connsiteX0" fmla="*/ 63502 w 63504"/>
                <a:gd name="connsiteY0" fmla="*/ 32485 h 64449"/>
                <a:gd name="connsiteX1" fmla="*/ 31775 w 63504"/>
                <a:gd name="connsiteY1" fmla="*/ 64449 h 64449"/>
                <a:gd name="connsiteX2" fmla="*/ 0 w 63504"/>
                <a:gd name="connsiteY2" fmla="*/ 32580 h 64449"/>
                <a:gd name="connsiteX3" fmla="*/ 31775 w 63504"/>
                <a:gd name="connsiteY3" fmla="*/ 0 h 64449"/>
                <a:gd name="connsiteX4" fmla="*/ 63502 w 63504"/>
                <a:gd name="connsiteY4" fmla="*/ 32485 h 64449"/>
                <a:gd name="connsiteX5" fmla="*/ 11460 w 63504"/>
                <a:gd name="connsiteY5" fmla="*/ 32769 h 64449"/>
                <a:gd name="connsiteX6" fmla="*/ 31775 w 63504"/>
                <a:gd name="connsiteY6" fmla="*/ 53795 h 64449"/>
                <a:gd name="connsiteX7" fmla="*/ 51995 w 63504"/>
                <a:gd name="connsiteY7" fmla="*/ 32675 h 64449"/>
                <a:gd name="connsiteX8" fmla="*/ 31775 w 63504"/>
                <a:gd name="connsiteY8" fmla="*/ 10607 h 64449"/>
                <a:gd name="connsiteX9" fmla="*/ 11460 w 63504"/>
                <a:gd name="connsiteY9" fmla="*/ 32769 h 64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504" h="64449">
                  <a:moveTo>
                    <a:pt x="63502" y="32485"/>
                  </a:moveTo>
                  <a:cubicBezTo>
                    <a:pt x="63312" y="48491"/>
                    <a:pt x="53510" y="64449"/>
                    <a:pt x="31775" y="64449"/>
                  </a:cubicBezTo>
                  <a:cubicBezTo>
                    <a:pt x="10039" y="64449"/>
                    <a:pt x="0" y="48822"/>
                    <a:pt x="0" y="32580"/>
                  </a:cubicBezTo>
                  <a:cubicBezTo>
                    <a:pt x="0" y="16337"/>
                    <a:pt x="10418" y="0"/>
                    <a:pt x="31775" y="0"/>
                  </a:cubicBezTo>
                  <a:cubicBezTo>
                    <a:pt x="53084" y="0"/>
                    <a:pt x="63691" y="16337"/>
                    <a:pt x="63502" y="32485"/>
                  </a:cubicBezTo>
                  <a:close/>
                  <a:moveTo>
                    <a:pt x="11460" y="32769"/>
                  </a:moveTo>
                  <a:cubicBezTo>
                    <a:pt x="11744" y="42903"/>
                    <a:pt x="17190" y="53795"/>
                    <a:pt x="31775" y="53795"/>
                  </a:cubicBezTo>
                  <a:cubicBezTo>
                    <a:pt x="46360" y="53795"/>
                    <a:pt x="51805" y="42856"/>
                    <a:pt x="51995" y="32675"/>
                  </a:cubicBezTo>
                  <a:cubicBezTo>
                    <a:pt x="52184" y="22257"/>
                    <a:pt x="46360" y="10607"/>
                    <a:pt x="31775" y="10607"/>
                  </a:cubicBezTo>
                  <a:cubicBezTo>
                    <a:pt x="17190" y="10607"/>
                    <a:pt x="11223" y="22351"/>
                    <a:pt x="11460" y="32769"/>
                  </a:cubicBez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35" name="Freeform 34">
              <a:extLst>
                <a:ext uri="{FF2B5EF4-FFF2-40B4-BE49-F238E27FC236}">
                  <a16:creationId xmlns:a16="http://schemas.microsoft.com/office/drawing/2014/main" id="{E8760AA1-E29F-2188-1BB3-8881263C4506}"/>
                </a:ext>
              </a:extLst>
            </p:cNvPr>
            <p:cNvSpPr/>
            <p:nvPr/>
          </p:nvSpPr>
          <p:spPr>
            <a:xfrm>
              <a:off x="638019" y="6810484"/>
              <a:ext cx="51379" cy="61986"/>
            </a:xfrm>
            <a:custGeom>
              <a:avLst/>
              <a:gdLst>
                <a:gd name="connsiteX0" fmla="*/ 39730 w 51379"/>
                <a:gd name="connsiteY0" fmla="*/ 0 h 61986"/>
                <a:gd name="connsiteX1" fmla="*/ 51379 w 51379"/>
                <a:gd name="connsiteY1" fmla="*/ 0 h 61986"/>
                <a:gd name="connsiteX2" fmla="*/ 51379 w 51379"/>
                <a:gd name="connsiteY2" fmla="*/ 61892 h 61986"/>
                <a:gd name="connsiteX3" fmla="*/ 44134 w 51379"/>
                <a:gd name="connsiteY3" fmla="*/ 61892 h 61986"/>
                <a:gd name="connsiteX4" fmla="*/ 44134 w 51379"/>
                <a:gd name="connsiteY4" fmla="*/ 61987 h 61986"/>
                <a:gd name="connsiteX5" fmla="*/ 11649 w 51379"/>
                <a:gd name="connsiteY5" fmla="*/ 20220 h 61986"/>
                <a:gd name="connsiteX6" fmla="*/ 11649 w 51379"/>
                <a:gd name="connsiteY6" fmla="*/ 61892 h 61986"/>
                <a:gd name="connsiteX7" fmla="*/ 0 w 51379"/>
                <a:gd name="connsiteY7" fmla="*/ 61892 h 61986"/>
                <a:gd name="connsiteX8" fmla="*/ 0 w 51379"/>
                <a:gd name="connsiteY8" fmla="*/ 95 h 61986"/>
                <a:gd name="connsiteX9" fmla="*/ 9471 w 51379"/>
                <a:gd name="connsiteY9" fmla="*/ 95 h 61986"/>
                <a:gd name="connsiteX10" fmla="*/ 39777 w 51379"/>
                <a:gd name="connsiteY10" fmla="*/ 38404 h 61986"/>
                <a:gd name="connsiteX11" fmla="*/ 39777 w 51379"/>
                <a:gd name="connsiteY11" fmla="*/ 0 h 61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379" h="61986">
                  <a:moveTo>
                    <a:pt x="39730" y="0"/>
                  </a:moveTo>
                  <a:lnTo>
                    <a:pt x="51379" y="0"/>
                  </a:lnTo>
                  <a:lnTo>
                    <a:pt x="51379" y="61892"/>
                  </a:lnTo>
                  <a:lnTo>
                    <a:pt x="44134" y="61892"/>
                  </a:lnTo>
                  <a:lnTo>
                    <a:pt x="44134" y="61987"/>
                  </a:lnTo>
                  <a:lnTo>
                    <a:pt x="11649" y="20220"/>
                  </a:lnTo>
                  <a:lnTo>
                    <a:pt x="11649" y="61892"/>
                  </a:lnTo>
                  <a:lnTo>
                    <a:pt x="0" y="61892"/>
                  </a:lnTo>
                  <a:lnTo>
                    <a:pt x="0" y="95"/>
                  </a:lnTo>
                  <a:lnTo>
                    <a:pt x="9471" y="95"/>
                  </a:lnTo>
                  <a:lnTo>
                    <a:pt x="39777" y="38404"/>
                  </a:lnTo>
                  <a:lnTo>
                    <a:pt x="39777" y="0"/>
                  </a:ln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36" name="Freeform 35">
              <a:extLst>
                <a:ext uri="{FF2B5EF4-FFF2-40B4-BE49-F238E27FC236}">
                  <a16:creationId xmlns:a16="http://schemas.microsoft.com/office/drawing/2014/main" id="{F86F2C48-9195-F884-5097-483F2FDF0756}"/>
                </a:ext>
              </a:extLst>
            </p:cNvPr>
            <p:cNvSpPr/>
            <p:nvPr/>
          </p:nvSpPr>
          <p:spPr>
            <a:xfrm>
              <a:off x="699958" y="6810579"/>
              <a:ext cx="46264" cy="61844"/>
            </a:xfrm>
            <a:custGeom>
              <a:avLst/>
              <a:gdLst>
                <a:gd name="connsiteX0" fmla="*/ 46265 w 46264"/>
                <a:gd name="connsiteY0" fmla="*/ 61845 h 61844"/>
                <a:gd name="connsiteX1" fmla="*/ 0 w 46264"/>
                <a:gd name="connsiteY1" fmla="*/ 61845 h 61844"/>
                <a:gd name="connsiteX2" fmla="*/ 0 w 46264"/>
                <a:gd name="connsiteY2" fmla="*/ 0 h 61844"/>
                <a:gd name="connsiteX3" fmla="*/ 46265 w 46264"/>
                <a:gd name="connsiteY3" fmla="*/ 0 h 61844"/>
                <a:gd name="connsiteX4" fmla="*/ 46265 w 46264"/>
                <a:gd name="connsiteY4" fmla="*/ 11318 h 61844"/>
                <a:gd name="connsiteX5" fmla="*/ 11554 w 46264"/>
                <a:gd name="connsiteY5" fmla="*/ 11318 h 61844"/>
                <a:gd name="connsiteX6" fmla="*/ 11554 w 46264"/>
                <a:gd name="connsiteY6" fmla="*/ 25524 h 61844"/>
                <a:gd name="connsiteX7" fmla="*/ 45034 w 46264"/>
                <a:gd name="connsiteY7" fmla="*/ 25524 h 61844"/>
                <a:gd name="connsiteX8" fmla="*/ 45034 w 46264"/>
                <a:gd name="connsiteY8" fmla="*/ 36368 h 61844"/>
                <a:gd name="connsiteX9" fmla="*/ 11554 w 46264"/>
                <a:gd name="connsiteY9" fmla="*/ 36368 h 61844"/>
                <a:gd name="connsiteX10" fmla="*/ 11554 w 46264"/>
                <a:gd name="connsiteY10" fmla="*/ 50338 h 61844"/>
                <a:gd name="connsiteX11" fmla="*/ 46265 w 46264"/>
                <a:gd name="connsiteY11" fmla="*/ 50338 h 61844"/>
                <a:gd name="connsiteX12" fmla="*/ 46265 w 46264"/>
                <a:gd name="connsiteY12" fmla="*/ 61845 h 61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264" h="61844">
                  <a:moveTo>
                    <a:pt x="46265" y="61845"/>
                  </a:moveTo>
                  <a:lnTo>
                    <a:pt x="0" y="61845"/>
                  </a:lnTo>
                  <a:cubicBezTo>
                    <a:pt x="0" y="41246"/>
                    <a:pt x="0" y="20599"/>
                    <a:pt x="0" y="0"/>
                  </a:cubicBezTo>
                  <a:lnTo>
                    <a:pt x="46265" y="0"/>
                  </a:lnTo>
                  <a:lnTo>
                    <a:pt x="46265" y="11318"/>
                  </a:lnTo>
                  <a:lnTo>
                    <a:pt x="11554" y="11318"/>
                  </a:lnTo>
                  <a:lnTo>
                    <a:pt x="11554" y="25524"/>
                  </a:lnTo>
                  <a:lnTo>
                    <a:pt x="45034" y="25524"/>
                  </a:lnTo>
                  <a:lnTo>
                    <a:pt x="45034" y="36368"/>
                  </a:lnTo>
                  <a:lnTo>
                    <a:pt x="11554" y="36368"/>
                  </a:lnTo>
                  <a:lnTo>
                    <a:pt x="11554" y="50338"/>
                  </a:lnTo>
                  <a:lnTo>
                    <a:pt x="46265" y="50338"/>
                  </a:lnTo>
                  <a:lnTo>
                    <a:pt x="46265" y="61845"/>
                  </a:ln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37" name="Freeform 36">
              <a:extLst>
                <a:ext uri="{FF2B5EF4-FFF2-40B4-BE49-F238E27FC236}">
                  <a16:creationId xmlns:a16="http://schemas.microsoft.com/office/drawing/2014/main" id="{60AA74B8-5938-8C45-8445-0C79A02C3E35}"/>
                </a:ext>
              </a:extLst>
            </p:cNvPr>
            <p:cNvSpPr/>
            <p:nvPr/>
          </p:nvSpPr>
          <p:spPr>
            <a:xfrm>
              <a:off x="747644" y="6800634"/>
              <a:ext cx="15390" cy="20457"/>
            </a:xfrm>
            <a:custGeom>
              <a:avLst/>
              <a:gdLst>
                <a:gd name="connsiteX0" fmla="*/ 9376 w 15390"/>
                <a:gd name="connsiteY0" fmla="*/ 20457 h 20457"/>
                <a:gd name="connsiteX1" fmla="*/ 6014 w 15390"/>
                <a:gd name="connsiteY1" fmla="*/ 20457 h 20457"/>
                <a:gd name="connsiteX2" fmla="*/ 6014 w 15390"/>
                <a:gd name="connsiteY2" fmla="*/ 2889 h 20457"/>
                <a:gd name="connsiteX3" fmla="*/ 0 w 15390"/>
                <a:gd name="connsiteY3" fmla="*/ 2889 h 20457"/>
                <a:gd name="connsiteX4" fmla="*/ 0 w 15390"/>
                <a:gd name="connsiteY4" fmla="*/ 0 h 20457"/>
                <a:gd name="connsiteX5" fmla="*/ 15390 w 15390"/>
                <a:gd name="connsiteY5" fmla="*/ 0 h 20457"/>
                <a:gd name="connsiteX6" fmla="*/ 15390 w 15390"/>
                <a:gd name="connsiteY6" fmla="*/ 2889 h 20457"/>
                <a:gd name="connsiteX7" fmla="*/ 9376 w 15390"/>
                <a:gd name="connsiteY7" fmla="*/ 2889 h 20457"/>
                <a:gd name="connsiteX8" fmla="*/ 9376 w 15390"/>
                <a:gd name="connsiteY8" fmla="*/ 20457 h 2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390" h="20457">
                  <a:moveTo>
                    <a:pt x="9376" y="20457"/>
                  </a:moveTo>
                  <a:lnTo>
                    <a:pt x="6014" y="20457"/>
                  </a:lnTo>
                  <a:lnTo>
                    <a:pt x="6014" y="2889"/>
                  </a:lnTo>
                  <a:lnTo>
                    <a:pt x="0" y="2889"/>
                  </a:lnTo>
                  <a:lnTo>
                    <a:pt x="0" y="0"/>
                  </a:lnTo>
                  <a:lnTo>
                    <a:pt x="15390" y="0"/>
                  </a:lnTo>
                  <a:lnTo>
                    <a:pt x="15390" y="2889"/>
                  </a:lnTo>
                  <a:lnTo>
                    <a:pt x="9376" y="2889"/>
                  </a:lnTo>
                  <a:lnTo>
                    <a:pt x="9376" y="2045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8" name="Freeform 37">
              <a:extLst>
                <a:ext uri="{FF2B5EF4-FFF2-40B4-BE49-F238E27FC236}">
                  <a16:creationId xmlns:a16="http://schemas.microsoft.com/office/drawing/2014/main" id="{EACDAAB3-EE0D-A9F6-2699-C493021CB0C1}"/>
                </a:ext>
              </a:extLst>
            </p:cNvPr>
            <p:cNvSpPr/>
            <p:nvPr/>
          </p:nvSpPr>
          <p:spPr>
            <a:xfrm>
              <a:off x="766206" y="6800634"/>
              <a:ext cx="21119" cy="20457"/>
            </a:xfrm>
            <a:custGeom>
              <a:avLst/>
              <a:gdLst>
                <a:gd name="connsiteX0" fmla="*/ 8808 w 21119"/>
                <a:gd name="connsiteY0" fmla="*/ 20457 h 20457"/>
                <a:gd name="connsiteX1" fmla="*/ 2889 w 21119"/>
                <a:gd name="connsiteY1" fmla="*/ 3362 h 20457"/>
                <a:gd name="connsiteX2" fmla="*/ 2794 w 21119"/>
                <a:gd name="connsiteY2" fmla="*/ 3362 h 20457"/>
                <a:gd name="connsiteX3" fmla="*/ 3031 w 21119"/>
                <a:gd name="connsiteY3" fmla="*/ 10513 h 20457"/>
                <a:gd name="connsiteX4" fmla="*/ 3031 w 21119"/>
                <a:gd name="connsiteY4" fmla="*/ 20457 h 20457"/>
                <a:gd name="connsiteX5" fmla="*/ 0 w 21119"/>
                <a:gd name="connsiteY5" fmla="*/ 20457 h 20457"/>
                <a:gd name="connsiteX6" fmla="*/ 0 w 21119"/>
                <a:gd name="connsiteY6" fmla="*/ 0 h 20457"/>
                <a:gd name="connsiteX7" fmla="*/ 4735 w 21119"/>
                <a:gd name="connsiteY7" fmla="*/ 0 h 20457"/>
                <a:gd name="connsiteX8" fmla="*/ 10418 w 21119"/>
                <a:gd name="connsiteY8" fmla="*/ 16290 h 20457"/>
                <a:gd name="connsiteX9" fmla="*/ 10513 w 21119"/>
                <a:gd name="connsiteY9" fmla="*/ 16290 h 20457"/>
                <a:gd name="connsiteX10" fmla="*/ 16385 w 21119"/>
                <a:gd name="connsiteY10" fmla="*/ 0 h 20457"/>
                <a:gd name="connsiteX11" fmla="*/ 21120 w 21119"/>
                <a:gd name="connsiteY11" fmla="*/ 0 h 20457"/>
                <a:gd name="connsiteX12" fmla="*/ 21120 w 21119"/>
                <a:gd name="connsiteY12" fmla="*/ 20457 h 20457"/>
                <a:gd name="connsiteX13" fmla="*/ 17900 w 21119"/>
                <a:gd name="connsiteY13" fmla="*/ 20457 h 20457"/>
                <a:gd name="connsiteX14" fmla="*/ 17900 w 21119"/>
                <a:gd name="connsiteY14" fmla="*/ 10323 h 20457"/>
                <a:gd name="connsiteX15" fmla="*/ 17995 w 21119"/>
                <a:gd name="connsiteY15" fmla="*/ 6345 h 20457"/>
                <a:gd name="connsiteX16" fmla="*/ 18137 w 21119"/>
                <a:gd name="connsiteY16" fmla="*/ 3362 h 20457"/>
                <a:gd name="connsiteX17" fmla="*/ 18042 w 21119"/>
                <a:gd name="connsiteY17" fmla="*/ 3362 h 20457"/>
                <a:gd name="connsiteX18" fmla="*/ 11886 w 21119"/>
                <a:gd name="connsiteY18" fmla="*/ 20410 h 20457"/>
                <a:gd name="connsiteX19" fmla="*/ 8808 w 21119"/>
                <a:gd name="connsiteY19" fmla="*/ 20410 h 2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1119" h="20457">
                  <a:moveTo>
                    <a:pt x="8808" y="20457"/>
                  </a:moveTo>
                  <a:lnTo>
                    <a:pt x="2889" y="3362"/>
                  </a:lnTo>
                  <a:lnTo>
                    <a:pt x="2794" y="3362"/>
                  </a:lnTo>
                  <a:cubicBezTo>
                    <a:pt x="2936" y="5919"/>
                    <a:pt x="3031" y="8287"/>
                    <a:pt x="3031" y="10513"/>
                  </a:cubicBezTo>
                  <a:lnTo>
                    <a:pt x="3031" y="20457"/>
                  </a:lnTo>
                  <a:lnTo>
                    <a:pt x="0" y="20457"/>
                  </a:lnTo>
                  <a:lnTo>
                    <a:pt x="0" y="0"/>
                  </a:lnTo>
                  <a:lnTo>
                    <a:pt x="4735" y="0"/>
                  </a:lnTo>
                  <a:lnTo>
                    <a:pt x="10418" y="16290"/>
                  </a:lnTo>
                  <a:lnTo>
                    <a:pt x="10513" y="16290"/>
                  </a:lnTo>
                  <a:lnTo>
                    <a:pt x="16385" y="0"/>
                  </a:lnTo>
                  <a:lnTo>
                    <a:pt x="21120" y="0"/>
                  </a:lnTo>
                  <a:lnTo>
                    <a:pt x="21120" y="20457"/>
                  </a:lnTo>
                  <a:lnTo>
                    <a:pt x="17900" y="20457"/>
                  </a:lnTo>
                  <a:lnTo>
                    <a:pt x="17900" y="10323"/>
                  </a:lnTo>
                  <a:cubicBezTo>
                    <a:pt x="17900" y="9329"/>
                    <a:pt x="17947" y="8003"/>
                    <a:pt x="17995" y="6345"/>
                  </a:cubicBezTo>
                  <a:cubicBezTo>
                    <a:pt x="18042" y="4735"/>
                    <a:pt x="18089" y="3741"/>
                    <a:pt x="18137" y="3362"/>
                  </a:cubicBezTo>
                  <a:lnTo>
                    <a:pt x="18042" y="3362"/>
                  </a:lnTo>
                  <a:lnTo>
                    <a:pt x="11886" y="20410"/>
                  </a:lnTo>
                  <a:lnTo>
                    <a:pt x="8808" y="2041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1309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762363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grpSp>
        <p:nvGrpSpPr>
          <p:cNvPr id="53" name="Group 52">
            <a:extLst>
              <a:ext uri="{FF2B5EF4-FFF2-40B4-BE49-F238E27FC236}">
                <a16:creationId xmlns:a16="http://schemas.microsoft.com/office/drawing/2014/main" id="{7255F6E5-4D6B-9BF7-DFB7-A5069FF04794}"/>
              </a:ext>
            </a:extLst>
          </p:cNvPr>
          <p:cNvGrpSpPr/>
          <p:nvPr/>
        </p:nvGrpSpPr>
        <p:grpSpPr>
          <a:xfrm>
            <a:off x="2337" y="4972051"/>
            <a:ext cx="544631" cy="177437"/>
            <a:chOff x="61151" y="6718048"/>
            <a:chExt cx="726174" cy="236582"/>
          </a:xfrm>
        </p:grpSpPr>
        <p:sp>
          <p:nvSpPr>
            <p:cNvPr id="54" name="Freeform 18">
              <a:extLst>
                <a:ext uri="{FF2B5EF4-FFF2-40B4-BE49-F238E27FC236}">
                  <a16:creationId xmlns:a16="http://schemas.microsoft.com/office/drawing/2014/main" id="{C4A59211-18BA-3FE2-0751-AB90684A9E58}"/>
                </a:ext>
              </a:extLst>
            </p:cNvPr>
            <p:cNvSpPr/>
            <p:nvPr/>
          </p:nvSpPr>
          <p:spPr>
            <a:xfrm>
              <a:off x="125600" y="6869014"/>
              <a:ext cx="38735" cy="66769"/>
            </a:xfrm>
            <a:custGeom>
              <a:avLst/>
              <a:gdLst>
                <a:gd name="connsiteX0" fmla="*/ 95 w 38735"/>
                <a:gd name="connsiteY0" fmla="*/ 0 h 66769"/>
                <a:gd name="connsiteX1" fmla="*/ 10465 w 38735"/>
                <a:gd name="connsiteY1" fmla="*/ 5967 h 66769"/>
                <a:gd name="connsiteX2" fmla="*/ 37268 w 38735"/>
                <a:gd name="connsiteY2" fmla="*/ 21452 h 66769"/>
                <a:gd name="connsiteX3" fmla="*/ 38736 w 38735"/>
                <a:gd name="connsiteY3" fmla="*/ 23488 h 66769"/>
                <a:gd name="connsiteX4" fmla="*/ 38688 w 38735"/>
                <a:gd name="connsiteY4" fmla="*/ 65775 h 66769"/>
                <a:gd name="connsiteX5" fmla="*/ 38641 w 38735"/>
                <a:gd name="connsiteY5" fmla="*/ 66770 h 66769"/>
                <a:gd name="connsiteX6" fmla="*/ 37457 w 38735"/>
                <a:gd name="connsiteY6" fmla="*/ 66201 h 66769"/>
                <a:gd name="connsiteX7" fmla="*/ 1042 w 38735"/>
                <a:gd name="connsiteY7" fmla="*/ 45129 h 66769"/>
                <a:gd name="connsiteX8" fmla="*/ 47 w 38735"/>
                <a:gd name="connsiteY8" fmla="*/ 43566 h 66769"/>
                <a:gd name="connsiteX9" fmla="*/ 0 w 38735"/>
                <a:gd name="connsiteY9" fmla="*/ 805 h 66769"/>
                <a:gd name="connsiteX10" fmla="*/ 95 w 38735"/>
                <a:gd name="connsiteY10" fmla="*/ 0 h 66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735" h="66769">
                  <a:moveTo>
                    <a:pt x="95" y="0"/>
                  </a:moveTo>
                  <a:cubicBezTo>
                    <a:pt x="3694" y="2084"/>
                    <a:pt x="7103" y="4025"/>
                    <a:pt x="10465" y="5967"/>
                  </a:cubicBezTo>
                  <a:cubicBezTo>
                    <a:pt x="19415" y="11128"/>
                    <a:pt x="28318" y="16290"/>
                    <a:pt x="37268" y="21452"/>
                  </a:cubicBezTo>
                  <a:cubicBezTo>
                    <a:pt x="38073" y="21925"/>
                    <a:pt x="38736" y="22304"/>
                    <a:pt x="38736" y="23488"/>
                  </a:cubicBezTo>
                  <a:cubicBezTo>
                    <a:pt x="38688" y="37599"/>
                    <a:pt x="38688" y="51664"/>
                    <a:pt x="38688" y="65775"/>
                  </a:cubicBezTo>
                  <a:cubicBezTo>
                    <a:pt x="38688" y="66059"/>
                    <a:pt x="38641" y="66296"/>
                    <a:pt x="38641" y="66770"/>
                  </a:cubicBezTo>
                  <a:cubicBezTo>
                    <a:pt x="38167" y="66580"/>
                    <a:pt x="37789" y="66391"/>
                    <a:pt x="37457" y="66201"/>
                  </a:cubicBezTo>
                  <a:cubicBezTo>
                    <a:pt x="25287" y="59193"/>
                    <a:pt x="13164" y="52185"/>
                    <a:pt x="1042" y="45129"/>
                  </a:cubicBezTo>
                  <a:cubicBezTo>
                    <a:pt x="568" y="44845"/>
                    <a:pt x="47" y="44087"/>
                    <a:pt x="47" y="43566"/>
                  </a:cubicBezTo>
                  <a:cubicBezTo>
                    <a:pt x="0" y="29312"/>
                    <a:pt x="0" y="15059"/>
                    <a:pt x="0" y="805"/>
                  </a:cubicBezTo>
                  <a:cubicBezTo>
                    <a:pt x="0" y="663"/>
                    <a:pt x="47" y="474"/>
                    <a:pt x="95" y="0"/>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55" name="Freeform 19">
              <a:extLst>
                <a:ext uri="{FF2B5EF4-FFF2-40B4-BE49-F238E27FC236}">
                  <a16:creationId xmlns:a16="http://schemas.microsoft.com/office/drawing/2014/main" id="{8C29DF29-4F2A-EFFC-EA9C-2D094203D536}"/>
                </a:ext>
              </a:extLst>
            </p:cNvPr>
            <p:cNvSpPr/>
            <p:nvPr/>
          </p:nvSpPr>
          <p:spPr>
            <a:xfrm>
              <a:off x="169403" y="6869061"/>
              <a:ext cx="38688" cy="66816"/>
            </a:xfrm>
            <a:custGeom>
              <a:avLst/>
              <a:gdLst>
                <a:gd name="connsiteX0" fmla="*/ 38641 w 38688"/>
                <a:gd name="connsiteY0" fmla="*/ 0 h 66816"/>
                <a:gd name="connsiteX1" fmla="*/ 38641 w 38688"/>
                <a:gd name="connsiteY1" fmla="*/ 1847 h 66816"/>
                <a:gd name="connsiteX2" fmla="*/ 38688 w 38688"/>
                <a:gd name="connsiteY2" fmla="*/ 42998 h 66816"/>
                <a:gd name="connsiteX3" fmla="*/ 37268 w 38688"/>
                <a:gd name="connsiteY3" fmla="*/ 45413 h 66816"/>
                <a:gd name="connsiteX4" fmla="*/ 1231 w 38688"/>
                <a:gd name="connsiteY4" fmla="*/ 66201 h 66816"/>
                <a:gd name="connsiteX5" fmla="*/ 95 w 38688"/>
                <a:gd name="connsiteY5" fmla="*/ 66817 h 66816"/>
                <a:gd name="connsiteX6" fmla="*/ 0 w 38688"/>
                <a:gd name="connsiteY6" fmla="*/ 65112 h 66816"/>
                <a:gd name="connsiteX7" fmla="*/ 0 w 38688"/>
                <a:gd name="connsiteY7" fmla="*/ 23772 h 66816"/>
                <a:gd name="connsiteX8" fmla="*/ 1137 w 38688"/>
                <a:gd name="connsiteY8" fmla="*/ 21546 h 66816"/>
                <a:gd name="connsiteX9" fmla="*/ 36794 w 38688"/>
                <a:gd name="connsiteY9" fmla="*/ 1042 h 66816"/>
                <a:gd name="connsiteX10" fmla="*/ 38641 w 38688"/>
                <a:gd name="connsiteY10" fmla="*/ 0 h 66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688" h="66816">
                  <a:moveTo>
                    <a:pt x="38641" y="0"/>
                  </a:moveTo>
                  <a:cubicBezTo>
                    <a:pt x="38641" y="758"/>
                    <a:pt x="38641" y="1279"/>
                    <a:pt x="38641" y="1847"/>
                  </a:cubicBezTo>
                  <a:cubicBezTo>
                    <a:pt x="38641" y="15580"/>
                    <a:pt x="38641" y="29312"/>
                    <a:pt x="38688" y="42998"/>
                  </a:cubicBezTo>
                  <a:cubicBezTo>
                    <a:pt x="38688" y="44182"/>
                    <a:pt x="38309" y="44797"/>
                    <a:pt x="37268" y="45413"/>
                  </a:cubicBezTo>
                  <a:cubicBezTo>
                    <a:pt x="25240" y="52327"/>
                    <a:pt x="13212" y="59240"/>
                    <a:pt x="1231" y="66201"/>
                  </a:cubicBezTo>
                  <a:cubicBezTo>
                    <a:pt x="900" y="66391"/>
                    <a:pt x="568" y="66533"/>
                    <a:pt x="95" y="66817"/>
                  </a:cubicBezTo>
                  <a:cubicBezTo>
                    <a:pt x="47" y="66154"/>
                    <a:pt x="0" y="65633"/>
                    <a:pt x="0" y="65112"/>
                  </a:cubicBezTo>
                  <a:cubicBezTo>
                    <a:pt x="0" y="51332"/>
                    <a:pt x="0" y="37552"/>
                    <a:pt x="0" y="23772"/>
                  </a:cubicBezTo>
                  <a:cubicBezTo>
                    <a:pt x="0" y="22777"/>
                    <a:pt x="142" y="22114"/>
                    <a:pt x="1137" y="21546"/>
                  </a:cubicBezTo>
                  <a:cubicBezTo>
                    <a:pt x="13022" y="14727"/>
                    <a:pt x="24908" y="7861"/>
                    <a:pt x="36794" y="1042"/>
                  </a:cubicBezTo>
                  <a:cubicBezTo>
                    <a:pt x="37268" y="663"/>
                    <a:pt x="37836" y="379"/>
                    <a:pt x="38641" y="0"/>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56" name="Freeform 20">
              <a:extLst>
                <a:ext uri="{FF2B5EF4-FFF2-40B4-BE49-F238E27FC236}">
                  <a16:creationId xmlns:a16="http://schemas.microsoft.com/office/drawing/2014/main" id="{58C7D7CF-2D75-D424-50BD-8903AD586C1A}"/>
                </a:ext>
              </a:extLst>
            </p:cNvPr>
            <p:cNvSpPr/>
            <p:nvPr/>
          </p:nvSpPr>
          <p:spPr>
            <a:xfrm>
              <a:off x="128205" y="6842264"/>
              <a:ext cx="77187" cy="43964"/>
            </a:xfrm>
            <a:custGeom>
              <a:avLst/>
              <a:gdLst>
                <a:gd name="connsiteX0" fmla="*/ 0 w 77187"/>
                <a:gd name="connsiteY0" fmla="*/ 21873 h 43964"/>
                <a:gd name="connsiteX1" fmla="*/ 9897 w 77187"/>
                <a:gd name="connsiteY1" fmla="*/ 16096 h 43964"/>
                <a:gd name="connsiteX2" fmla="*/ 36699 w 77187"/>
                <a:gd name="connsiteY2" fmla="*/ 611 h 43964"/>
                <a:gd name="connsiteX3" fmla="*/ 40393 w 77187"/>
                <a:gd name="connsiteY3" fmla="*/ 564 h 43964"/>
                <a:gd name="connsiteX4" fmla="*/ 75388 w 77187"/>
                <a:gd name="connsiteY4" fmla="*/ 20831 h 43964"/>
                <a:gd name="connsiteX5" fmla="*/ 77187 w 77187"/>
                <a:gd name="connsiteY5" fmla="*/ 21968 h 43964"/>
                <a:gd name="connsiteX6" fmla="*/ 66106 w 77187"/>
                <a:gd name="connsiteY6" fmla="*/ 28408 h 43964"/>
                <a:gd name="connsiteX7" fmla="*/ 39872 w 77187"/>
                <a:gd name="connsiteY7" fmla="*/ 43561 h 43964"/>
                <a:gd name="connsiteX8" fmla="*/ 37220 w 77187"/>
                <a:gd name="connsiteY8" fmla="*/ 43514 h 43964"/>
                <a:gd name="connsiteX9" fmla="*/ 1515 w 77187"/>
                <a:gd name="connsiteY9" fmla="*/ 22867 h 43964"/>
                <a:gd name="connsiteX10" fmla="*/ 0 w 77187"/>
                <a:gd name="connsiteY10" fmla="*/ 21873 h 43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187" h="43964">
                  <a:moveTo>
                    <a:pt x="0" y="21873"/>
                  </a:moveTo>
                  <a:cubicBezTo>
                    <a:pt x="3410" y="19884"/>
                    <a:pt x="6677" y="17990"/>
                    <a:pt x="9897" y="16096"/>
                  </a:cubicBezTo>
                  <a:cubicBezTo>
                    <a:pt x="18847" y="10934"/>
                    <a:pt x="27797" y="5820"/>
                    <a:pt x="36699" y="611"/>
                  </a:cubicBezTo>
                  <a:cubicBezTo>
                    <a:pt x="38025" y="-147"/>
                    <a:pt x="38972" y="-241"/>
                    <a:pt x="40393" y="564"/>
                  </a:cubicBezTo>
                  <a:cubicBezTo>
                    <a:pt x="52042" y="7383"/>
                    <a:pt x="63739" y="14060"/>
                    <a:pt x="75388" y="20831"/>
                  </a:cubicBezTo>
                  <a:cubicBezTo>
                    <a:pt x="75956" y="21163"/>
                    <a:pt x="76477" y="21494"/>
                    <a:pt x="77187" y="21968"/>
                  </a:cubicBezTo>
                  <a:cubicBezTo>
                    <a:pt x="73352" y="24193"/>
                    <a:pt x="69705" y="26324"/>
                    <a:pt x="66106" y="28408"/>
                  </a:cubicBezTo>
                  <a:cubicBezTo>
                    <a:pt x="57346" y="33475"/>
                    <a:pt x="48585" y="38494"/>
                    <a:pt x="39872" y="43561"/>
                  </a:cubicBezTo>
                  <a:cubicBezTo>
                    <a:pt x="38878" y="44130"/>
                    <a:pt x="38215" y="44082"/>
                    <a:pt x="37220" y="43514"/>
                  </a:cubicBezTo>
                  <a:cubicBezTo>
                    <a:pt x="25334" y="36600"/>
                    <a:pt x="13401" y="29734"/>
                    <a:pt x="1515" y="22867"/>
                  </a:cubicBezTo>
                  <a:cubicBezTo>
                    <a:pt x="1089" y="22583"/>
                    <a:pt x="663" y="22252"/>
                    <a:pt x="0" y="21873"/>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57" name="Freeform 21">
              <a:extLst>
                <a:ext uri="{FF2B5EF4-FFF2-40B4-BE49-F238E27FC236}">
                  <a16:creationId xmlns:a16="http://schemas.microsoft.com/office/drawing/2014/main" id="{25DC3EF2-DEDC-B6EF-686D-9F9D99B5B245}"/>
                </a:ext>
              </a:extLst>
            </p:cNvPr>
            <p:cNvSpPr/>
            <p:nvPr/>
          </p:nvSpPr>
          <p:spPr>
            <a:xfrm>
              <a:off x="153811" y="6855216"/>
              <a:ext cx="27703" cy="16089"/>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Freeform 22">
              <a:extLst>
                <a:ext uri="{FF2B5EF4-FFF2-40B4-BE49-F238E27FC236}">
                  <a16:creationId xmlns:a16="http://schemas.microsoft.com/office/drawing/2014/main" id="{A96731E9-8209-3E5B-A834-4D0DD85390F0}"/>
                </a:ext>
              </a:extLst>
            </p:cNvPr>
            <p:cNvSpPr/>
            <p:nvPr/>
          </p:nvSpPr>
          <p:spPr>
            <a:xfrm>
              <a:off x="135829" y="6887147"/>
              <a:ext cx="15153" cy="31167"/>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Freeform 23">
              <a:extLst>
                <a:ext uri="{FF2B5EF4-FFF2-40B4-BE49-F238E27FC236}">
                  <a16:creationId xmlns:a16="http://schemas.microsoft.com/office/drawing/2014/main" id="{F36A7FE5-0EEC-85F1-612B-DCC9CF8FF7A4}"/>
                </a:ext>
              </a:extLst>
            </p:cNvPr>
            <p:cNvSpPr/>
            <p:nvPr/>
          </p:nvSpPr>
          <p:spPr>
            <a:xfrm>
              <a:off x="183088" y="6888648"/>
              <a:ext cx="13211" cy="29965"/>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60" name="Freeform 24">
              <a:extLst>
                <a:ext uri="{FF2B5EF4-FFF2-40B4-BE49-F238E27FC236}">
                  <a16:creationId xmlns:a16="http://schemas.microsoft.com/office/drawing/2014/main" id="{71144ADD-BE58-5324-6FD6-C2671E222CAE}"/>
                </a:ext>
              </a:extLst>
            </p:cNvPr>
            <p:cNvSpPr/>
            <p:nvPr/>
          </p:nvSpPr>
          <p:spPr>
            <a:xfrm>
              <a:off x="61151" y="6783729"/>
              <a:ext cx="103658" cy="170901"/>
            </a:xfrm>
            <a:custGeom>
              <a:avLst/>
              <a:gdLst>
                <a:gd name="connsiteX0" fmla="*/ 0 w 103658"/>
                <a:gd name="connsiteY0" fmla="*/ 170902 h 170901"/>
                <a:gd name="connsiteX1" fmla="*/ 53415 w 103658"/>
                <a:gd name="connsiteY1" fmla="*/ 134581 h 170901"/>
                <a:gd name="connsiteX2" fmla="*/ 53226 w 103658"/>
                <a:gd name="connsiteY2" fmla="*/ 72594 h 170901"/>
                <a:gd name="connsiteX3" fmla="*/ 103563 w 103658"/>
                <a:gd name="connsiteY3" fmla="*/ 43708 h 170901"/>
                <a:gd name="connsiteX4" fmla="*/ 103658 w 103658"/>
                <a:gd name="connsiteY4" fmla="*/ 0 h 170901"/>
                <a:gd name="connsiteX5" fmla="*/ 142 w 103658"/>
                <a:gd name="connsiteY5" fmla="*/ 62887 h 170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658" h="170901">
                  <a:moveTo>
                    <a:pt x="0" y="170902"/>
                  </a:moveTo>
                  <a:lnTo>
                    <a:pt x="53415" y="134581"/>
                  </a:lnTo>
                  <a:lnTo>
                    <a:pt x="53226" y="72594"/>
                  </a:lnTo>
                  <a:lnTo>
                    <a:pt x="103563" y="43708"/>
                  </a:lnTo>
                  <a:lnTo>
                    <a:pt x="103658" y="0"/>
                  </a:lnTo>
                  <a:lnTo>
                    <a:pt x="142" y="6288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1" name="Freeform 25">
              <a:extLst>
                <a:ext uri="{FF2B5EF4-FFF2-40B4-BE49-F238E27FC236}">
                  <a16:creationId xmlns:a16="http://schemas.microsoft.com/office/drawing/2014/main" id="{6A2234C2-EFFF-5640-1BC6-E57325F327C7}"/>
                </a:ext>
              </a:extLst>
            </p:cNvPr>
            <p:cNvSpPr/>
            <p:nvPr/>
          </p:nvSpPr>
          <p:spPr>
            <a:xfrm>
              <a:off x="61199" y="6718048"/>
              <a:ext cx="94187" cy="93808"/>
            </a:xfrm>
            <a:custGeom>
              <a:avLst/>
              <a:gdLst>
                <a:gd name="connsiteX0" fmla="*/ 94187 w 94187"/>
                <a:gd name="connsiteY0" fmla="*/ 56162 h 93808"/>
                <a:gd name="connsiteX1" fmla="*/ 33385 w 94187"/>
                <a:gd name="connsiteY1" fmla="*/ 93809 h 93808"/>
                <a:gd name="connsiteX2" fmla="*/ 95 w 94187"/>
                <a:gd name="connsiteY2" fmla="*/ 75483 h 93808"/>
                <a:gd name="connsiteX3" fmla="*/ 0 w 94187"/>
                <a:gd name="connsiteY3" fmla="*/ 0 h 93808"/>
              </a:gdLst>
              <a:ahLst/>
              <a:cxnLst>
                <a:cxn ang="0">
                  <a:pos x="connsiteX0" y="connsiteY0"/>
                </a:cxn>
                <a:cxn ang="0">
                  <a:pos x="connsiteX1" y="connsiteY1"/>
                </a:cxn>
                <a:cxn ang="0">
                  <a:pos x="connsiteX2" y="connsiteY2"/>
                </a:cxn>
                <a:cxn ang="0">
                  <a:pos x="connsiteX3" y="connsiteY3"/>
                </a:cxn>
              </a:cxnLst>
              <a:rect l="l" t="t" r="r" b="b"/>
              <a:pathLst>
                <a:path w="94187" h="93808">
                  <a:moveTo>
                    <a:pt x="94187" y="56162"/>
                  </a:moveTo>
                  <a:lnTo>
                    <a:pt x="33385" y="93809"/>
                  </a:lnTo>
                  <a:lnTo>
                    <a:pt x="95" y="75483"/>
                  </a:lnTo>
                  <a:lnTo>
                    <a:pt x="0" y="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2" name="Freeform 26">
              <a:extLst>
                <a:ext uri="{FF2B5EF4-FFF2-40B4-BE49-F238E27FC236}">
                  <a16:creationId xmlns:a16="http://schemas.microsoft.com/office/drawing/2014/main" id="{B50E8F27-507D-4631-5B21-4FEC3FD834F9}"/>
                </a:ext>
              </a:extLst>
            </p:cNvPr>
            <p:cNvSpPr/>
            <p:nvPr/>
          </p:nvSpPr>
          <p:spPr>
            <a:xfrm>
              <a:off x="221682" y="6811526"/>
              <a:ext cx="47223" cy="61797"/>
            </a:xfrm>
            <a:custGeom>
              <a:avLst/>
              <a:gdLst>
                <a:gd name="connsiteX0" fmla="*/ 4783 w 47223"/>
                <a:gd name="connsiteY0" fmla="*/ 40441 h 61797"/>
                <a:gd name="connsiteX1" fmla="*/ 4783 w 47223"/>
                <a:gd name="connsiteY1" fmla="*/ 61797 h 61797"/>
                <a:gd name="connsiteX2" fmla="*/ 0 w 47223"/>
                <a:gd name="connsiteY2" fmla="*/ 61797 h 61797"/>
                <a:gd name="connsiteX3" fmla="*/ 0 w 47223"/>
                <a:gd name="connsiteY3" fmla="*/ 0 h 61797"/>
                <a:gd name="connsiteX4" fmla="*/ 27087 w 47223"/>
                <a:gd name="connsiteY4" fmla="*/ 0 h 61797"/>
                <a:gd name="connsiteX5" fmla="*/ 27087 w 47223"/>
                <a:gd name="connsiteY5" fmla="*/ 40441 h 61797"/>
                <a:gd name="connsiteX6" fmla="*/ 4783 w 47223"/>
                <a:gd name="connsiteY6" fmla="*/ 40441 h 61797"/>
                <a:gd name="connsiteX7" fmla="*/ 4783 w 47223"/>
                <a:gd name="connsiteY7" fmla="*/ 4404 h 61797"/>
                <a:gd name="connsiteX8" fmla="*/ 4783 w 47223"/>
                <a:gd name="connsiteY8" fmla="*/ 36084 h 61797"/>
                <a:gd name="connsiteX9" fmla="*/ 27134 w 47223"/>
                <a:gd name="connsiteY9" fmla="*/ 36084 h 61797"/>
                <a:gd name="connsiteX10" fmla="*/ 27134 w 47223"/>
                <a:gd name="connsiteY10" fmla="*/ 4404 h 61797"/>
                <a:gd name="connsiteX11" fmla="*/ 4783 w 47223"/>
                <a:gd name="connsiteY11" fmla="*/ 4404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223" h="61797">
                  <a:moveTo>
                    <a:pt x="4783" y="40441"/>
                  </a:moveTo>
                  <a:lnTo>
                    <a:pt x="4783" y="61797"/>
                  </a:lnTo>
                  <a:lnTo>
                    <a:pt x="0" y="61797"/>
                  </a:lnTo>
                  <a:lnTo>
                    <a:pt x="0" y="0"/>
                  </a:lnTo>
                  <a:cubicBezTo>
                    <a:pt x="8997" y="0"/>
                    <a:pt x="18089" y="0"/>
                    <a:pt x="27087" y="0"/>
                  </a:cubicBezTo>
                  <a:cubicBezTo>
                    <a:pt x="53936" y="0"/>
                    <a:pt x="53936" y="40441"/>
                    <a:pt x="27087" y="40441"/>
                  </a:cubicBezTo>
                  <a:lnTo>
                    <a:pt x="4783" y="40441"/>
                  </a:lnTo>
                  <a:close/>
                  <a:moveTo>
                    <a:pt x="4783" y="4404"/>
                  </a:moveTo>
                  <a:lnTo>
                    <a:pt x="4783" y="36084"/>
                  </a:lnTo>
                  <a:lnTo>
                    <a:pt x="27134" y="36084"/>
                  </a:lnTo>
                  <a:cubicBezTo>
                    <a:pt x="47733" y="36084"/>
                    <a:pt x="47733" y="4404"/>
                    <a:pt x="27134" y="4404"/>
                  </a:cubicBezTo>
                  <a:lnTo>
                    <a:pt x="4783" y="4404"/>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3" name="Freeform 27">
              <a:extLst>
                <a:ext uri="{FF2B5EF4-FFF2-40B4-BE49-F238E27FC236}">
                  <a16:creationId xmlns:a16="http://schemas.microsoft.com/office/drawing/2014/main" id="{80265B7B-9DAA-0F37-FC2B-93E0185ACC2C}"/>
                </a:ext>
              </a:extLst>
            </p:cNvPr>
            <p:cNvSpPr/>
            <p:nvPr/>
          </p:nvSpPr>
          <p:spPr>
            <a:xfrm>
              <a:off x="279501" y="6811526"/>
              <a:ext cx="49295" cy="61797"/>
            </a:xfrm>
            <a:custGeom>
              <a:avLst/>
              <a:gdLst>
                <a:gd name="connsiteX0" fmla="*/ 49296 w 49295"/>
                <a:gd name="connsiteY0" fmla="*/ 61797 h 61797"/>
                <a:gd name="connsiteX1" fmla="*/ 43045 w 49295"/>
                <a:gd name="connsiteY1" fmla="*/ 61797 h 61797"/>
                <a:gd name="connsiteX2" fmla="*/ 21641 w 49295"/>
                <a:gd name="connsiteY2" fmla="*/ 38404 h 61797"/>
                <a:gd name="connsiteX3" fmla="*/ 4783 w 49295"/>
                <a:gd name="connsiteY3" fmla="*/ 38404 h 61797"/>
                <a:gd name="connsiteX4" fmla="*/ 4783 w 49295"/>
                <a:gd name="connsiteY4" fmla="*/ 61797 h 61797"/>
                <a:gd name="connsiteX5" fmla="*/ 0 w 49295"/>
                <a:gd name="connsiteY5" fmla="*/ 61797 h 61797"/>
                <a:gd name="connsiteX6" fmla="*/ 0 w 49295"/>
                <a:gd name="connsiteY6" fmla="*/ 0 h 61797"/>
                <a:gd name="connsiteX7" fmla="*/ 27181 w 49295"/>
                <a:gd name="connsiteY7" fmla="*/ 0 h 61797"/>
                <a:gd name="connsiteX8" fmla="*/ 47496 w 49295"/>
                <a:gd name="connsiteY8" fmla="*/ 19273 h 61797"/>
                <a:gd name="connsiteX9" fmla="*/ 27465 w 49295"/>
                <a:gd name="connsiteY9" fmla="*/ 38168 h 61797"/>
                <a:gd name="connsiteX10" fmla="*/ 49296 w 49295"/>
                <a:gd name="connsiteY10" fmla="*/ 61797 h 61797"/>
                <a:gd name="connsiteX11" fmla="*/ 4783 w 49295"/>
                <a:gd name="connsiteY11" fmla="*/ 33906 h 61797"/>
                <a:gd name="connsiteX12" fmla="*/ 26660 w 49295"/>
                <a:gd name="connsiteY12" fmla="*/ 33906 h 61797"/>
                <a:gd name="connsiteX13" fmla="*/ 42287 w 49295"/>
                <a:gd name="connsiteY13" fmla="*/ 19179 h 61797"/>
                <a:gd name="connsiteX14" fmla="*/ 27181 w 49295"/>
                <a:gd name="connsiteY14" fmla="*/ 4451 h 61797"/>
                <a:gd name="connsiteX15" fmla="*/ 4735 w 49295"/>
                <a:gd name="connsiteY15" fmla="*/ 4451 h 61797"/>
                <a:gd name="connsiteX16" fmla="*/ 4735 w 49295"/>
                <a:gd name="connsiteY16" fmla="*/ 33906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9295" h="61797">
                  <a:moveTo>
                    <a:pt x="49296" y="61797"/>
                  </a:moveTo>
                  <a:lnTo>
                    <a:pt x="43045" y="61797"/>
                  </a:lnTo>
                  <a:lnTo>
                    <a:pt x="21641" y="38404"/>
                  </a:lnTo>
                  <a:lnTo>
                    <a:pt x="4783" y="38404"/>
                  </a:lnTo>
                  <a:lnTo>
                    <a:pt x="4783" y="61797"/>
                  </a:lnTo>
                  <a:lnTo>
                    <a:pt x="0" y="61797"/>
                  </a:lnTo>
                  <a:lnTo>
                    <a:pt x="0" y="0"/>
                  </a:lnTo>
                  <a:cubicBezTo>
                    <a:pt x="9092" y="0"/>
                    <a:pt x="18089" y="0"/>
                    <a:pt x="27181" y="0"/>
                  </a:cubicBezTo>
                  <a:cubicBezTo>
                    <a:pt x="40582" y="0"/>
                    <a:pt x="47401" y="9613"/>
                    <a:pt x="47496" y="19273"/>
                  </a:cubicBezTo>
                  <a:cubicBezTo>
                    <a:pt x="47591" y="29360"/>
                    <a:pt x="40961" y="38168"/>
                    <a:pt x="27465" y="38168"/>
                  </a:cubicBezTo>
                  <a:lnTo>
                    <a:pt x="49296" y="61797"/>
                  </a:lnTo>
                  <a:close/>
                  <a:moveTo>
                    <a:pt x="4783" y="33906"/>
                  </a:moveTo>
                  <a:lnTo>
                    <a:pt x="26660" y="33906"/>
                  </a:lnTo>
                  <a:cubicBezTo>
                    <a:pt x="37457" y="33906"/>
                    <a:pt x="42193" y="27797"/>
                    <a:pt x="42287" y="19179"/>
                  </a:cubicBezTo>
                  <a:cubicBezTo>
                    <a:pt x="42382" y="11933"/>
                    <a:pt x="37410" y="4451"/>
                    <a:pt x="27181" y="4451"/>
                  </a:cubicBezTo>
                  <a:lnTo>
                    <a:pt x="4735" y="4451"/>
                  </a:lnTo>
                  <a:lnTo>
                    <a:pt x="4735" y="33906"/>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4" name="Freeform 28">
              <a:extLst>
                <a:ext uri="{FF2B5EF4-FFF2-40B4-BE49-F238E27FC236}">
                  <a16:creationId xmlns:a16="http://schemas.microsoft.com/office/drawing/2014/main" id="{8F4045B2-47DB-32FA-D7E8-020D552A7913}"/>
                </a:ext>
              </a:extLst>
            </p:cNvPr>
            <p:cNvSpPr/>
            <p:nvPr/>
          </p:nvSpPr>
          <p:spPr>
            <a:xfrm>
              <a:off x="336847" y="6811526"/>
              <a:ext cx="4688" cy="61797"/>
            </a:xfrm>
            <a:custGeom>
              <a:avLst/>
              <a:gdLst>
                <a:gd name="connsiteX0" fmla="*/ 0 w 4688"/>
                <a:gd name="connsiteY0" fmla="*/ 61797 h 61797"/>
                <a:gd name="connsiteX1" fmla="*/ 0 w 4688"/>
                <a:gd name="connsiteY1" fmla="*/ 0 h 61797"/>
                <a:gd name="connsiteX2" fmla="*/ 4688 w 4688"/>
                <a:gd name="connsiteY2" fmla="*/ 0 h 61797"/>
                <a:gd name="connsiteX3" fmla="*/ 4688 w 4688"/>
                <a:gd name="connsiteY3" fmla="*/ 61797 h 61797"/>
                <a:gd name="connsiteX4" fmla="*/ 0 w 4688"/>
                <a:gd name="connsiteY4" fmla="*/ 61797 h 61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8" h="61797">
                  <a:moveTo>
                    <a:pt x="0" y="61797"/>
                  </a:moveTo>
                  <a:lnTo>
                    <a:pt x="0" y="0"/>
                  </a:lnTo>
                  <a:lnTo>
                    <a:pt x="4688" y="0"/>
                  </a:lnTo>
                  <a:lnTo>
                    <a:pt x="4688" y="61797"/>
                  </a:lnTo>
                  <a:lnTo>
                    <a:pt x="0" y="6179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5" name="Freeform 29">
              <a:extLst>
                <a:ext uri="{FF2B5EF4-FFF2-40B4-BE49-F238E27FC236}">
                  <a16:creationId xmlns:a16="http://schemas.microsoft.com/office/drawing/2014/main" id="{E94E08FD-BD24-CA98-42B5-DF58FF1463D1}"/>
                </a:ext>
              </a:extLst>
            </p:cNvPr>
            <p:cNvSpPr/>
            <p:nvPr/>
          </p:nvSpPr>
          <p:spPr>
            <a:xfrm>
              <a:off x="351808" y="6810816"/>
              <a:ext cx="54317" cy="63218"/>
            </a:xfrm>
            <a:custGeom>
              <a:avLst/>
              <a:gdLst>
                <a:gd name="connsiteX0" fmla="*/ 54318 w 54317"/>
                <a:gd name="connsiteY0" fmla="*/ 53937 h 63218"/>
                <a:gd name="connsiteX1" fmla="*/ 31777 w 54317"/>
                <a:gd name="connsiteY1" fmla="*/ 63218 h 63218"/>
                <a:gd name="connsiteX2" fmla="*/ 2 w 54317"/>
                <a:gd name="connsiteY2" fmla="*/ 31964 h 63218"/>
                <a:gd name="connsiteX3" fmla="*/ 31777 w 54317"/>
                <a:gd name="connsiteY3" fmla="*/ 0 h 63218"/>
                <a:gd name="connsiteX4" fmla="*/ 54318 w 54317"/>
                <a:gd name="connsiteY4" fmla="*/ 9281 h 63218"/>
                <a:gd name="connsiteX5" fmla="*/ 51050 w 54317"/>
                <a:gd name="connsiteY5" fmla="*/ 12123 h 63218"/>
                <a:gd name="connsiteX6" fmla="*/ 31777 w 54317"/>
                <a:gd name="connsiteY6" fmla="*/ 4262 h 63218"/>
                <a:gd name="connsiteX7" fmla="*/ 4596 w 54317"/>
                <a:gd name="connsiteY7" fmla="*/ 31822 h 63218"/>
                <a:gd name="connsiteX8" fmla="*/ 31777 w 54317"/>
                <a:gd name="connsiteY8" fmla="*/ 58861 h 63218"/>
                <a:gd name="connsiteX9" fmla="*/ 51098 w 54317"/>
                <a:gd name="connsiteY9" fmla="*/ 51001 h 63218"/>
                <a:gd name="connsiteX10" fmla="*/ 54318 w 54317"/>
                <a:gd name="connsiteY10" fmla="*/ 53937 h 63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317" h="63218">
                  <a:moveTo>
                    <a:pt x="54318" y="53937"/>
                  </a:moveTo>
                  <a:cubicBezTo>
                    <a:pt x="48114" y="60140"/>
                    <a:pt x="39922" y="63218"/>
                    <a:pt x="31777" y="63218"/>
                  </a:cubicBezTo>
                  <a:cubicBezTo>
                    <a:pt x="10941" y="63218"/>
                    <a:pt x="97" y="48633"/>
                    <a:pt x="2" y="31964"/>
                  </a:cubicBezTo>
                  <a:cubicBezTo>
                    <a:pt x="-187" y="15438"/>
                    <a:pt x="10610" y="0"/>
                    <a:pt x="31777" y="0"/>
                  </a:cubicBezTo>
                  <a:cubicBezTo>
                    <a:pt x="39922" y="0"/>
                    <a:pt x="48114" y="3078"/>
                    <a:pt x="54318" y="9281"/>
                  </a:cubicBezTo>
                  <a:lnTo>
                    <a:pt x="51050" y="12123"/>
                  </a:lnTo>
                  <a:cubicBezTo>
                    <a:pt x="45747" y="6819"/>
                    <a:pt x="38785" y="4262"/>
                    <a:pt x="31777" y="4262"/>
                  </a:cubicBezTo>
                  <a:cubicBezTo>
                    <a:pt x="13782" y="4262"/>
                    <a:pt x="4501" y="17000"/>
                    <a:pt x="4596" y="31822"/>
                  </a:cubicBezTo>
                  <a:cubicBezTo>
                    <a:pt x="4785" y="46313"/>
                    <a:pt x="13972" y="58861"/>
                    <a:pt x="31777" y="58861"/>
                  </a:cubicBezTo>
                  <a:cubicBezTo>
                    <a:pt x="38738" y="58861"/>
                    <a:pt x="45841" y="56210"/>
                    <a:pt x="51098" y="51001"/>
                  </a:cubicBezTo>
                  <a:lnTo>
                    <a:pt x="54318" y="5393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6" name="Freeform 30">
              <a:extLst>
                <a:ext uri="{FF2B5EF4-FFF2-40B4-BE49-F238E27FC236}">
                  <a16:creationId xmlns:a16="http://schemas.microsoft.com/office/drawing/2014/main" id="{CF55B8E7-7B70-F8C2-3320-948D8E5E83F6}"/>
                </a:ext>
              </a:extLst>
            </p:cNvPr>
            <p:cNvSpPr/>
            <p:nvPr/>
          </p:nvSpPr>
          <p:spPr>
            <a:xfrm>
              <a:off x="417443" y="6811526"/>
              <a:ext cx="4688" cy="61797"/>
            </a:xfrm>
            <a:custGeom>
              <a:avLst/>
              <a:gdLst>
                <a:gd name="connsiteX0" fmla="*/ 0 w 4688"/>
                <a:gd name="connsiteY0" fmla="*/ 61797 h 61797"/>
                <a:gd name="connsiteX1" fmla="*/ 0 w 4688"/>
                <a:gd name="connsiteY1" fmla="*/ 0 h 61797"/>
                <a:gd name="connsiteX2" fmla="*/ 4688 w 4688"/>
                <a:gd name="connsiteY2" fmla="*/ 0 h 61797"/>
                <a:gd name="connsiteX3" fmla="*/ 4688 w 4688"/>
                <a:gd name="connsiteY3" fmla="*/ 61797 h 61797"/>
                <a:gd name="connsiteX4" fmla="*/ 0 w 4688"/>
                <a:gd name="connsiteY4" fmla="*/ 61797 h 61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8" h="61797">
                  <a:moveTo>
                    <a:pt x="0" y="61797"/>
                  </a:moveTo>
                  <a:lnTo>
                    <a:pt x="0" y="0"/>
                  </a:lnTo>
                  <a:lnTo>
                    <a:pt x="4688" y="0"/>
                  </a:lnTo>
                  <a:lnTo>
                    <a:pt x="4688" y="61797"/>
                  </a:lnTo>
                  <a:lnTo>
                    <a:pt x="0" y="6179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7" name="Freeform 31">
              <a:extLst>
                <a:ext uri="{FF2B5EF4-FFF2-40B4-BE49-F238E27FC236}">
                  <a16:creationId xmlns:a16="http://schemas.microsoft.com/office/drawing/2014/main" id="{1C4891DE-5655-5CA7-1554-8FC0A7C4FD86}"/>
                </a:ext>
              </a:extLst>
            </p:cNvPr>
            <p:cNvSpPr/>
            <p:nvPr/>
          </p:nvSpPr>
          <p:spPr>
            <a:xfrm>
              <a:off x="435817" y="6811526"/>
              <a:ext cx="48301" cy="61797"/>
            </a:xfrm>
            <a:custGeom>
              <a:avLst/>
              <a:gdLst>
                <a:gd name="connsiteX0" fmla="*/ 2036 w 48301"/>
                <a:gd name="connsiteY0" fmla="*/ 0 h 61797"/>
                <a:gd name="connsiteX1" fmla="*/ 43613 w 48301"/>
                <a:gd name="connsiteY1" fmla="*/ 51143 h 61797"/>
                <a:gd name="connsiteX2" fmla="*/ 43613 w 48301"/>
                <a:gd name="connsiteY2" fmla="*/ 0 h 61797"/>
                <a:gd name="connsiteX3" fmla="*/ 48301 w 48301"/>
                <a:gd name="connsiteY3" fmla="*/ 0 h 61797"/>
                <a:gd name="connsiteX4" fmla="*/ 48301 w 48301"/>
                <a:gd name="connsiteY4" fmla="*/ 61797 h 61797"/>
                <a:gd name="connsiteX5" fmla="*/ 46454 w 48301"/>
                <a:gd name="connsiteY5" fmla="*/ 61797 h 61797"/>
                <a:gd name="connsiteX6" fmla="*/ 4783 w 48301"/>
                <a:gd name="connsiteY6" fmla="*/ 10749 h 61797"/>
                <a:gd name="connsiteX7" fmla="*/ 4783 w 48301"/>
                <a:gd name="connsiteY7" fmla="*/ 61797 h 61797"/>
                <a:gd name="connsiteX8" fmla="*/ 0 w 48301"/>
                <a:gd name="connsiteY8" fmla="*/ 61797 h 61797"/>
                <a:gd name="connsiteX9" fmla="*/ 0 w 48301"/>
                <a:gd name="connsiteY9" fmla="*/ 0 h 61797"/>
                <a:gd name="connsiteX10" fmla="*/ 2036 w 48301"/>
                <a:gd name="connsiteY10" fmla="*/ 0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301" h="61797">
                  <a:moveTo>
                    <a:pt x="2036" y="0"/>
                  </a:moveTo>
                  <a:lnTo>
                    <a:pt x="43613" y="51143"/>
                  </a:lnTo>
                  <a:lnTo>
                    <a:pt x="43613" y="0"/>
                  </a:lnTo>
                  <a:lnTo>
                    <a:pt x="48301" y="0"/>
                  </a:lnTo>
                  <a:lnTo>
                    <a:pt x="48301" y="61797"/>
                  </a:lnTo>
                  <a:lnTo>
                    <a:pt x="46454" y="61797"/>
                  </a:lnTo>
                  <a:lnTo>
                    <a:pt x="4783" y="10749"/>
                  </a:lnTo>
                  <a:lnTo>
                    <a:pt x="4783" y="61797"/>
                  </a:lnTo>
                  <a:lnTo>
                    <a:pt x="0" y="61797"/>
                  </a:lnTo>
                  <a:lnTo>
                    <a:pt x="0" y="0"/>
                  </a:lnTo>
                  <a:lnTo>
                    <a:pt x="2036" y="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8" name="Freeform 32">
              <a:extLst>
                <a:ext uri="{FF2B5EF4-FFF2-40B4-BE49-F238E27FC236}">
                  <a16:creationId xmlns:a16="http://schemas.microsoft.com/office/drawing/2014/main" id="{7C1DB049-F128-BBCE-0CF6-41CEB3A268E8}"/>
                </a:ext>
              </a:extLst>
            </p:cNvPr>
            <p:cNvSpPr/>
            <p:nvPr/>
          </p:nvSpPr>
          <p:spPr>
            <a:xfrm>
              <a:off x="494820" y="6810626"/>
              <a:ext cx="55168" cy="63502"/>
            </a:xfrm>
            <a:custGeom>
              <a:avLst/>
              <a:gdLst>
                <a:gd name="connsiteX0" fmla="*/ 51711 w 55168"/>
                <a:gd name="connsiteY0" fmla="*/ 12265 h 63502"/>
                <a:gd name="connsiteX1" fmla="*/ 31822 w 55168"/>
                <a:gd name="connsiteY1" fmla="*/ 4309 h 63502"/>
                <a:gd name="connsiteX2" fmla="*/ 4546 w 55168"/>
                <a:gd name="connsiteY2" fmla="*/ 31869 h 63502"/>
                <a:gd name="connsiteX3" fmla="*/ 31822 w 55168"/>
                <a:gd name="connsiteY3" fmla="*/ 58956 h 63502"/>
                <a:gd name="connsiteX4" fmla="*/ 50622 w 55168"/>
                <a:gd name="connsiteY4" fmla="*/ 51806 h 63502"/>
                <a:gd name="connsiteX5" fmla="*/ 50622 w 55168"/>
                <a:gd name="connsiteY5" fmla="*/ 34474 h 63502"/>
                <a:gd name="connsiteX6" fmla="*/ 29123 w 55168"/>
                <a:gd name="connsiteY6" fmla="*/ 34474 h 63502"/>
                <a:gd name="connsiteX7" fmla="*/ 29123 w 55168"/>
                <a:gd name="connsiteY7" fmla="*/ 30307 h 63502"/>
                <a:gd name="connsiteX8" fmla="*/ 55168 w 55168"/>
                <a:gd name="connsiteY8" fmla="*/ 30307 h 63502"/>
                <a:gd name="connsiteX9" fmla="*/ 55168 w 55168"/>
                <a:gd name="connsiteY9" fmla="*/ 53510 h 63502"/>
                <a:gd name="connsiteX10" fmla="*/ 31870 w 55168"/>
                <a:gd name="connsiteY10" fmla="*/ 63502 h 63502"/>
                <a:gd name="connsiteX11" fmla="*/ 1 w 55168"/>
                <a:gd name="connsiteY11" fmla="*/ 31964 h 63502"/>
                <a:gd name="connsiteX12" fmla="*/ 31870 w 55168"/>
                <a:gd name="connsiteY12" fmla="*/ 0 h 63502"/>
                <a:gd name="connsiteX13" fmla="*/ 54458 w 55168"/>
                <a:gd name="connsiteY13" fmla="*/ 9281 h 63502"/>
                <a:gd name="connsiteX14" fmla="*/ 51711 w 55168"/>
                <a:gd name="connsiteY14" fmla="*/ 12265 h 63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5168" h="63502">
                  <a:moveTo>
                    <a:pt x="51711" y="12265"/>
                  </a:moveTo>
                  <a:cubicBezTo>
                    <a:pt x="46313" y="6961"/>
                    <a:pt x="38831" y="4309"/>
                    <a:pt x="31822" y="4309"/>
                  </a:cubicBezTo>
                  <a:cubicBezTo>
                    <a:pt x="13733" y="4309"/>
                    <a:pt x="4452" y="17568"/>
                    <a:pt x="4546" y="31869"/>
                  </a:cubicBezTo>
                  <a:cubicBezTo>
                    <a:pt x="4546" y="46455"/>
                    <a:pt x="13828" y="58956"/>
                    <a:pt x="31822" y="58956"/>
                  </a:cubicBezTo>
                  <a:cubicBezTo>
                    <a:pt x="38452" y="58956"/>
                    <a:pt x="45318" y="56683"/>
                    <a:pt x="50622" y="51806"/>
                  </a:cubicBezTo>
                  <a:lnTo>
                    <a:pt x="50622" y="34474"/>
                  </a:lnTo>
                  <a:lnTo>
                    <a:pt x="29123" y="34474"/>
                  </a:lnTo>
                  <a:lnTo>
                    <a:pt x="29123" y="30307"/>
                  </a:lnTo>
                  <a:lnTo>
                    <a:pt x="55168" y="30307"/>
                  </a:lnTo>
                  <a:lnTo>
                    <a:pt x="55168" y="53510"/>
                  </a:lnTo>
                  <a:cubicBezTo>
                    <a:pt x="48728" y="59951"/>
                    <a:pt x="41056" y="63502"/>
                    <a:pt x="31870" y="63502"/>
                  </a:cubicBezTo>
                  <a:cubicBezTo>
                    <a:pt x="10845" y="63502"/>
                    <a:pt x="1" y="48822"/>
                    <a:pt x="1" y="31964"/>
                  </a:cubicBezTo>
                  <a:cubicBezTo>
                    <a:pt x="-94" y="12644"/>
                    <a:pt x="13070" y="0"/>
                    <a:pt x="31870" y="0"/>
                  </a:cubicBezTo>
                  <a:cubicBezTo>
                    <a:pt x="40015" y="0"/>
                    <a:pt x="48207" y="3078"/>
                    <a:pt x="54458" y="9281"/>
                  </a:cubicBezTo>
                  <a:lnTo>
                    <a:pt x="51711" y="12265"/>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9" name="Freeform 33">
              <a:extLst>
                <a:ext uri="{FF2B5EF4-FFF2-40B4-BE49-F238E27FC236}">
                  <a16:creationId xmlns:a16="http://schemas.microsoft.com/office/drawing/2014/main" id="{9A31B0D9-8B01-CAAF-C1CF-8962B2AF727A}"/>
                </a:ext>
              </a:extLst>
            </p:cNvPr>
            <p:cNvSpPr/>
            <p:nvPr/>
          </p:nvSpPr>
          <p:spPr>
            <a:xfrm>
              <a:off x="565094" y="6809348"/>
              <a:ext cx="63504" cy="64449"/>
            </a:xfrm>
            <a:custGeom>
              <a:avLst/>
              <a:gdLst>
                <a:gd name="connsiteX0" fmla="*/ 63502 w 63504"/>
                <a:gd name="connsiteY0" fmla="*/ 32485 h 64449"/>
                <a:gd name="connsiteX1" fmla="*/ 31775 w 63504"/>
                <a:gd name="connsiteY1" fmla="*/ 64449 h 64449"/>
                <a:gd name="connsiteX2" fmla="*/ 0 w 63504"/>
                <a:gd name="connsiteY2" fmla="*/ 32580 h 64449"/>
                <a:gd name="connsiteX3" fmla="*/ 31775 w 63504"/>
                <a:gd name="connsiteY3" fmla="*/ 0 h 64449"/>
                <a:gd name="connsiteX4" fmla="*/ 63502 w 63504"/>
                <a:gd name="connsiteY4" fmla="*/ 32485 h 64449"/>
                <a:gd name="connsiteX5" fmla="*/ 11460 w 63504"/>
                <a:gd name="connsiteY5" fmla="*/ 32769 h 64449"/>
                <a:gd name="connsiteX6" fmla="*/ 31775 w 63504"/>
                <a:gd name="connsiteY6" fmla="*/ 53795 h 64449"/>
                <a:gd name="connsiteX7" fmla="*/ 51995 w 63504"/>
                <a:gd name="connsiteY7" fmla="*/ 32675 h 64449"/>
                <a:gd name="connsiteX8" fmla="*/ 31775 w 63504"/>
                <a:gd name="connsiteY8" fmla="*/ 10607 h 64449"/>
                <a:gd name="connsiteX9" fmla="*/ 11460 w 63504"/>
                <a:gd name="connsiteY9" fmla="*/ 32769 h 64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504" h="64449">
                  <a:moveTo>
                    <a:pt x="63502" y="32485"/>
                  </a:moveTo>
                  <a:cubicBezTo>
                    <a:pt x="63312" y="48491"/>
                    <a:pt x="53510" y="64449"/>
                    <a:pt x="31775" y="64449"/>
                  </a:cubicBezTo>
                  <a:cubicBezTo>
                    <a:pt x="10039" y="64449"/>
                    <a:pt x="0" y="48822"/>
                    <a:pt x="0" y="32580"/>
                  </a:cubicBezTo>
                  <a:cubicBezTo>
                    <a:pt x="0" y="16337"/>
                    <a:pt x="10418" y="0"/>
                    <a:pt x="31775" y="0"/>
                  </a:cubicBezTo>
                  <a:cubicBezTo>
                    <a:pt x="53084" y="0"/>
                    <a:pt x="63691" y="16337"/>
                    <a:pt x="63502" y="32485"/>
                  </a:cubicBezTo>
                  <a:close/>
                  <a:moveTo>
                    <a:pt x="11460" y="32769"/>
                  </a:moveTo>
                  <a:cubicBezTo>
                    <a:pt x="11744" y="42903"/>
                    <a:pt x="17190" y="53795"/>
                    <a:pt x="31775" y="53795"/>
                  </a:cubicBezTo>
                  <a:cubicBezTo>
                    <a:pt x="46360" y="53795"/>
                    <a:pt x="51805" y="42856"/>
                    <a:pt x="51995" y="32675"/>
                  </a:cubicBezTo>
                  <a:cubicBezTo>
                    <a:pt x="52184" y="22257"/>
                    <a:pt x="46360" y="10607"/>
                    <a:pt x="31775" y="10607"/>
                  </a:cubicBezTo>
                  <a:cubicBezTo>
                    <a:pt x="17190" y="10607"/>
                    <a:pt x="11223" y="22351"/>
                    <a:pt x="11460" y="32769"/>
                  </a:cubicBez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70" name="Freeform 34">
              <a:extLst>
                <a:ext uri="{FF2B5EF4-FFF2-40B4-BE49-F238E27FC236}">
                  <a16:creationId xmlns:a16="http://schemas.microsoft.com/office/drawing/2014/main" id="{A81573D7-F452-F5FA-A9F1-7819B34B3B35}"/>
                </a:ext>
              </a:extLst>
            </p:cNvPr>
            <p:cNvSpPr/>
            <p:nvPr/>
          </p:nvSpPr>
          <p:spPr>
            <a:xfrm>
              <a:off x="638019" y="6810484"/>
              <a:ext cx="51379" cy="61986"/>
            </a:xfrm>
            <a:custGeom>
              <a:avLst/>
              <a:gdLst>
                <a:gd name="connsiteX0" fmla="*/ 39730 w 51379"/>
                <a:gd name="connsiteY0" fmla="*/ 0 h 61986"/>
                <a:gd name="connsiteX1" fmla="*/ 51379 w 51379"/>
                <a:gd name="connsiteY1" fmla="*/ 0 h 61986"/>
                <a:gd name="connsiteX2" fmla="*/ 51379 w 51379"/>
                <a:gd name="connsiteY2" fmla="*/ 61892 h 61986"/>
                <a:gd name="connsiteX3" fmla="*/ 44134 w 51379"/>
                <a:gd name="connsiteY3" fmla="*/ 61892 h 61986"/>
                <a:gd name="connsiteX4" fmla="*/ 44134 w 51379"/>
                <a:gd name="connsiteY4" fmla="*/ 61987 h 61986"/>
                <a:gd name="connsiteX5" fmla="*/ 11649 w 51379"/>
                <a:gd name="connsiteY5" fmla="*/ 20220 h 61986"/>
                <a:gd name="connsiteX6" fmla="*/ 11649 w 51379"/>
                <a:gd name="connsiteY6" fmla="*/ 61892 h 61986"/>
                <a:gd name="connsiteX7" fmla="*/ 0 w 51379"/>
                <a:gd name="connsiteY7" fmla="*/ 61892 h 61986"/>
                <a:gd name="connsiteX8" fmla="*/ 0 w 51379"/>
                <a:gd name="connsiteY8" fmla="*/ 95 h 61986"/>
                <a:gd name="connsiteX9" fmla="*/ 9471 w 51379"/>
                <a:gd name="connsiteY9" fmla="*/ 95 h 61986"/>
                <a:gd name="connsiteX10" fmla="*/ 39777 w 51379"/>
                <a:gd name="connsiteY10" fmla="*/ 38404 h 61986"/>
                <a:gd name="connsiteX11" fmla="*/ 39777 w 51379"/>
                <a:gd name="connsiteY11" fmla="*/ 0 h 61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379" h="61986">
                  <a:moveTo>
                    <a:pt x="39730" y="0"/>
                  </a:moveTo>
                  <a:lnTo>
                    <a:pt x="51379" y="0"/>
                  </a:lnTo>
                  <a:lnTo>
                    <a:pt x="51379" y="61892"/>
                  </a:lnTo>
                  <a:lnTo>
                    <a:pt x="44134" y="61892"/>
                  </a:lnTo>
                  <a:lnTo>
                    <a:pt x="44134" y="61987"/>
                  </a:lnTo>
                  <a:lnTo>
                    <a:pt x="11649" y="20220"/>
                  </a:lnTo>
                  <a:lnTo>
                    <a:pt x="11649" y="61892"/>
                  </a:lnTo>
                  <a:lnTo>
                    <a:pt x="0" y="61892"/>
                  </a:lnTo>
                  <a:lnTo>
                    <a:pt x="0" y="95"/>
                  </a:lnTo>
                  <a:lnTo>
                    <a:pt x="9471" y="95"/>
                  </a:lnTo>
                  <a:lnTo>
                    <a:pt x="39777" y="38404"/>
                  </a:lnTo>
                  <a:lnTo>
                    <a:pt x="39777" y="0"/>
                  </a:ln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71" name="Freeform 35">
              <a:extLst>
                <a:ext uri="{FF2B5EF4-FFF2-40B4-BE49-F238E27FC236}">
                  <a16:creationId xmlns:a16="http://schemas.microsoft.com/office/drawing/2014/main" id="{77BE60BE-8617-7EF4-BC7D-EFC62206C1FD}"/>
                </a:ext>
              </a:extLst>
            </p:cNvPr>
            <p:cNvSpPr/>
            <p:nvPr/>
          </p:nvSpPr>
          <p:spPr>
            <a:xfrm>
              <a:off x="699958" y="6810579"/>
              <a:ext cx="46264" cy="61844"/>
            </a:xfrm>
            <a:custGeom>
              <a:avLst/>
              <a:gdLst>
                <a:gd name="connsiteX0" fmla="*/ 46265 w 46264"/>
                <a:gd name="connsiteY0" fmla="*/ 61845 h 61844"/>
                <a:gd name="connsiteX1" fmla="*/ 0 w 46264"/>
                <a:gd name="connsiteY1" fmla="*/ 61845 h 61844"/>
                <a:gd name="connsiteX2" fmla="*/ 0 w 46264"/>
                <a:gd name="connsiteY2" fmla="*/ 0 h 61844"/>
                <a:gd name="connsiteX3" fmla="*/ 46265 w 46264"/>
                <a:gd name="connsiteY3" fmla="*/ 0 h 61844"/>
                <a:gd name="connsiteX4" fmla="*/ 46265 w 46264"/>
                <a:gd name="connsiteY4" fmla="*/ 11318 h 61844"/>
                <a:gd name="connsiteX5" fmla="*/ 11554 w 46264"/>
                <a:gd name="connsiteY5" fmla="*/ 11318 h 61844"/>
                <a:gd name="connsiteX6" fmla="*/ 11554 w 46264"/>
                <a:gd name="connsiteY6" fmla="*/ 25524 h 61844"/>
                <a:gd name="connsiteX7" fmla="*/ 45034 w 46264"/>
                <a:gd name="connsiteY7" fmla="*/ 25524 h 61844"/>
                <a:gd name="connsiteX8" fmla="*/ 45034 w 46264"/>
                <a:gd name="connsiteY8" fmla="*/ 36368 h 61844"/>
                <a:gd name="connsiteX9" fmla="*/ 11554 w 46264"/>
                <a:gd name="connsiteY9" fmla="*/ 36368 h 61844"/>
                <a:gd name="connsiteX10" fmla="*/ 11554 w 46264"/>
                <a:gd name="connsiteY10" fmla="*/ 50338 h 61844"/>
                <a:gd name="connsiteX11" fmla="*/ 46265 w 46264"/>
                <a:gd name="connsiteY11" fmla="*/ 50338 h 61844"/>
                <a:gd name="connsiteX12" fmla="*/ 46265 w 46264"/>
                <a:gd name="connsiteY12" fmla="*/ 61845 h 61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264" h="61844">
                  <a:moveTo>
                    <a:pt x="46265" y="61845"/>
                  </a:moveTo>
                  <a:lnTo>
                    <a:pt x="0" y="61845"/>
                  </a:lnTo>
                  <a:cubicBezTo>
                    <a:pt x="0" y="41246"/>
                    <a:pt x="0" y="20599"/>
                    <a:pt x="0" y="0"/>
                  </a:cubicBezTo>
                  <a:lnTo>
                    <a:pt x="46265" y="0"/>
                  </a:lnTo>
                  <a:lnTo>
                    <a:pt x="46265" y="11318"/>
                  </a:lnTo>
                  <a:lnTo>
                    <a:pt x="11554" y="11318"/>
                  </a:lnTo>
                  <a:lnTo>
                    <a:pt x="11554" y="25524"/>
                  </a:lnTo>
                  <a:lnTo>
                    <a:pt x="45034" y="25524"/>
                  </a:lnTo>
                  <a:lnTo>
                    <a:pt x="45034" y="36368"/>
                  </a:lnTo>
                  <a:lnTo>
                    <a:pt x="11554" y="36368"/>
                  </a:lnTo>
                  <a:lnTo>
                    <a:pt x="11554" y="50338"/>
                  </a:lnTo>
                  <a:lnTo>
                    <a:pt x="46265" y="50338"/>
                  </a:lnTo>
                  <a:lnTo>
                    <a:pt x="46265" y="61845"/>
                  </a:ln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72" name="Freeform 36">
              <a:extLst>
                <a:ext uri="{FF2B5EF4-FFF2-40B4-BE49-F238E27FC236}">
                  <a16:creationId xmlns:a16="http://schemas.microsoft.com/office/drawing/2014/main" id="{381B08B4-93D7-EFF3-6A84-2768D9F23E4F}"/>
                </a:ext>
              </a:extLst>
            </p:cNvPr>
            <p:cNvSpPr/>
            <p:nvPr/>
          </p:nvSpPr>
          <p:spPr>
            <a:xfrm>
              <a:off x="747644" y="6800634"/>
              <a:ext cx="15390" cy="20457"/>
            </a:xfrm>
            <a:custGeom>
              <a:avLst/>
              <a:gdLst>
                <a:gd name="connsiteX0" fmla="*/ 9376 w 15390"/>
                <a:gd name="connsiteY0" fmla="*/ 20457 h 20457"/>
                <a:gd name="connsiteX1" fmla="*/ 6014 w 15390"/>
                <a:gd name="connsiteY1" fmla="*/ 20457 h 20457"/>
                <a:gd name="connsiteX2" fmla="*/ 6014 w 15390"/>
                <a:gd name="connsiteY2" fmla="*/ 2889 h 20457"/>
                <a:gd name="connsiteX3" fmla="*/ 0 w 15390"/>
                <a:gd name="connsiteY3" fmla="*/ 2889 h 20457"/>
                <a:gd name="connsiteX4" fmla="*/ 0 w 15390"/>
                <a:gd name="connsiteY4" fmla="*/ 0 h 20457"/>
                <a:gd name="connsiteX5" fmla="*/ 15390 w 15390"/>
                <a:gd name="connsiteY5" fmla="*/ 0 h 20457"/>
                <a:gd name="connsiteX6" fmla="*/ 15390 w 15390"/>
                <a:gd name="connsiteY6" fmla="*/ 2889 h 20457"/>
                <a:gd name="connsiteX7" fmla="*/ 9376 w 15390"/>
                <a:gd name="connsiteY7" fmla="*/ 2889 h 20457"/>
                <a:gd name="connsiteX8" fmla="*/ 9376 w 15390"/>
                <a:gd name="connsiteY8" fmla="*/ 20457 h 2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390" h="20457">
                  <a:moveTo>
                    <a:pt x="9376" y="20457"/>
                  </a:moveTo>
                  <a:lnTo>
                    <a:pt x="6014" y="20457"/>
                  </a:lnTo>
                  <a:lnTo>
                    <a:pt x="6014" y="2889"/>
                  </a:lnTo>
                  <a:lnTo>
                    <a:pt x="0" y="2889"/>
                  </a:lnTo>
                  <a:lnTo>
                    <a:pt x="0" y="0"/>
                  </a:lnTo>
                  <a:lnTo>
                    <a:pt x="15390" y="0"/>
                  </a:lnTo>
                  <a:lnTo>
                    <a:pt x="15390" y="2889"/>
                  </a:lnTo>
                  <a:lnTo>
                    <a:pt x="9376" y="2889"/>
                  </a:lnTo>
                  <a:lnTo>
                    <a:pt x="9376" y="2045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73" name="Freeform 37">
              <a:extLst>
                <a:ext uri="{FF2B5EF4-FFF2-40B4-BE49-F238E27FC236}">
                  <a16:creationId xmlns:a16="http://schemas.microsoft.com/office/drawing/2014/main" id="{D50C7E1B-C005-6A90-007B-340451B1E026}"/>
                </a:ext>
              </a:extLst>
            </p:cNvPr>
            <p:cNvSpPr/>
            <p:nvPr/>
          </p:nvSpPr>
          <p:spPr>
            <a:xfrm>
              <a:off x="766206" y="6800634"/>
              <a:ext cx="21119" cy="20457"/>
            </a:xfrm>
            <a:custGeom>
              <a:avLst/>
              <a:gdLst>
                <a:gd name="connsiteX0" fmla="*/ 8808 w 21119"/>
                <a:gd name="connsiteY0" fmla="*/ 20457 h 20457"/>
                <a:gd name="connsiteX1" fmla="*/ 2889 w 21119"/>
                <a:gd name="connsiteY1" fmla="*/ 3362 h 20457"/>
                <a:gd name="connsiteX2" fmla="*/ 2794 w 21119"/>
                <a:gd name="connsiteY2" fmla="*/ 3362 h 20457"/>
                <a:gd name="connsiteX3" fmla="*/ 3031 w 21119"/>
                <a:gd name="connsiteY3" fmla="*/ 10513 h 20457"/>
                <a:gd name="connsiteX4" fmla="*/ 3031 w 21119"/>
                <a:gd name="connsiteY4" fmla="*/ 20457 h 20457"/>
                <a:gd name="connsiteX5" fmla="*/ 0 w 21119"/>
                <a:gd name="connsiteY5" fmla="*/ 20457 h 20457"/>
                <a:gd name="connsiteX6" fmla="*/ 0 w 21119"/>
                <a:gd name="connsiteY6" fmla="*/ 0 h 20457"/>
                <a:gd name="connsiteX7" fmla="*/ 4735 w 21119"/>
                <a:gd name="connsiteY7" fmla="*/ 0 h 20457"/>
                <a:gd name="connsiteX8" fmla="*/ 10418 w 21119"/>
                <a:gd name="connsiteY8" fmla="*/ 16290 h 20457"/>
                <a:gd name="connsiteX9" fmla="*/ 10513 w 21119"/>
                <a:gd name="connsiteY9" fmla="*/ 16290 h 20457"/>
                <a:gd name="connsiteX10" fmla="*/ 16385 w 21119"/>
                <a:gd name="connsiteY10" fmla="*/ 0 h 20457"/>
                <a:gd name="connsiteX11" fmla="*/ 21120 w 21119"/>
                <a:gd name="connsiteY11" fmla="*/ 0 h 20457"/>
                <a:gd name="connsiteX12" fmla="*/ 21120 w 21119"/>
                <a:gd name="connsiteY12" fmla="*/ 20457 h 20457"/>
                <a:gd name="connsiteX13" fmla="*/ 17900 w 21119"/>
                <a:gd name="connsiteY13" fmla="*/ 20457 h 20457"/>
                <a:gd name="connsiteX14" fmla="*/ 17900 w 21119"/>
                <a:gd name="connsiteY14" fmla="*/ 10323 h 20457"/>
                <a:gd name="connsiteX15" fmla="*/ 17995 w 21119"/>
                <a:gd name="connsiteY15" fmla="*/ 6345 h 20457"/>
                <a:gd name="connsiteX16" fmla="*/ 18137 w 21119"/>
                <a:gd name="connsiteY16" fmla="*/ 3362 h 20457"/>
                <a:gd name="connsiteX17" fmla="*/ 18042 w 21119"/>
                <a:gd name="connsiteY17" fmla="*/ 3362 h 20457"/>
                <a:gd name="connsiteX18" fmla="*/ 11886 w 21119"/>
                <a:gd name="connsiteY18" fmla="*/ 20410 h 20457"/>
                <a:gd name="connsiteX19" fmla="*/ 8808 w 21119"/>
                <a:gd name="connsiteY19" fmla="*/ 20410 h 2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1119" h="20457">
                  <a:moveTo>
                    <a:pt x="8808" y="20457"/>
                  </a:moveTo>
                  <a:lnTo>
                    <a:pt x="2889" y="3362"/>
                  </a:lnTo>
                  <a:lnTo>
                    <a:pt x="2794" y="3362"/>
                  </a:lnTo>
                  <a:cubicBezTo>
                    <a:pt x="2936" y="5919"/>
                    <a:pt x="3031" y="8287"/>
                    <a:pt x="3031" y="10513"/>
                  </a:cubicBezTo>
                  <a:lnTo>
                    <a:pt x="3031" y="20457"/>
                  </a:lnTo>
                  <a:lnTo>
                    <a:pt x="0" y="20457"/>
                  </a:lnTo>
                  <a:lnTo>
                    <a:pt x="0" y="0"/>
                  </a:lnTo>
                  <a:lnTo>
                    <a:pt x="4735" y="0"/>
                  </a:lnTo>
                  <a:lnTo>
                    <a:pt x="10418" y="16290"/>
                  </a:lnTo>
                  <a:lnTo>
                    <a:pt x="10513" y="16290"/>
                  </a:lnTo>
                  <a:lnTo>
                    <a:pt x="16385" y="0"/>
                  </a:lnTo>
                  <a:lnTo>
                    <a:pt x="21120" y="0"/>
                  </a:lnTo>
                  <a:lnTo>
                    <a:pt x="21120" y="20457"/>
                  </a:lnTo>
                  <a:lnTo>
                    <a:pt x="17900" y="20457"/>
                  </a:lnTo>
                  <a:lnTo>
                    <a:pt x="17900" y="10323"/>
                  </a:lnTo>
                  <a:cubicBezTo>
                    <a:pt x="17900" y="9329"/>
                    <a:pt x="17947" y="8003"/>
                    <a:pt x="17995" y="6345"/>
                  </a:cubicBezTo>
                  <a:cubicBezTo>
                    <a:pt x="18042" y="4735"/>
                    <a:pt x="18089" y="3741"/>
                    <a:pt x="18137" y="3362"/>
                  </a:cubicBezTo>
                  <a:lnTo>
                    <a:pt x="18042" y="3362"/>
                  </a:lnTo>
                  <a:lnTo>
                    <a:pt x="11886" y="20410"/>
                  </a:lnTo>
                  <a:lnTo>
                    <a:pt x="8808" y="2041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grpSp>
      <p:cxnSp>
        <p:nvCxnSpPr>
          <p:cNvPr id="76" name="Straight Connector 75">
            <a:extLst>
              <a:ext uri="{FF2B5EF4-FFF2-40B4-BE49-F238E27FC236}">
                <a16:creationId xmlns:a16="http://schemas.microsoft.com/office/drawing/2014/main" id="{92966CB5-93DA-8946-DEAE-EB274F6849FB}"/>
              </a:ext>
            </a:extLst>
          </p:cNvPr>
          <p:cNvCxnSpPr>
            <a:cxnSpLocks/>
          </p:cNvCxnSpPr>
          <p:nvPr/>
        </p:nvCxnSpPr>
        <p:spPr>
          <a:xfrm flipV="1">
            <a:off x="540000" y="771580"/>
            <a:ext cx="8100000" cy="366"/>
          </a:xfrm>
          <a:prstGeom prst="line">
            <a:avLst/>
          </a:prstGeom>
          <a:noFill/>
          <a:ln w="15875" cap="rnd" cmpd="sng" algn="ctr">
            <a:gradFill flip="none" rotWithShape="1">
              <a:gsLst>
                <a:gs pos="0">
                  <a:srgbClr val="006C6D"/>
                </a:gs>
                <a:gs pos="51007">
                  <a:srgbClr val="7ECAC4">
                    <a:lumMod val="20000"/>
                    <a:lumOff val="80000"/>
                  </a:srgbClr>
                </a:gs>
                <a:gs pos="37000">
                  <a:srgbClr val="00A097"/>
                </a:gs>
                <a:gs pos="66000">
                  <a:srgbClr val="00A097"/>
                </a:gs>
                <a:gs pos="100000">
                  <a:srgbClr val="006C6D"/>
                </a:gs>
              </a:gsLst>
              <a:path path="circle">
                <a:fillToRect l="100000" t="100000"/>
              </a:path>
              <a:tileRect r="-100000" b="-100000"/>
            </a:gradFill>
            <a:prstDash val="solid"/>
            <a:miter lim="800000"/>
          </a:ln>
          <a:effectLst/>
        </p:spPr>
      </p:cxn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40000" y="0"/>
            <a:ext cx="8118000" cy="770400"/>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40000" y="1131888"/>
            <a:ext cx="8118000"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Tree>
    <p:extLst>
      <p:ext uri="{BB962C8B-B14F-4D97-AF65-F5344CB8AC3E}">
        <p14:creationId xmlns:p14="http://schemas.microsoft.com/office/powerpoint/2010/main" val="3047408094"/>
      </p:ext>
    </p:extLst>
  </p:cSld>
  <p:clrMap bg1="lt1" tx1="dk1" bg2="lt2" tx2="dk2" accent1="accent1" accent2="accent2" accent3="accent3" accent4="accent4" accent5="accent5" accent6="accent6" hlink="hlink" folHlink="folHlink"/>
  <p:sldLayoutIdLst>
    <p:sldLayoutId id="2147483957" r:id="rId1"/>
    <p:sldLayoutId id="2147483958" r:id="rId2"/>
    <p:sldLayoutId id="2147483959" r:id="rId3"/>
    <p:sldLayoutId id="2147483960" r:id="rId4"/>
    <p:sldLayoutId id="2147483961" r:id="rId5"/>
    <p:sldLayoutId id="2147483962" r:id="rId6"/>
    <p:sldLayoutId id="2147483963" r:id="rId7"/>
    <p:sldLayoutId id="2147483964" r:id="rId8"/>
    <p:sldLayoutId id="2147483965" r:id="rId9"/>
    <p:sldLayoutId id="2147483966" r:id="rId10"/>
    <p:sldLayoutId id="2147483967" r:id="rId11"/>
    <p:sldLayoutId id="2147483968" r:id="rId12"/>
    <p:sldLayoutId id="2147483969" r:id="rId13"/>
    <p:sldLayoutId id="2147483970" r:id="rId14"/>
    <p:sldLayoutId id="2147483971" r:id="rId15"/>
    <p:sldLayoutId id="2147483972" r:id="rId16"/>
    <p:sldLayoutId id="2147483973" r:id="rId17"/>
    <p:sldLayoutId id="2147483974" r:id="rId18"/>
    <p:sldLayoutId id="2147483975" r:id="rId19"/>
    <p:sldLayoutId id="2147483976" r:id="rId20"/>
    <p:sldLayoutId id="2147483977" r:id="rId21"/>
    <p:sldLayoutId id="2147483978" r:id="rId22"/>
    <p:sldLayoutId id="2147483979" r:id="rId23"/>
    <p:sldLayoutId id="2147483980" r:id="rId24"/>
    <p:sldLayoutId id="2147483981" r:id="rId25"/>
    <p:sldLayoutId id="2147483982" r:id="rId26"/>
    <p:sldLayoutId id="2147483983" r:id="rId27"/>
    <p:sldLayoutId id="2147483984" r:id="rId28"/>
    <p:sldLayoutId id="2147483985" r:id="rId29"/>
    <p:sldLayoutId id="2147483986" r:id="rId30"/>
    <p:sldLayoutId id="2147483987" r:id="rId31"/>
    <p:sldLayoutId id="2147483988" r:id="rId32"/>
    <p:sldLayoutId id="2147483989" r:id="rId33"/>
    <p:sldLayoutId id="2147483990" r:id="rId34"/>
    <p:sldLayoutId id="2147483991" r:id="rId35"/>
    <p:sldLayoutId id="2147483992" r:id="rId36"/>
    <p:sldLayoutId id="2147483993" r:id="rId37"/>
    <p:sldLayoutId id="2147483994" r:id="rId38"/>
    <p:sldLayoutId id="2147483995" r:id="rId39"/>
    <p:sldLayoutId id="2147483996" r:id="rId40"/>
    <p:sldLayoutId id="2147483997" r:id="rId41"/>
    <p:sldLayoutId id="2147483998" r:id="rId42"/>
    <p:sldLayoutId id="2147483999" r:id="rId43"/>
    <p:sldLayoutId id="2147484000" r:id="rId44"/>
    <p:sldLayoutId id="2147484001" r:id="rId45"/>
    <p:sldLayoutId id="2147484002" r:id="rId46"/>
    <p:sldLayoutId id="2147484003" r:id="rId47"/>
    <p:sldLayoutId id="2147484004" r:id="rId48"/>
    <p:sldLayoutId id="2147484005" r:id="rId49"/>
    <p:sldLayoutId id="2147484006" r:id="rId50"/>
  </p:sldLayoutIdLst>
  <p:hf hdr="0" ftr="0"/>
  <p:txStyles>
    <p:titleStyle>
      <a:lvl1pPr algn="l" defTabSz="685783" rtl="0" eaLnBrk="1" latinLnBrk="0" hangingPunct="1">
        <a:lnSpc>
          <a:spcPct val="90000"/>
        </a:lnSpc>
        <a:spcBef>
          <a:spcPct val="0"/>
        </a:spcBef>
        <a:buNone/>
        <a:defRPr lang="en-AE" sz="1600" b="1"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40">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5.xml"/><Relationship Id="rId3" Type="http://schemas.openxmlformats.org/officeDocument/2006/relationships/chart" Target="../charts/chart16.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64.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65.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66.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67.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68.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69.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70.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71.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72.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7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7.xml"/><Relationship Id="rId3" Type="http://schemas.openxmlformats.org/officeDocument/2006/relationships/chart" Target="../charts/chart18.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74.xml"/></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75.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76.xm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77.xml"/></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78.xml"/></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79.xml"/></Relationships>
</file>

<file path=ppt/slides/_rels/slide11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80.xml"/></Relationships>
</file>

<file path=ppt/slides/_rels/slide11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81.xml"/></Relationships>
</file>

<file path=ppt/slides/_rels/slide11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82.xml"/></Relationships>
</file>

<file path=ppt/slides/_rels/slide11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8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9.xml"/><Relationship Id="rId3" Type="http://schemas.openxmlformats.org/officeDocument/2006/relationships/chart" Target="../charts/chart20.xml"/></Relationships>
</file>

<file path=ppt/slides/_rels/slide12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84.xml"/></Relationships>
</file>

<file path=ppt/slides/_rels/slide12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85.xml"/></Relationships>
</file>

<file path=ppt/slides/_rels/slide12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86.xml"/></Relationships>
</file>

<file path=ppt/slides/_rels/slide12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87.xml"/></Relationships>
</file>

<file path=ppt/slides/_rels/slide12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88.xml"/></Relationships>
</file>

<file path=ppt/slides/_rels/slide12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89.xml"/></Relationships>
</file>

<file path=ppt/slides/_rels/slide12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90.xml"/></Relationships>
</file>

<file path=ppt/slides/_rels/slide12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91.xml"/></Relationships>
</file>

<file path=ppt/slides/_rels/slide12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92.xml"/></Relationships>
</file>

<file path=ppt/slides/_rels/slide12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9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1.xml"/><Relationship Id="rId3" Type="http://schemas.openxmlformats.org/officeDocument/2006/relationships/chart" Target="../charts/chart22.xml"/></Relationships>
</file>

<file path=ppt/slides/_rels/slide13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94.xml"/></Relationships>
</file>

<file path=ppt/slides/_rels/slide13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95.xml"/></Relationships>
</file>

<file path=ppt/slides/_rels/slide13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96.xml"/></Relationships>
</file>

<file path=ppt/slides/_rels/slide13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97.xml"/></Relationships>
</file>

<file path=ppt/slides/_rels/slide134.xml.rels><?xml version='1.0' encoding='UTF-8' standalone='yes'?>
<Relationships xmlns="http://schemas.openxmlformats.org/package/2006/relationships"><Relationship Id="rId1" Type="http://schemas.openxmlformats.org/officeDocument/2006/relationships/tags" Target="../tags/tag71.xml"/><Relationship Id="rId2" Type="http://schemas.openxmlformats.org/officeDocument/2006/relationships/slideLayout" Target="../slideLayouts/slideLayout7.xml"/><Relationship Id="rId3" Type="http://schemas.openxmlformats.org/officeDocument/2006/relationships/oleObject" Target="../embeddings/oleObject30.bin"/><Relationship Id="rId4" Type="http://schemas.openxmlformats.org/officeDocument/2006/relationships/image" Target="../media/image87.emf"/><Relationship Id="rId5" Type="http://schemas.openxmlformats.org/officeDocument/2006/relationships/image" Target="../media/image93.png"/><Relationship Id="rId6" Type="http://schemas.openxmlformats.org/officeDocument/2006/relationships/image" Target="../media/image94.png"/></Relationships>
</file>

<file path=ppt/slides/_rels/slide135.xml.rels><?xml version='1.0' encoding='UTF-8' standalone='yes'?>
<Relationships xmlns="http://schemas.openxmlformats.org/package/2006/relationships"><Relationship Id="rId1" Type="http://schemas.openxmlformats.org/officeDocument/2006/relationships/tags" Target="../tags/tag72.xml"/><Relationship Id="rId2" Type="http://schemas.openxmlformats.org/officeDocument/2006/relationships/slideLayout" Target="../slideLayouts/slideLayout7.xml"/><Relationship Id="rId3" Type="http://schemas.openxmlformats.org/officeDocument/2006/relationships/oleObject" Target="../embeddings/oleObject30.bin"/><Relationship Id="rId4" Type="http://schemas.openxmlformats.org/officeDocument/2006/relationships/image" Target="../media/image87.emf"/><Relationship Id="rId5" Type="http://schemas.openxmlformats.org/officeDocument/2006/relationships/image" Target="../media/image93.png"/><Relationship Id="rId6" Type="http://schemas.openxmlformats.org/officeDocument/2006/relationships/image" Target="../media/image94.png"/></Relationships>
</file>

<file path=ppt/slides/_rels/slide136.xml.rels><?xml version='1.0' encoding='UTF-8' standalone='yes'?>
<Relationships xmlns="http://schemas.openxmlformats.org/package/2006/relationships"><Relationship Id="rId1" Type="http://schemas.openxmlformats.org/officeDocument/2006/relationships/tags" Target="../tags/tag73.xml"/><Relationship Id="rId2" Type="http://schemas.openxmlformats.org/officeDocument/2006/relationships/slideLayout" Target="../slideLayouts/slideLayout7.xml"/><Relationship Id="rId3" Type="http://schemas.openxmlformats.org/officeDocument/2006/relationships/oleObject" Target="../embeddings/oleObject30.bin"/><Relationship Id="rId4" Type="http://schemas.openxmlformats.org/officeDocument/2006/relationships/image" Target="../media/image87.emf"/><Relationship Id="rId5" Type="http://schemas.openxmlformats.org/officeDocument/2006/relationships/image" Target="../media/image93.png"/><Relationship Id="rId6" Type="http://schemas.openxmlformats.org/officeDocument/2006/relationships/image" Target="../media/image94.png"/></Relationships>
</file>

<file path=ppt/slides/_rels/slide137.xml.rels><?xml version='1.0' encoding='UTF-8' standalone='yes'?>
<Relationships xmlns="http://schemas.openxmlformats.org/package/2006/relationships"><Relationship Id="rId1" Type="http://schemas.openxmlformats.org/officeDocument/2006/relationships/tags" Target="../tags/tag74.xml"/><Relationship Id="rId2" Type="http://schemas.openxmlformats.org/officeDocument/2006/relationships/slideLayout" Target="../slideLayouts/slideLayout7.xml"/><Relationship Id="rId3" Type="http://schemas.openxmlformats.org/officeDocument/2006/relationships/oleObject" Target="../embeddings/oleObject30.bin"/><Relationship Id="rId4" Type="http://schemas.openxmlformats.org/officeDocument/2006/relationships/image" Target="../media/image87.emf"/><Relationship Id="rId5" Type="http://schemas.openxmlformats.org/officeDocument/2006/relationships/image" Target="../media/image93.png"/><Relationship Id="rId6" Type="http://schemas.openxmlformats.org/officeDocument/2006/relationships/image" Target="../media/image94.png"/></Relationships>
</file>

<file path=ppt/slides/_rels/slide138.xml.rels><?xml version='1.0' encoding='UTF-8' standalone='yes'?>
<Relationships xmlns="http://schemas.openxmlformats.org/package/2006/relationships"><Relationship Id="rId1" Type="http://schemas.openxmlformats.org/officeDocument/2006/relationships/tags" Target="../tags/tag75.xml"/><Relationship Id="rId2" Type="http://schemas.openxmlformats.org/officeDocument/2006/relationships/slideLayout" Target="../slideLayouts/slideLayout7.xml"/><Relationship Id="rId3" Type="http://schemas.openxmlformats.org/officeDocument/2006/relationships/oleObject" Target="../embeddings/oleObject30.bin"/><Relationship Id="rId4" Type="http://schemas.openxmlformats.org/officeDocument/2006/relationships/image" Target="../media/image87.emf"/><Relationship Id="rId5" Type="http://schemas.openxmlformats.org/officeDocument/2006/relationships/image" Target="../media/image93.png"/><Relationship Id="rId6" Type="http://schemas.openxmlformats.org/officeDocument/2006/relationships/image" Target="../media/image94.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3.xml"/><Relationship Id="rId3" Type="http://schemas.openxmlformats.org/officeDocument/2006/relationships/chart" Target="../charts/chart2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5.xml"/><Relationship Id="rId3" Type="http://schemas.openxmlformats.org/officeDocument/2006/relationships/chart" Target="../charts/chart2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7.xml"/><Relationship Id="rId3" Type="http://schemas.openxmlformats.org/officeDocument/2006/relationships/chart" Target="../charts/chart2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9.xml"/><Relationship Id="rId3" Type="http://schemas.openxmlformats.org/officeDocument/2006/relationships/chart" Target="../charts/chart30.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1.xml"/><Relationship Id="rId3" Type="http://schemas.openxmlformats.org/officeDocument/2006/relationships/chart" Target="../charts/chart3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3.xml"/><Relationship Id="rId3" Type="http://schemas.openxmlformats.org/officeDocument/2006/relationships/chart" Target="../charts/chart3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5.xml"/><Relationship Id="rId3" Type="http://schemas.openxmlformats.org/officeDocument/2006/relationships/chart" Target="../charts/chart3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7.xml"/><Relationship Id="rId3" Type="http://schemas.openxmlformats.org/officeDocument/2006/relationships/chart" Target="../charts/chart38.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9.xml"/><Relationship Id="rId3" Type="http://schemas.openxmlformats.org/officeDocument/2006/relationships/chart" Target="../charts/chart40.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1.xml"/><Relationship Id="rId3" Type="http://schemas.openxmlformats.org/officeDocument/2006/relationships/chart" Target="../charts/chart4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3.xml"/><Relationship Id="rId3" Type="http://schemas.openxmlformats.org/officeDocument/2006/relationships/chart" Target="../charts/chart4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5.xml"/><Relationship Id="rId3" Type="http://schemas.openxmlformats.org/officeDocument/2006/relationships/chart" Target="../charts/chart4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7.xml"/><Relationship Id="rId3" Type="http://schemas.openxmlformats.org/officeDocument/2006/relationships/chart" Target="../charts/chart48.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9.xml"/><Relationship Id="rId3" Type="http://schemas.openxmlformats.org/officeDocument/2006/relationships/chart" Target="../charts/chart50.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51.xml"/><Relationship Id="rId3" Type="http://schemas.openxmlformats.org/officeDocument/2006/relationships/chart" Target="../charts/chart5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53.xml"/><Relationship Id="rId3" Type="http://schemas.openxmlformats.org/officeDocument/2006/relationships/chart" Target="../charts/chart5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55.xml"/><Relationship Id="rId3" Type="http://schemas.openxmlformats.org/officeDocument/2006/relationships/chart" Target="../charts/chart5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57.xml"/><Relationship Id="rId3" Type="http://schemas.openxmlformats.org/officeDocument/2006/relationships/chart" Target="../charts/chart58.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59.xml"/><Relationship Id="rId3" Type="http://schemas.openxmlformats.org/officeDocument/2006/relationships/chart" Target="../charts/chart60.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61.xml"/><Relationship Id="rId3" Type="http://schemas.openxmlformats.org/officeDocument/2006/relationships/chart" Target="../charts/chart6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63.xml"/><Relationship Id="rId3" Type="http://schemas.openxmlformats.org/officeDocument/2006/relationships/chart" Target="../charts/chart6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65.xml"/><Relationship Id="rId3" Type="http://schemas.openxmlformats.org/officeDocument/2006/relationships/chart" Target="../charts/chart66.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67.xml"/><Relationship Id="rId3" Type="http://schemas.openxmlformats.org/officeDocument/2006/relationships/chart" Target="../charts/chart68.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69.xml"/><Relationship Id="rId3" Type="http://schemas.openxmlformats.org/officeDocument/2006/relationships/chart" Target="../charts/chart70.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71.xml"/><Relationship Id="rId3" Type="http://schemas.openxmlformats.org/officeDocument/2006/relationships/chart" Target="../charts/chart7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73.xml"/><Relationship Id="rId3" Type="http://schemas.openxmlformats.org/officeDocument/2006/relationships/chart" Target="../charts/chart7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75.xml"/><Relationship Id="rId3" Type="http://schemas.openxmlformats.org/officeDocument/2006/relationships/chart" Target="../charts/chart76.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77.xml"/><Relationship Id="rId3" Type="http://schemas.openxmlformats.org/officeDocument/2006/relationships/chart" Target="../charts/chart78.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79.xml"/><Relationship Id="rId3" Type="http://schemas.openxmlformats.org/officeDocument/2006/relationships/chart" Target="../charts/chart80.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81.xml"/><Relationship Id="rId3" Type="http://schemas.openxmlformats.org/officeDocument/2006/relationships/chart" Target="../charts/chart8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83.xml"/><Relationship Id="rId3" Type="http://schemas.openxmlformats.org/officeDocument/2006/relationships/chart" Target="../charts/chart84.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85.xml"/><Relationship Id="rId3" Type="http://schemas.openxmlformats.org/officeDocument/2006/relationships/chart" Target="../charts/chart86.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87.xml"/><Relationship Id="rId3" Type="http://schemas.openxmlformats.org/officeDocument/2006/relationships/chart" Target="../charts/chart88.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89.xml"/><Relationship Id="rId3" Type="http://schemas.openxmlformats.org/officeDocument/2006/relationships/chart" Target="../charts/chart90.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91.xml"/><Relationship Id="rId3" Type="http://schemas.openxmlformats.org/officeDocument/2006/relationships/chart" Target="../charts/chart9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93.xml"/><Relationship Id="rId3" Type="http://schemas.openxmlformats.org/officeDocument/2006/relationships/chart" Target="../charts/chart9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5.xml"/><Relationship Id="rId3" Type="http://schemas.openxmlformats.org/officeDocument/2006/relationships/chart" Target="../charts/chart6.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95.xml"/><Relationship Id="rId3" Type="http://schemas.openxmlformats.org/officeDocument/2006/relationships/chart" Target="../charts/chart96.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97.xml"/><Relationship Id="rId3" Type="http://schemas.openxmlformats.org/officeDocument/2006/relationships/chart" Target="../charts/chart98.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99.xml"/><Relationship Id="rId3" Type="http://schemas.openxmlformats.org/officeDocument/2006/relationships/chart" Target="../charts/chart100.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01.xml"/><Relationship Id="rId3" Type="http://schemas.openxmlformats.org/officeDocument/2006/relationships/chart" Target="../charts/chart10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03.xml"/><Relationship Id="rId3" Type="http://schemas.openxmlformats.org/officeDocument/2006/relationships/chart" Target="../charts/chart104.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05.xml"/><Relationship Id="rId3" Type="http://schemas.openxmlformats.org/officeDocument/2006/relationships/chart" Target="../charts/chart106.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07.xml"/><Relationship Id="rId3" Type="http://schemas.openxmlformats.org/officeDocument/2006/relationships/chart" Target="../charts/chart108.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09.xml"/><Relationship Id="rId3" Type="http://schemas.openxmlformats.org/officeDocument/2006/relationships/chart" Target="../charts/chart110.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11.xml"/><Relationship Id="rId3" Type="http://schemas.openxmlformats.org/officeDocument/2006/relationships/chart" Target="../charts/chart112.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13.xml"/><Relationship Id="rId3" Type="http://schemas.openxmlformats.org/officeDocument/2006/relationships/chart" Target="../charts/chart11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7.xml"/><Relationship Id="rId3" Type="http://schemas.openxmlformats.org/officeDocument/2006/relationships/chart" Target="../charts/chart8.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15.xml"/><Relationship Id="rId3" Type="http://schemas.openxmlformats.org/officeDocument/2006/relationships/chart" Target="../charts/chart116.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17.xml"/><Relationship Id="rId3" Type="http://schemas.openxmlformats.org/officeDocument/2006/relationships/chart" Target="../charts/chart118.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19.xml"/><Relationship Id="rId3" Type="http://schemas.openxmlformats.org/officeDocument/2006/relationships/chart" Target="../charts/chart120.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21.xml"/><Relationship Id="rId3" Type="http://schemas.openxmlformats.org/officeDocument/2006/relationships/chart" Target="../charts/chart122.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23.xml"/><Relationship Id="rId3" Type="http://schemas.openxmlformats.org/officeDocument/2006/relationships/chart" Target="../charts/chart124.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25.xml"/><Relationship Id="rId3" Type="http://schemas.openxmlformats.org/officeDocument/2006/relationships/chart" Target="../charts/chart126.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27.xml"/><Relationship Id="rId3" Type="http://schemas.openxmlformats.org/officeDocument/2006/relationships/chart" Target="../charts/chart128.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29.xml"/><Relationship Id="rId3" Type="http://schemas.openxmlformats.org/officeDocument/2006/relationships/chart" Target="../charts/chart130.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31.xml"/><Relationship Id="rId3" Type="http://schemas.openxmlformats.org/officeDocument/2006/relationships/chart" Target="../charts/chart132.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3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9.xml"/><Relationship Id="rId3" Type="http://schemas.openxmlformats.org/officeDocument/2006/relationships/chart" Target="../charts/chart10.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34.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35.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36.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37.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38.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39.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40.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41.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42.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4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1.xml"/><Relationship Id="rId3" Type="http://schemas.openxmlformats.org/officeDocument/2006/relationships/chart" Target="../charts/chart12.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44.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45.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46.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47.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48.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49.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50.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51.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52.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5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3.xml"/><Relationship Id="rId3" Type="http://schemas.openxmlformats.org/officeDocument/2006/relationships/chart" Target="../charts/chart14.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54.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55.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56.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57.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58.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59.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60.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61.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62.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6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3A62DB2-FD52-E1C9-07D5-B7BBF96173D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ource">
            <a:extLst>
              <a:ext uri="{FF2B5EF4-FFF2-40B4-BE49-F238E27FC236}">
                <a16:creationId xmlns:a16="http://schemas.microsoft.com/office/drawing/2014/main" id="{49A0EAFD-7A4B-D34F-8332-905D5EE3F938}"/>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12" name="Head">
            <a:extLst>
              <a:ext uri="{FF2B5EF4-FFF2-40B4-BE49-F238E27FC236}">
                <a16:creationId xmlns:a16="http://schemas.microsoft.com/office/drawing/2014/main" id="{600EB69F-E381-4CC8-A7D8-489ABD2C2B07}"/>
              </a:ext>
            </a:extLst>
          </p:cNvPr>
          <p:cNvSpPr>
            <a:spLocks noGrp="1"/>
          </p:cNvSpPr>
          <p:nvPr>
            <p:ph type="body" sz="quarter" idx="18"/>
          </p:nvPr>
        </p:nvSpPr>
        <p:spPr>
          <a:xfrm>
            <a:off x="503238" y="774000"/>
            <a:ext cx="8136762" cy="360000"/>
          </a:xfrm>
        </p:spPr>
        <p:txBody>
          <a:bodyPr/>
          <a:lstStyle/>
          <a:p>
            <a:pPr>
              <a:defRPr sz="1200"/>
            </a:pPr>
            <a:r>
              <a:t>Based on price change | by Brand | Manual Shave Men | Walmart</a:t>
            </a:r>
          </a:p>
        </p:txBody>
      </p:sp>
      <p:sp>
        <p:nvSpPr>
          <p:cNvPr id="3" name="Title 2">
            <a:extLst>
              <a:ext uri="{FF2B5EF4-FFF2-40B4-BE49-F238E27FC236}">
                <a16:creationId xmlns:a16="http://schemas.microsoft.com/office/drawing/2014/main" id="{99087546-885A-2746-A450-6ADD7CD5B24C}"/>
              </a:ext>
            </a:extLst>
          </p:cNvPr>
          <p:cNvSpPr>
            <a:spLocks noGrp="1"/>
          </p:cNvSpPr>
          <p:nvPr>
            <p:ph type="title"/>
          </p:nvPr>
        </p:nvSpPr>
        <p:spPr>
          <a:xfrm>
            <a:off x="504000" y="-1"/>
            <a:ext cx="8136000" cy="771525"/>
          </a:xfrm>
        </p:spPr>
        <p:txBody>
          <a:bodyPr/>
          <a:lstStyle/>
          <a:p>
            <a:r>
              <a:rPr lang="en-GB" dirty="0">
                <a:highlight>
                  <a:srgbClr val="FFFF00"/>
                </a:highlight>
              </a:rPr>
              <a:t>Brand Elasticity Analysis</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5" name="C1">
            <a:extLst>
              <a:ext uri="{FF2B5EF4-FFF2-40B4-BE49-F238E27FC236}">
                <a16:creationId xmlns:a16="http://schemas.microsoft.com/office/drawing/2014/main" id="{DB46EE52-D3FE-A9A8-CB7A-E6FF00C3FE0F}"/>
              </a:ext>
            </a:extLst>
          </p:cNvPr>
          <p:cNvGraphicFramePr>
            <a:graphicFrameLocks/>
          </p:cNvGraphicFramePr>
          <p:nvPr>
            <p:extLst>
              <p:ext uri="{D42A27DB-BD31-4B8C-83A1-F6EECF244321}">
                <p14:modId xmlns:p14="http://schemas.microsoft.com/office/powerpoint/2010/main" val="4155870252"/>
              </p:ext>
            </p:extLst>
          </p:nvPr>
        </p:nvGraphicFramePr>
        <p:xfrm>
          <a:off x="540544" y="1131888"/>
          <a:ext cx="8099822" cy="3619897"/>
        </p:xfrm>
        <a:graphic>
          <a:graphicData uri="http://schemas.openxmlformats.org/drawingml/2006/chart">
            <c:chart xmlns:c="http://schemas.openxmlformats.org/drawingml/2006/chart" xmlns:r="http://schemas.openxmlformats.org/officeDocument/2006/relationships" r:id="rId2"/>
          </a:graphicData>
        </a:graphic>
      </p:graphicFrame>
      <p:sp>
        <p:nvSpPr>
          <p:cNvPr id="13" name="Rectangle 12">
            <a:extLst>
              <a:ext uri="{FF2B5EF4-FFF2-40B4-BE49-F238E27FC236}">
                <a16:creationId xmlns:a16="http://schemas.microsoft.com/office/drawing/2014/main" id="{6CF4160F-D1E2-AB65-97CA-1117BB236A0A}"/>
              </a:ext>
            </a:extLst>
          </p:cNvPr>
          <p:cNvSpPr/>
          <p:nvPr/>
        </p:nvSpPr>
        <p:spPr>
          <a:xfrm>
            <a:off x="3843446" y="1130497"/>
            <a:ext cx="4797140" cy="15749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rPr>
              <a:t>Low retention and high appeal</a:t>
            </a:r>
            <a:endParaRPr kumimoji="0" lang="en-CH"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p:txBody>
      </p:sp>
      <p:sp>
        <p:nvSpPr>
          <p:cNvPr id="17" name="Rectangle 16">
            <a:extLst>
              <a:ext uri="{FF2B5EF4-FFF2-40B4-BE49-F238E27FC236}">
                <a16:creationId xmlns:a16="http://schemas.microsoft.com/office/drawing/2014/main" id="{9455B3BE-708F-EDE2-00A8-A6EF2396AEE5}"/>
              </a:ext>
            </a:extLst>
          </p:cNvPr>
          <p:cNvSpPr/>
          <p:nvPr/>
        </p:nvSpPr>
        <p:spPr>
          <a:xfrm>
            <a:off x="3835181" y="3437981"/>
            <a:ext cx="4802300" cy="10141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chemeClr val="accent3"/>
                </a:solidFill>
                <a:effectLst/>
                <a:uLnTx/>
                <a:uFillTx/>
                <a:latin typeface="Nexa Bold"/>
                <a:ea typeface="Open Sans" panose="020B0606030504020204" pitchFamily="34" charset="0"/>
                <a:cs typeface="Open Sans" panose="020B0606030504020204" pitchFamily="34" charset="0"/>
              </a:rPr>
              <a:t>High retention and high appeal</a:t>
            </a:r>
            <a:endParaRPr kumimoji="0" lang="en-CH" sz="900" b="1" i="0" u="none" strike="noStrike" kern="1200" cap="none" spc="0" normalizeH="0" baseline="0" noProof="0" dirty="0">
              <a:ln>
                <a:noFill/>
              </a:ln>
              <a:solidFill>
                <a:schemeClr val="accent3"/>
              </a:solidFill>
              <a:effectLst/>
              <a:uLnTx/>
              <a:uFillTx/>
              <a:latin typeface="Nexa Bold"/>
              <a:ea typeface="Open Sans" panose="020B0606030504020204" pitchFamily="34" charset="0"/>
              <a:cs typeface="Open Sans" panose="020B0606030504020204" pitchFamily="34" charset="0"/>
            </a:endParaRPr>
          </a:p>
        </p:txBody>
      </p:sp>
      <p:sp>
        <p:nvSpPr>
          <p:cNvPr id="16" name="Rectangle 15">
            <a:extLst>
              <a:ext uri="{FF2B5EF4-FFF2-40B4-BE49-F238E27FC236}">
                <a16:creationId xmlns:a16="http://schemas.microsoft.com/office/drawing/2014/main" id="{3A8E7FE2-155E-935C-6808-B494415D20A5}"/>
              </a:ext>
            </a:extLst>
          </p:cNvPr>
          <p:cNvSpPr/>
          <p:nvPr/>
        </p:nvSpPr>
        <p:spPr>
          <a:xfrm>
            <a:off x="1274612" y="3427905"/>
            <a:ext cx="2438180" cy="1023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rPr>
              <a:t>High retention and low appeal</a:t>
            </a:r>
            <a:endParaRPr kumimoji="0" lang="en-CH"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p:txBody>
      </p:sp>
      <p:sp>
        <p:nvSpPr>
          <p:cNvPr id="14" name="Rectangle 13">
            <a:extLst>
              <a:ext uri="{FF2B5EF4-FFF2-40B4-BE49-F238E27FC236}">
                <a16:creationId xmlns:a16="http://schemas.microsoft.com/office/drawing/2014/main" id="{B3153049-88EE-CB9D-636D-7F7B7F34DCDB}"/>
              </a:ext>
            </a:extLst>
          </p:cNvPr>
          <p:cNvSpPr/>
          <p:nvPr/>
        </p:nvSpPr>
        <p:spPr>
          <a:xfrm>
            <a:off x="1274612" y="1131888"/>
            <a:ext cx="2436345" cy="1590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C00000"/>
                </a:solidFill>
                <a:effectLst/>
                <a:uLnTx/>
                <a:uFillTx/>
                <a:latin typeface="Nexa Bold"/>
                <a:ea typeface="Open Sans" panose="020B0606030504020204" pitchFamily="34" charset="0"/>
                <a:cs typeface="Open Sans" panose="020B0606030504020204" pitchFamily="34" charset="0"/>
              </a:rPr>
              <a:t>Low retention and low appeal</a:t>
            </a:r>
            <a:endParaRPr kumimoji="0" lang="en-CH" sz="900" b="1" i="0" u="none" strike="noStrike" kern="1200" cap="none" spc="0" normalizeH="0" baseline="0" noProof="0" dirty="0">
              <a:ln>
                <a:noFill/>
              </a:ln>
              <a:solidFill>
                <a:srgbClr val="C00000"/>
              </a:solidFill>
              <a:effectLst/>
              <a:uLnTx/>
              <a:uFillTx/>
              <a:latin typeface="Nexa Bold"/>
              <a:ea typeface="Open Sans" panose="020B0606030504020204" pitchFamily="34" charset="0"/>
              <a:cs typeface="Open Sans" panose="020B0606030504020204" pitchFamily="34" charset="0"/>
            </a:endParaRPr>
          </a:p>
        </p:txBody>
      </p:sp>
      <p:sp>
        <p:nvSpPr>
          <p:cNvPr id="7" name="TextBox X">
            <a:extLst>
              <a:ext uri="{FF2B5EF4-FFF2-40B4-BE49-F238E27FC236}">
                <a16:creationId xmlns:a16="http://schemas.microsoft.com/office/drawing/2014/main" id="{7A1735C9-5987-C9BB-04E3-1910A272F2AB}"/>
              </a:ext>
            </a:extLst>
          </p:cNvPr>
          <p:cNvSpPr txBox="1"/>
          <p:nvPr/>
        </p:nvSpPr>
        <p:spPr>
          <a:xfrm>
            <a:off x="6944613" y="4550057"/>
            <a:ext cx="1698567" cy="21544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defRPr sz="800">
                <a:solidFill>
                  <a:srgbClr val="575555"/>
                </a:solidFill>
                <a:latin typeface="Nexa Bold"/>
              </a:defRPr>
            </a:pPr>
            <a:r>
              <a:t>Priced down by -10%</a:t>
            </a:r>
          </a:p>
        </p:txBody>
      </p:sp>
      <p:sp>
        <p:nvSpPr>
          <p:cNvPr id="6" name="TextBox Y">
            <a:extLst>
              <a:ext uri="{FF2B5EF4-FFF2-40B4-BE49-F238E27FC236}">
                <a16:creationId xmlns:a16="http://schemas.microsoft.com/office/drawing/2014/main" id="{047C5A97-7E48-E25D-669A-C45496340B4C}"/>
              </a:ext>
            </a:extLst>
          </p:cNvPr>
          <p:cNvSpPr txBox="1"/>
          <p:nvPr/>
        </p:nvSpPr>
        <p:spPr>
          <a:xfrm>
            <a:off x="517720" y="1137015"/>
            <a:ext cx="435454"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ctr">
              <a:defRPr sz="800">
                <a:solidFill>
                  <a:srgbClr val="575555"/>
                </a:solidFill>
                <a:latin typeface="Nexa Bold"/>
              </a:defRPr>
            </a:pPr>
            <a:r>
              <a:t>Priced up by +15%</a:t>
            </a:r>
          </a:p>
        </p:txBody>
      </p:sp>
      <p:sp>
        <p:nvSpPr>
          <p:cNvPr id="8" name="Date Placeholder 7">
            <a:extLst>
              <a:ext uri="{FF2B5EF4-FFF2-40B4-BE49-F238E27FC236}">
                <a16:creationId xmlns:a16="http://schemas.microsoft.com/office/drawing/2014/main" id="{6CC3C3E3-7EA8-9C3D-517E-77C1588500D7}"/>
              </a:ext>
            </a:extLst>
          </p:cNvPr>
          <p:cNvSpPr>
            <a:spLocks noGrp="1"/>
          </p:cNvSpPr>
          <p:nvPr>
            <p:ph type="dt" sz="half" idx="14"/>
          </p:nvPr>
        </p:nvSpPr>
        <p:spPr/>
        <p:txBody>
          <a:bodyPr/>
          <a:lstStyle/>
          <a:p>
            <a:fld id="{AD583B17-CA9E-4798-A693-AB6BF9A9B56D}" type="datetime1">
              <a:rPr lang="en-US" smtClean="0"/>
              <a:t>8/15/2025</a:t>
            </a:fld>
            <a:endParaRPr lang="en-US"/>
          </a:p>
        </p:txBody>
      </p:sp>
      <p:sp>
        <p:nvSpPr>
          <p:cNvPr id="9" name="Slide Number Placeholder 8">
            <a:extLst>
              <a:ext uri="{FF2B5EF4-FFF2-40B4-BE49-F238E27FC236}">
                <a16:creationId xmlns:a16="http://schemas.microsoft.com/office/drawing/2014/main" id="{8E663443-FA76-33F2-BF32-1CC0A2AAEDA2}"/>
              </a:ext>
            </a:extLst>
          </p:cNvPr>
          <p:cNvSpPr>
            <a:spLocks noGrp="1"/>
          </p:cNvSpPr>
          <p:nvPr>
            <p:ph type="sldNum" sz="quarter" idx="16"/>
          </p:nvPr>
        </p:nvSpPr>
        <p:spPr/>
        <p:txBody>
          <a:bodyPr/>
          <a:lstStyle/>
          <a:p>
            <a:fld id="{7B1F438D-4EAF-094E-9162-80CF3EF77236}" type="slidenum">
              <a:rPr lang="en-US" smtClean="0"/>
              <a:pPr/>
              <a:t>1</a:t>
            </a:fld>
            <a:endParaRPr lang="en-US"/>
          </a:p>
        </p:txBody>
      </p:sp>
    </p:spTree>
    <p:extLst>
      <p:ext uri="{BB962C8B-B14F-4D97-AF65-F5344CB8AC3E}">
        <p14:creationId xmlns:p14="http://schemas.microsoft.com/office/powerpoint/2010/main" val="222972643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b="1">
                          <a:latin typeface="Nexa Bold"/>
                        </a:defRPr>
                      </a:pPr>
                      <a:r>
                        <a:rPr sz="800">
                          <a:latin typeface="Nexa Bold"/>
                        </a:rPr>
                        <a:t>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Dispo (19.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Dispo (16.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Razor (1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b="1">
                          <a:latin typeface="Nexa Bold"/>
                        </a:defRPr>
                      </a:pPr>
                      <a:r>
                        <a:rPr sz="800">
                          <a:latin typeface="Nexa Bold"/>
                        </a:rPr>
                        <a:t>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Razor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Dispo (8.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Dispo (17.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rrys Razor (6.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b="1">
                          <a:latin typeface="Nexa Bold"/>
                        </a:defRPr>
                      </a:pPr>
                      <a:r>
                        <a:rPr sz="800">
                          <a:latin typeface="Nexa Bold"/>
                        </a:rPr>
                        <a:t>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ollar Shave Club Razor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rrys Blade (5.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Blade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Equate Dispo (19.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Bic Dispo (16.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Gillette Razor (1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Schick Dispo (8.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Gillette Dispo (17.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Schick Razor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Dollar Shave Club Razor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Harrys Razor (6.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Gillette Blade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Harrys Blade (5.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Equate Razor (1.1%)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8/1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0</a:t>
            </a:fld>
            <a:endParaRPr lang="en-US"/>
          </a:p>
        </p:txBody>
      </p:sp>
    </p:spTree>
    <p:extLst>
      <p:ext uri="{BB962C8B-B14F-4D97-AF65-F5344CB8AC3E}">
        <p14:creationId xmlns:p14="http://schemas.microsoft.com/office/powerpoint/2010/main" val="1626630451"/>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Schick Hydro 5 Blade Advanced Hydration 1 Handle + 3 Cartridges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0</a:t>
            </a:fld>
            <a:endParaRPr lang="en-US"/>
          </a:p>
        </p:txBody>
      </p:sp>
      <p:sp>
        <p:nvSpPr>
          <p:cNvPr id="22" name="Rectangle 21"/>
          <p:cNvSpPr/>
          <p:nvPr/>
        </p:nvSpPr>
        <p:spPr>
          <a:xfrm>
            <a:off x="972000" y="1458000"/>
            <a:ext cx="29955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p:cNvSpPr/>
          <p:nvPr/>
        </p:nvSpPr>
        <p:spPr>
          <a:xfrm>
            <a:off x="3967560" y="1458000"/>
            <a:ext cx="26564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Tree>
    <p:extLst>
      <p:ext uri="{BB962C8B-B14F-4D97-AF65-F5344CB8AC3E}">
        <p14:creationId xmlns:p14="http://schemas.microsoft.com/office/powerpoint/2010/main" val="2820403894"/>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Schick Hydro 5 Blade Sensitive 1 Handle + 3 Cartridges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1</a:t>
            </a:fld>
            <a:endParaRPr lang="en-US"/>
          </a:p>
        </p:txBody>
      </p:sp>
      <p:sp>
        <p:nvSpPr>
          <p:cNvPr id="22" name="Rectangle 21"/>
          <p:cNvSpPr/>
          <p:nvPr/>
        </p:nvSpPr>
        <p:spPr>
          <a:xfrm>
            <a:off x="972000" y="1458000"/>
            <a:ext cx="20912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p:cNvSpPr/>
          <p:nvPr/>
        </p:nvSpPr>
        <p:spPr>
          <a:xfrm>
            <a:off x="3063240" y="1458000"/>
            <a:ext cx="35607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Tree>
    <p:extLst>
      <p:ext uri="{BB962C8B-B14F-4D97-AF65-F5344CB8AC3E}">
        <p14:creationId xmlns:p14="http://schemas.microsoft.com/office/powerpoint/2010/main" val="1919152269"/>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Schick Hydro 5 Blade Sensitive 1 Handle + 5 Cartridges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2</a:t>
            </a:fld>
            <a:endParaRPr lang="en-US"/>
          </a:p>
        </p:txBody>
      </p:sp>
      <p:sp>
        <p:nvSpPr>
          <p:cNvPr id="22" name="Rectangle 21"/>
          <p:cNvSpPr/>
          <p:nvPr/>
        </p:nvSpPr>
        <p:spPr>
          <a:xfrm>
            <a:off x="972000" y="1458000"/>
            <a:ext cx="5652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1537200" y="1458000"/>
            <a:ext cx="3956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4" name="Rectangle 23"/>
          <p:cNvSpPr/>
          <p:nvPr/>
        </p:nvSpPr>
        <p:spPr>
          <a:xfrm>
            <a:off x="1932840" y="1458000"/>
            <a:ext cx="12999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5" name="Rectangle 24"/>
          <p:cNvSpPr/>
          <p:nvPr/>
        </p:nvSpPr>
        <p:spPr>
          <a:xfrm>
            <a:off x="3232800" y="1458000"/>
            <a:ext cx="33912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Tree>
    <p:extLst>
      <p:ext uri="{BB962C8B-B14F-4D97-AF65-F5344CB8AC3E}">
        <p14:creationId xmlns:p14="http://schemas.microsoft.com/office/powerpoint/2010/main" val="1501592985"/>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Schick Hydro 5 Blade Sensitive 1 Handle + 8 Cartridges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3</a:t>
            </a:fld>
            <a:endParaRPr lang="en-US"/>
          </a:p>
        </p:txBody>
      </p:sp>
      <p:sp>
        <p:nvSpPr>
          <p:cNvPr id="22" name="Rectangle 21"/>
          <p:cNvSpPr/>
          <p:nvPr/>
        </p:nvSpPr>
        <p:spPr>
          <a:xfrm>
            <a:off x="972000" y="1458000"/>
            <a:ext cx="21477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p:cNvSpPr/>
          <p:nvPr/>
        </p:nvSpPr>
        <p:spPr>
          <a:xfrm>
            <a:off x="3119760" y="1458000"/>
            <a:ext cx="35042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Tree>
    <p:extLst>
      <p:ext uri="{BB962C8B-B14F-4D97-AF65-F5344CB8AC3E}">
        <p14:creationId xmlns:p14="http://schemas.microsoft.com/office/powerpoint/2010/main" val="1090494709"/>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Schick Hydro 5 Blade Chrome 1 Handle + 3 Cartridges + Docking Station/Stand + Travel Cover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4</a:t>
            </a:fld>
            <a:endParaRPr lang="en-US"/>
          </a:p>
        </p:txBody>
      </p:sp>
      <p:sp>
        <p:nvSpPr>
          <p:cNvPr id="22" name="Rectangle 21"/>
          <p:cNvSpPr/>
          <p:nvPr/>
        </p:nvSpPr>
        <p:spPr>
          <a:xfrm>
            <a:off x="972000" y="1458000"/>
            <a:ext cx="21477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p:cNvSpPr/>
          <p:nvPr/>
        </p:nvSpPr>
        <p:spPr>
          <a:xfrm>
            <a:off x="3119760" y="1458000"/>
            <a:ext cx="35042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Tree>
    <p:extLst>
      <p:ext uri="{BB962C8B-B14F-4D97-AF65-F5344CB8AC3E}">
        <p14:creationId xmlns:p14="http://schemas.microsoft.com/office/powerpoint/2010/main" val="2906764926"/>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Schick Hydro 5 Groomer 1 Handle + 1 Cartridge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5</a:t>
            </a:fld>
            <a:endParaRPr lang="en-US"/>
          </a:p>
        </p:txBody>
      </p:sp>
      <p:sp>
        <p:nvSpPr>
          <p:cNvPr id="22" name="Rectangle 21"/>
          <p:cNvSpPr/>
          <p:nvPr/>
        </p:nvSpPr>
        <p:spPr>
          <a:xfrm>
            <a:off x="972000" y="1458000"/>
            <a:ext cx="9608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1932840" y="1458000"/>
            <a:ext cx="12999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p:cNvSpPr/>
          <p:nvPr/>
        </p:nvSpPr>
        <p:spPr>
          <a:xfrm>
            <a:off x="3232800" y="1458000"/>
            <a:ext cx="33912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Tree>
    <p:extLst>
      <p:ext uri="{BB962C8B-B14F-4D97-AF65-F5344CB8AC3E}">
        <p14:creationId xmlns:p14="http://schemas.microsoft.com/office/powerpoint/2010/main" val="3938024346"/>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Schick Quattro Four Blade 1 Handle + 4 Cartriges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6</a:t>
            </a:fld>
            <a:endParaRPr lang="en-US"/>
          </a:p>
        </p:txBody>
      </p:sp>
      <p:sp>
        <p:nvSpPr>
          <p:cNvPr id="22" name="Rectangle 21"/>
          <p:cNvSpPr/>
          <p:nvPr/>
        </p:nvSpPr>
        <p:spPr>
          <a:xfrm>
            <a:off x="972000" y="1458000"/>
            <a:ext cx="35607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p:cNvSpPr/>
          <p:nvPr/>
        </p:nvSpPr>
        <p:spPr>
          <a:xfrm>
            <a:off x="4532760" y="1458000"/>
            <a:ext cx="20912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2373003339"/>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Wilkinson Sword Classic Double Edge 1 Handle + 5 Cartridges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7</a:t>
            </a:fld>
            <a:endParaRPr lang="en-US"/>
          </a:p>
        </p:txBody>
      </p:sp>
      <p:sp>
        <p:nvSpPr>
          <p:cNvPr id="22" name="Rectangle 21"/>
          <p:cNvSpPr/>
          <p:nvPr/>
        </p:nvSpPr>
        <p:spPr>
          <a:xfrm>
            <a:off x="972000" y="1458000"/>
            <a:ext cx="1695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1141560" y="1458000"/>
            <a:ext cx="7912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4" name="Rectangle 23"/>
          <p:cNvSpPr/>
          <p:nvPr/>
        </p:nvSpPr>
        <p:spPr>
          <a:xfrm>
            <a:off x="1932840" y="1458000"/>
            <a:ext cx="12999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5" name="Rectangle 24"/>
          <p:cNvSpPr/>
          <p:nvPr/>
        </p:nvSpPr>
        <p:spPr>
          <a:xfrm>
            <a:off x="3232800" y="1458000"/>
            <a:ext cx="11304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6" name="Rectangle 25"/>
          <p:cNvSpPr/>
          <p:nvPr/>
        </p:nvSpPr>
        <p:spPr>
          <a:xfrm>
            <a:off x="4363200" y="1458000"/>
            <a:ext cx="22608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Tree>
    <p:extLst>
      <p:ext uri="{BB962C8B-B14F-4D97-AF65-F5344CB8AC3E}">
        <p14:creationId xmlns:p14="http://schemas.microsoft.com/office/powerpoint/2010/main" val="3927947249"/>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Equate 2 Blade Disposable Razors 5 Pack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8</a:t>
            </a:fld>
            <a:endParaRPr lang="en-US"/>
          </a:p>
        </p:txBody>
      </p:sp>
      <p:sp>
        <p:nvSpPr>
          <p:cNvPr id="22" name="Rectangle 21"/>
          <p:cNvSpPr/>
          <p:nvPr/>
        </p:nvSpPr>
        <p:spPr>
          <a:xfrm>
            <a:off x="972000" y="1458000"/>
            <a:ext cx="28260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p:cNvSpPr/>
          <p:nvPr/>
        </p:nvSpPr>
        <p:spPr>
          <a:xfrm>
            <a:off x="3798000" y="1458000"/>
            <a:ext cx="28260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Tree>
    <p:extLst>
      <p:ext uri="{BB962C8B-B14F-4D97-AF65-F5344CB8AC3E}">
        <p14:creationId xmlns:p14="http://schemas.microsoft.com/office/powerpoint/2010/main" val="3206409445"/>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Equate 2 Blade Disposable Razors 12 Pack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9</a:t>
            </a:fld>
            <a:endParaRPr lang="en-US"/>
          </a:p>
        </p:txBody>
      </p:sp>
      <p:sp>
        <p:nvSpPr>
          <p:cNvPr id="22" name="Rectangle 21"/>
          <p:cNvSpPr/>
          <p:nvPr/>
        </p:nvSpPr>
        <p:spPr>
          <a:xfrm>
            <a:off x="972000" y="1458000"/>
            <a:ext cx="28260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p:cNvSpPr/>
          <p:nvPr/>
        </p:nvSpPr>
        <p:spPr>
          <a:xfrm>
            <a:off x="3798000" y="1458000"/>
            <a:ext cx="28260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Tree>
    <p:extLst>
      <p:ext uri="{BB962C8B-B14F-4D97-AF65-F5344CB8AC3E}">
        <p14:creationId xmlns:p14="http://schemas.microsoft.com/office/powerpoint/2010/main" val="163678245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Dispo (17.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Dispo (16.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Dispo (8.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Dispo (19.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rrys Razor (6.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b="1">
                          <a:latin typeface="Nexa Bold"/>
                        </a:defRPr>
                      </a:pPr>
                      <a:r>
                        <a:rPr sz="800">
                          <a:latin typeface="Nexa Bold"/>
                        </a:rPr>
                        <a:t>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Razor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b="1">
                          <a:latin typeface="Nexa Bold"/>
                        </a:defRPr>
                      </a:pPr>
                      <a:r>
                        <a:rPr sz="800">
                          <a:latin typeface="Nexa Bold"/>
                        </a:rPr>
                        <a:t>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ollar Shave Club Razor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rrys Blade (5.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b="1">
                          <a:latin typeface="Nexa Bold"/>
                        </a:defRPr>
                      </a:pPr>
                      <a:r>
                        <a:rPr sz="800">
                          <a:latin typeface="Nexa Bold"/>
                        </a:rPr>
                        <a:t>6.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Razor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5.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ollar Shave Club Blade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Gillette Dispo (17.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Bic Dispo (16.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Schick Dispo (8.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Harrys Razor (6.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Equate Dispo (19.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Dollar Shave Club Razor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Schick Razor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5.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Harrys Blade (5.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Equate Razor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Dollar Shave Club Blade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Gillette Razor (13.9%)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8/1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1</a:t>
            </a:fld>
            <a:endParaRPr lang="en-US"/>
          </a:p>
        </p:txBody>
      </p:sp>
    </p:spTree>
    <p:extLst>
      <p:ext uri="{BB962C8B-B14F-4D97-AF65-F5344CB8AC3E}">
        <p14:creationId xmlns:p14="http://schemas.microsoft.com/office/powerpoint/2010/main" val="365006168"/>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Equate 2 Blade Disposable Razors 20 Pack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0</a:t>
            </a:fld>
            <a:endParaRPr lang="en-US"/>
          </a:p>
        </p:txBody>
      </p:sp>
      <p:sp>
        <p:nvSpPr>
          <p:cNvPr id="22" name="Rectangle 21"/>
          <p:cNvSpPr/>
          <p:nvPr/>
        </p:nvSpPr>
        <p:spPr>
          <a:xfrm>
            <a:off x="972000" y="1458000"/>
            <a:ext cx="28260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p:cNvSpPr/>
          <p:nvPr/>
        </p:nvSpPr>
        <p:spPr>
          <a:xfrm>
            <a:off x="3798000" y="1458000"/>
            <a:ext cx="28260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Tree>
    <p:extLst>
      <p:ext uri="{BB962C8B-B14F-4D97-AF65-F5344CB8AC3E}">
        <p14:creationId xmlns:p14="http://schemas.microsoft.com/office/powerpoint/2010/main" val="3760319342"/>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Equate Caliber 3 Disposable Razors 3 Pack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1</a:t>
            </a:fld>
            <a:endParaRPr lang="en-US"/>
          </a:p>
        </p:txBody>
      </p:sp>
      <p:sp>
        <p:nvSpPr>
          <p:cNvPr id="22" name="Rectangle 21"/>
          <p:cNvSpPr/>
          <p:nvPr/>
        </p:nvSpPr>
        <p:spPr>
          <a:xfrm>
            <a:off x="972000" y="1458000"/>
            <a:ext cx="24303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p:cNvSpPr/>
          <p:nvPr/>
        </p:nvSpPr>
        <p:spPr>
          <a:xfrm>
            <a:off x="3402360" y="1458000"/>
            <a:ext cx="3221639"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Tree>
    <p:extLst>
      <p:ext uri="{BB962C8B-B14F-4D97-AF65-F5344CB8AC3E}">
        <p14:creationId xmlns:p14="http://schemas.microsoft.com/office/powerpoint/2010/main" val="1631632788"/>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Equate Caliber 3 Disposable Razors 6 Pack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2</a:t>
            </a:fld>
            <a:endParaRPr lang="en-US"/>
          </a:p>
        </p:txBody>
      </p:sp>
      <p:sp>
        <p:nvSpPr>
          <p:cNvPr id="22" name="Rectangle 21"/>
          <p:cNvSpPr/>
          <p:nvPr/>
        </p:nvSpPr>
        <p:spPr>
          <a:xfrm>
            <a:off x="972000" y="1458000"/>
            <a:ext cx="21477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3119760" y="1458000"/>
            <a:ext cx="13564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p:cNvSpPr/>
          <p:nvPr/>
        </p:nvSpPr>
        <p:spPr>
          <a:xfrm>
            <a:off x="4476240" y="1458000"/>
            <a:ext cx="21477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1214594100"/>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Equate Caliber 5 Disposable Razors 3 Pack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3</a:t>
            </a:fld>
            <a:endParaRPr lang="en-US"/>
          </a:p>
        </p:txBody>
      </p:sp>
      <p:sp>
        <p:nvSpPr>
          <p:cNvPr id="22" name="Rectangle 21"/>
          <p:cNvSpPr/>
          <p:nvPr/>
        </p:nvSpPr>
        <p:spPr>
          <a:xfrm>
            <a:off x="972000" y="1458000"/>
            <a:ext cx="22608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p:cNvSpPr/>
          <p:nvPr/>
        </p:nvSpPr>
        <p:spPr>
          <a:xfrm>
            <a:off x="3232800" y="1458000"/>
            <a:ext cx="28260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4" name="Rectangle 23"/>
          <p:cNvSpPr/>
          <p:nvPr/>
        </p:nvSpPr>
        <p:spPr>
          <a:xfrm>
            <a:off x="6058800" y="1458000"/>
            <a:ext cx="5652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601730761"/>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Equate Caliber 5 Disposable Razors 6 Pack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4</a:t>
            </a:fld>
            <a:endParaRPr lang="en-US"/>
          </a:p>
        </p:txBody>
      </p:sp>
      <p:sp>
        <p:nvSpPr>
          <p:cNvPr id="22" name="Rectangle 21"/>
          <p:cNvSpPr/>
          <p:nvPr/>
        </p:nvSpPr>
        <p:spPr>
          <a:xfrm>
            <a:off x="972000" y="1458000"/>
            <a:ext cx="42390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5211000" y="1458000"/>
            <a:ext cx="7347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p:cNvSpPr/>
          <p:nvPr/>
        </p:nvSpPr>
        <p:spPr>
          <a:xfrm>
            <a:off x="5945760" y="1458000"/>
            <a:ext cx="6782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3038795361"/>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Equate Speed 3 Disposable Razors 4 Pack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5</a:t>
            </a:fld>
            <a:endParaRPr lang="en-US"/>
          </a:p>
        </p:txBody>
      </p:sp>
      <p:sp>
        <p:nvSpPr>
          <p:cNvPr id="22" name="Rectangle 21"/>
          <p:cNvSpPr/>
          <p:nvPr/>
        </p:nvSpPr>
        <p:spPr>
          <a:xfrm>
            <a:off x="972000" y="1458000"/>
            <a:ext cx="21477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p:cNvSpPr/>
          <p:nvPr/>
        </p:nvSpPr>
        <p:spPr>
          <a:xfrm>
            <a:off x="3119760" y="1458000"/>
            <a:ext cx="35042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Tree>
    <p:extLst>
      <p:ext uri="{BB962C8B-B14F-4D97-AF65-F5344CB8AC3E}">
        <p14:creationId xmlns:p14="http://schemas.microsoft.com/office/powerpoint/2010/main" val="1807319337"/>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Equate Speed 3 Disposable Razors 8 Pack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6</a:t>
            </a:fld>
            <a:endParaRPr lang="en-US"/>
          </a:p>
        </p:txBody>
      </p:sp>
      <p:sp>
        <p:nvSpPr>
          <p:cNvPr id="22" name="Rectangle 21"/>
          <p:cNvSpPr/>
          <p:nvPr/>
        </p:nvSpPr>
        <p:spPr>
          <a:xfrm>
            <a:off x="972000" y="1458000"/>
            <a:ext cx="23738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p:cNvSpPr/>
          <p:nvPr/>
        </p:nvSpPr>
        <p:spPr>
          <a:xfrm>
            <a:off x="3345840" y="1458000"/>
            <a:ext cx="8478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p:cNvSpPr/>
          <p:nvPr/>
        </p:nvSpPr>
        <p:spPr>
          <a:xfrm>
            <a:off x="4193639" y="1458000"/>
            <a:ext cx="1978199"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5" name="Rectangle 24"/>
          <p:cNvSpPr/>
          <p:nvPr/>
        </p:nvSpPr>
        <p:spPr>
          <a:xfrm>
            <a:off x="6171840" y="1458000"/>
            <a:ext cx="4521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731041757"/>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Equate 5 Blades 1 Handle + 2 Cartridges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7</a:t>
            </a:fld>
            <a:endParaRPr lang="en-US"/>
          </a:p>
        </p:txBody>
      </p:sp>
      <p:sp>
        <p:nvSpPr>
          <p:cNvPr id="22" name="Rectangle 21"/>
          <p:cNvSpPr/>
          <p:nvPr/>
        </p:nvSpPr>
        <p:spPr>
          <a:xfrm>
            <a:off x="972000" y="1458000"/>
            <a:ext cx="56520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Tree>
    <p:extLst>
      <p:ext uri="{BB962C8B-B14F-4D97-AF65-F5344CB8AC3E}">
        <p14:creationId xmlns:p14="http://schemas.microsoft.com/office/powerpoint/2010/main" val="2778354952"/>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Equate Easy Fit 5 blades 1 Handle + 2 Cartridges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8</a:t>
            </a:fld>
            <a:endParaRPr lang="en-US"/>
          </a:p>
        </p:txBody>
      </p:sp>
      <p:sp>
        <p:nvSpPr>
          <p:cNvPr id="22" name="Rectangle 21"/>
          <p:cNvSpPr/>
          <p:nvPr/>
        </p:nvSpPr>
        <p:spPr>
          <a:xfrm>
            <a:off x="972000" y="1458000"/>
            <a:ext cx="17521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2724120" y="1458000"/>
            <a:ext cx="3956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p:cNvSpPr/>
          <p:nvPr/>
        </p:nvSpPr>
        <p:spPr>
          <a:xfrm>
            <a:off x="3119760" y="1458000"/>
            <a:ext cx="17521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5" name="Rectangle 24"/>
          <p:cNvSpPr/>
          <p:nvPr/>
        </p:nvSpPr>
        <p:spPr>
          <a:xfrm>
            <a:off x="4871880" y="1458000"/>
            <a:ext cx="175212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Tree>
    <p:extLst>
      <p:ext uri="{BB962C8B-B14F-4D97-AF65-F5344CB8AC3E}">
        <p14:creationId xmlns:p14="http://schemas.microsoft.com/office/powerpoint/2010/main" val="2152793774"/>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Equate Easy Fit 5 blades 1 Handle + 5 Cartridges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9</a:t>
            </a:fld>
            <a:endParaRPr lang="en-US"/>
          </a:p>
        </p:txBody>
      </p:sp>
      <p:sp>
        <p:nvSpPr>
          <p:cNvPr id="22" name="Rectangle 21"/>
          <p:cNvSpPr/>
          <p:nvPr/>
        </p:nvSpPr>
        <p:spPr>
          <a:xfrm>
            <a:off x="972000" y="1458000"/>
            <a:ext cx="9608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1932840" y="1458000"/>
            <a:ext cx="118692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p:cNvSpPr/>
          <p:nvPr/>
        </p:nvSpPr>
        <p:spPr>
          <a:xfrm>
            <a:off x="3119760" y="1458000"/>
            <a:ext cx="6782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p:cNvSpPr/>
          <p:nvPr/>
        </p:nvSpPr>
        <p:spPr>
          <a:xfrm>
            <a:off x="3798000" y="1458000"/>
            <a:ext cx="11869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6" name="Rectangle 25"/>
          <p:cNvSpPr/>
          <p:nvPr/>
        </p:nvSpPr>
        <p:spPr>
          <a:xfrm>
            <a:off x="4984920" y="1458000"/>
            <a:ext cx="16390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Tree>
    <p:extLst>
      <p:ext uri="{BB962C8B-B14F-4D97-AF65-F5344CB8AC3E}">
        <p14:creationId xmlns:p14="http://schemas.microsoft.com/office/powerpoint/2010/main" val="370427958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b="1">
                          <a:latin typeface="Nexa Bold"/>
                        </a:defRPr>
                      </a:pPr>
                      <a:r>
                        <a:rPr sz="800">
                          <a:latin typeface="Nexa Bold"/>
                        </a:rPr>
                        <a:t>2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ollar Shave Club Razor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Dispo (16.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Razor (1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Dispo (17.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Dispo (19.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b="1">
                          <a:latin typeface="Nexa Bold"/>
                        </a:defRPr>
                      </a:pPr>
                      <a:r>
                        <a:rPr sz="800">
                          <a:latin typeface="Nexa Bold"/>
                        </a:rPr>
                        <a:t>1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ollar Shave Club Blade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Blade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Dispo (8.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b="1">
                          <a:latin typeface="Nexa Bold"/>
                        </a:defRPr>
                      </a:pPr>
                      <a:r>
                        <a:rPr sz="800">
                          <a:latin typeface="Nexa Bold"/>
                        </a:rPr>
                        <a:t>7.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Van Der Hagen Razor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4.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Razor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Dollar Shave Club Razor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Gillette Razor (1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Bic Dispo (16.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Gillette Dispo (17.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Dollar Shave Club Blade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8.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Equate Dispo (19.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Gillette Blade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Schick Razor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Van Der Hagen Razor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7.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Schick Dispo (8.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Harrys Razor (6.2%)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8/1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2</a:t>
            </a:fld>
            <a:endParaRPr lang="en-US"/>
          </a:p>
        </p:txBody>
      </p:sp>
    </p:spTree>
    <p:extLst>
      <p:ext uri="{BB962C8B-B14F-4D97-AF65-F5344CB8AC3E}">
        <p14:creationId xmlns:p14="http://schemas.microsoft.com/office/powerpoint/2010/main" val="4208250887"/>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Schick Hydro 3 Blade Ultra Sensitive Refills 5 Pack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20</a:t>
            </a:fld>
            <a:endParaRPr lang="en-US"/>
          </a:p>
        </p:txBody>
      </p:sp>
      <p:sp>
        <p:nvSpPr>
          <p:cNvPr id="22" name="Rectangle 21"/>
          <p:cNvSpPr/>
          <p:nvPr/>
        </p:nvSpPr>
        <p:spPr>
          <a:xfrm>
            <a:off x="972000" y="1458000"/>
            <a:ext cx="20912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p:cNvSpPr/>
          <p:nvPr/>
        </p:nvSpPr>
        <p:spPr>
          <a:xfrm>
            <a:off x="3063240" y="1458000"/>
            <a:ext cx="146952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p:cNvSpPr/>
          <p:nvPr/>
        </p:nvSpPr>
        <p:spPr>
          <a:xfrm>
            <a:off x="4532760" y="1458000"/>
            <a:ext cx="20912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3087281937"/>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Schick Hydro 3 Blade Pro Sensitive Refills 6 Pack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21</a:t>
            </a:fld>
            <a:endParaRPr lang="en-US"/>
          </a:p>
        </p:txBody>
      </p:sp>
      <p:sp>
        <p:nvSpPr>
          <p:cNvPr id="22" name="Rectangle 21"/>
          <p:cNvSpPr/>
          <p:nvPr/>
        </p:nvSpPr>
        <p:spPr>
          <a:xfrm>
            <a:off x="972000" y="1458000"/>
            <a:ext cx="20912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p:cNvSpPr/>
          <p:nvPr/>
        </p:nvSpPr>
        <p:spPr>
          <a:xfrm>
            <a:off x="3063240" y="1458000"/>
            <a:ext cx="146952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p:cNvSpPr/>
          <p:nvPr/>
        </p:nvSpPr>
        <p:spPr>
          <a:xfrm>
            <a:off x="4532760" y="1458000"/>
            <a:ext cx="20912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2528820605"/>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Schick Hydro 3 Blade Ingrown Defense Refills 6 Pack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22</a:t>
            </a:fld>
            <a:endParaRPr lang="en-US"/>
          </a:p>
        </p:txBody>
      </p:sp>
      <p:sp>
        <p:nvSpPr>
          <p:cNvPr id="22" name="Rectangle 21"/>
          <p:cNvSpPr/>
          <p:nvPr/>
        </p:nvSpPr>
        <p:spPr>
          <a:xfrm>
            <a:off x="972000" y="1458000"/>
            <a:ext cx="22608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p:cNvSpPr/>
          <p:nvPr/>
        </p:nvSpPr>
        <p:spPr>
          <a:xfrm>
            <a:off x="3232800" y="1458000"/>
            <a:ext cx="9043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4" name="Rectangle 23"/>
          <p:cNvSpPr/>
          <p:nvPr/>
        </p:nvSpPr>
        <p:spPr>
          <a:xfrm>
            <a:off x="4137120" y="1458000"/>
            <a:ext cx="24868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2936969387"/>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Schick Hydro 5 Blade Sensitive Refills 4 Pack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23</a:t>
            </a:fld>
            <a:endParaRPr lang="en-US"/>
          </a:p>
        </p:txBody>
      </p:sp>
      <p:sp>
        <p:nvSpPr>
          <p:cNvPr id="22" name="Rectangle 21"/>
          <p:cNvSpPr/>
          <p:nvPr/>
        </p:nvSpPr>
        <p:spPr>
          <a:xfrm>
            <a:off x="972000" y="1458000"/>
            <a:ext cx="231732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p:cNvSpPr/>
          <p:nvPr/>
        </p:nvSpPr>
        <p:spPr>
          <a:xfrm>
            <a:off x="3289320" y="1458000"/>
            <a:ext cx="16956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p:cNvSpPr/>
          <p:nvPr/>
        </p:nvSpPr>
        <p:spPr>
          <a:xfrm>
            <a:off x="4984920" y="1458000"/>
            <a:ext cx="16390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3821314967"/>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Schick Hydro 5 Blade Sensitive Refills 6 Pack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24</a:t>
            </a:fld>
            <a:endParaRPr lang="en-US"/>
          </a:p>
        </p:txBody>
      </p:sp>
      <p:sp>
        <p:nvSpPr>
          <p:cNvPr id="22" name="Rectangle 21"/>
          <p:cNvSpPr/>
          <p:nvPr/>
        </p:nvSpPr>
        <p:spPr>
          <a:xfrm>
            <a:off x="972000" y="1458000"/>
            <a:ext cx="22608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p:cNvSpPr/>
          <p:nvPr/>
        </p:nvSpPr>
        <p:spPr>
          <a:xfrm>
            <a:off x="3232800" y="1458000"/>
            <a:ext cx="15260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p:cNvSpPr/>
          <p:nvPr/>
        </p:nvSpPr>
        <p:spPr>
          <a:xfrm>
            <a:off x="4758840" y="1458000"/>
            <a:ext cx="18651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4137783139"/>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Schick Hydro 5 Blade Sensitive Refills 12 Pack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25</a:t>
            </a:fld>
            <a:endParaRPr lang="en-US"/>
          </a:p>
        </p:txBody>
      </p:sp>
      <p:sp>
        <p:nvSpPr>
          <p:cNvPr id="22" name="Rectangle 21"/>
          <p:cNvSpPr/>
          <p:nvPr/>
        </p:nvSpPr>
        <p:spPr>
          <a:xfrm>
            <a:off x="972000" y="1458000"/>
            <a:ext cx="5086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p:cNvSpPr/>
          <p:nvPr/>
        </p:nvSpPr>
        <p:spPr>
          <a:xfrm>
            <a:off x="1480680" y="1458000"/>
            <a:ext cx="15260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p:cNvSpPr/>
          <p:nvPr/>
        </p:nvSpPr>
        <p:spPr>
          <a:xfrm>
            <a:off x="3006720" y="1458000"/>
            <a:ext cx="36172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Tree>
    <p:extLst>
      <p:ext uri="{BB962C8B-B14F-4D97-AF65-F5344CB8AC3E}">
        <p14:creationId xmlns:p14="http://schemas.microsoft.com/office/powerpoint/2010/main" val="3318968035"/>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Schick Hydro 5 Blade Advanced Hydration Refills 6 Pack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26</a:t>
            </a:fld>
            <a:endParaRPr lang="en-US"/>
          </a:p>
        </p:txBody>
      </p:sp>
      <p:sp>
        <p:nvSpPr>
          <p:cNvPr id="22" name="Rectangle 21"/>
          <p:cNvSpPr/>
          <p:nvPr/>
        </p:nvSpPr>
        <p:spPr>
          <a:xfrm>
            <a:off x="972000" y="1458000"/>
            <a:ext cx="22608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p:cNvSpPr/>
          <p:nvPr/>
        </p:nvSpPr>
        <p:spPr>
          <a:xfrm>
            <a:off x="3232800" y="1458000"/>
            <a:ext cx="90432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p:cNvSpPr/>
          <p:nvPr/>
        </p:nvSpPr>
        <p:spPr>
          <a:xfrm>
            <a:off x="4137120" y="1458000"/>
            <a:ext cx="24868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2414182936"/>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Schick Hydro 5 Blade Chrome Refills 6 Pack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27</a:t>
            </a:fld>
            <a:endParaRPr lang="en-US"/>
          </a:p>
        </p:txBody>
      </p:sp>
      <p:sp>
        <p:nvSpPr>
          <p:cNvPr id="22" name="Rectangle 21"/>
          <p:cNvSpPr/>
          <p:nvPr/>
        </p:nvSpPr>
        <p:spPr>
          <a:xfrm>
            <a:off x="972000" y="1458000"/>
            <a:ext cx="22608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p:cNvSpPr/>
          <p:nvPr/>
        </p:nvSpPr>
        <p:spPr>
          <a:xfrm>
            <a:off x="3232800" y="1458000"/>
            <a:ext cx="33912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Tree>
    <p:extLst>
      <p:ext uri="{BB962C8B-B14F-4D97-AF65-F5344CB8AC3E}">
        <p14:creationId xmlns:p14="http://schemas.microsoft.com/office/powerpoint/2010/main" val="2153494266"/>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Schick Quattro Four Blade Refills 3 Pack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28</a:t>
            </a:fld>
            <a:endParaRPr lang="en-US"/>
          </a:p>
        </p:txBody>
      </p:sp>
      <p:sp>
        <p:nvSpPr>
          <p:cNvPr id="22" name="Rectangle 21"/>
          <p:cNvSpPr/>
          <p:nvPr/>
        </p:nvSpPr>
        <p:spPr>
          <a:xfrm>
            <a:off x="972000" y="1458000"/>
            <a:ext cx="56520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3625293731"/>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Schick Quattro Four Blade Refills 6 Pack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29</a:t>
            </a:fld>
            <a:endParaRPr lang="en-US"/>
          </a:p>
        </p:txBody>
      </p:sp>
      <p:sp>
        <p:nvSpPr>
          <p:cNvPr id="22" name="Rectangle 21"/>
          <p:cNvSpPr/>
          <p:nvPr/>
        </p:nvSpPr>
        <p:spPr>
          <a:xfrm>
            <a:off x="972000" y="1458000"/>
            <a:ext cx="231732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p:cNvSpPr/>
          <p:nvPr/>
        </p:nvSpPr>
        <p:spPr>
          <a:xfrm>
            <a:off x="3289320" y="1458000"/>
            <a:ext cx="16956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p:cNvSpPr/>
          <p:nvPr/>
        </p:nvSpPr>
        <p:spPr>
          <a:xfrm>
            <a:off x="4984920" y="1458000"/>
            <a:ext cx="2826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5" name="Rectangle 24"/>
          <p:cNvSpPr/>
          <p:nvPr/>
        </p:nvSpPr>
        <p:spPr>
          <a:xfrm>
            <a:off x="5267520" y="1458000"/>
            <a:ext cx="13564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175851002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Dispo (19.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Dispo (16.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b="1">
                          <a:latin typeface="Nexa Bold"/>
                        </a:defRPr>
                      </a:pPr>
                      <a:r>
                        <a:rPr sz="800">
                          <a:latin typeface="Nexa Bold"/>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rrys Razor (6.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Dispo (17.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Razor (1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rrys Blade (5.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Dispo (8.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b="1">
                          <a:latin typeface="Nexa Bold"/>
                        </a:defRPr>
                      </a:pPr>
                      <a:r>
                        <a:rPr sz="800">
                          <a:latin typeface="Nexa Bold"/>
                        </a:rPr>
                        <a:t>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Razor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Razor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Blade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Bic Dispo (16.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Equate Dispo (19.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Harrys Razor (6.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Gillette Dispo (17.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Gillette Razor (1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Harrys Blade (5.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Schick Razor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Schick Dispo (8.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Gillette Blade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Equate Razor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Dollar Shave Club Razor (2.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8/1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3</a:t>
            </a:fld>
            <a:endParaRPr lang="en-US"/>
          </a:p>
        </p:txBody>
      </p:sp>
    </p:spTree>
    <p:extLst>
      <p:ext uri="{BB962C8B-B14F-4D97-AF65-F5344CB8AC3E}">
        <p14:creationId xmlns:p14="http://schemas.microsoft.com/office/powerpoint/2010/main" val="1319385184"/>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Equate 5 Blades Blade Refills 4 Pack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30</a:t>
            </a:fld>
            <a:endParaRPr lang="en-US"/>
          </a:p>
        </p:txBody>
      </p:sp>
      <p:sp>
        <p:nvSpPr>
          <p:cNvPr id="22" name="Rectangle 21"/>
          <p:cNvSpPr/>
          <p:nvPr/>
        </p:nvSpPr>
        <p:spPr>
          <a:xfrm>
            <a:off x="972000" y="1458000"/>
            <a:ext cx="6782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1650240" y="1458000"/>
            <a:ext cx="7347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4" name="Rectangle 23"/>
          <p:cNvSpPr/>
          <p:nvPr/>
        </p:nvSpPr>
        <p:spPr>
          <a:xfrm>
            <a:off x="2385000" y="1458000"/>
            <a:ext cx="7347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5" name="Rectangle 24"/>
          <p:cNvSpPr/>
          <p:nvPr/>
        </p:nvSpPr>
        <p:spPr>
          <a:xfrm>
            <a:off x="3119760" y="1458000"/>
            <a:ext cx="35042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Tree>
    <p:extLst>
      <p:ext uri="{BB962C8B-B14F-4D97-AF65-F5344CB8AC3E}">
        <p14:creationId xmlns:p14="http://schemas.microsoft.com/office/powerpoint/2010/main" val="1025972911"/>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Equate Easy Fit 5 Blade Refills 4 Pack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31</a:t>
            </a:fld>
            <a:endParaRPr lang="en-US"/>
          </a:p>
        </p:txBody>
      </p:sp>
      <p:sp>
        <p:nvSpPr>
          <p:cNvPr id="22" name="Rectangle 21"/>
          <p:cNvSpPr/>
          <p:nvPr/>
        </p:nvSpPr>
        <p:spPr>
          <a:xfrm>
            <a:off x="972000" y="1458000"/>
            <a:ext cx="231732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p:cNvSpPr/>
          <p:nvPr/>
        </p:nvSpPr>
        <p:spPr>
          <a:xfrm>
            <a:off x="3289320" y="1458000"/>
            <a:ext cx="33346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Tree>
    <p:extLst>
      <p:ext uri="{BB962C8B-B14F-4D97-AF65-F5344CB8AC3E}">
        <p14:creationId xmlns:p14="http://schemas.microsoft.com/office/powerpoint/2010/main" val="2311102178"/>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Equate Easy Fit 5 Blade Refills 8 Pack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32</a:t>
            </a:fld>
            <a:endParaRPr lang="en-US"/>
          </a:p>
        </p:txBody>
      </p:sp>
      <p:sp>
        <p:nvSpPr>
          <p:cNvPr id="22" name="Rectangle 21"/>
          <p:cNvSpPr/>
          <p:nvPr/>
        </p:nvSpPr>
        <p:spPr>
          <a:xfrm>
            <a:off x="972000" y="1458000"/>
            <a:ext cx="21477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p:cNvSpPr/>
          <p:nvPr/>
        </p:nvSpPr>
        <p:spPr>
          <a:xfrm>
            <a:off x="3119760" y="1458000"/>
            <a:ext cx="35042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1863649707"/>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Equate Easy Fit 5 Blade Refills 12 Pack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33</a:t>
            </a:fld>
            <a:endParaRPr lang="en-US"/>
          </a:p>
        </p:txBody>
      </p:sp>
      <p:sp>
        <p:nvSpPr>
          <p:cNvPr id="22" name="Rectangle 21"/>
          <p:cNvSpPr/>
          <p:nvPr/>
        </p:nvSpPr>
        <p:spPr>
          <a:xfrm>
            <a:off x="972000" y="1458000"/>
            <a:ext cx="28260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p:cNvSpPr/>
          <p:nvPr/>
        </p:nvSpPr>
        <p:spPr>
          <a:xfrm>
            <a:off x="3798000" y="1458000"/>
            <a:ext cx="28260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Tree>
    <p:extLst>
      <p:ext uri="{BB962C8B-B14F-4D97-AF65-F5344CB8AC3E}">
        <p14:creationId xmlns:p14="http://schemas.microsoft.com/office/powerpoint/2010/main" val="2631963014"/>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D629C2B-4852-A793-BFFD-28711000BF4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8" name="think-cell data - do not delete" hidden="1">
                        <a:extLst>
                          <a:ext uri="{FF2B5EF4-FFF2-40B4-BE49-F238E27FC236}">
                            <a16:creationId xmlns:a16="http://schemas.microsoft.com/office/drawing/2014/main" id="{9D629C2B-4852-A793-BFFD-28711000BF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ooter Placeholder 10">
            <a:extLst>
              <a:ext uri="{FF2B5EF4-FFF2-40B4-BE49-F238E27FC236}">
                <a16:creationId xmlns:a16="http://schemas.microsoft.com/office/drawing/2014/main" id="{C809BD5A-F4AE-5909-2264-5CC4A0BF8FD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E312717C-5966-B03B-27B7-35239F65ADDF}"/>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Text Placeholder 5">
            <a:extLst>
              <a:ext uri="{FF2B5EF4-FFF2-40B4-BE49-F238E27FC236}">
                <a16:creationId xmlns:a16="http://schemas.microsoft.com/office/drawing/2014/main" id="{23E9FAE9-1172-D571-A43E-2A91A05992DD}"/>
              </a:ext>
            </a:extLst>
          </p:cNvPr>
          <p:cNvSpPr>
            <a:spLocks noGrp="1"/>
          </p:cNvSpPr>
          <p:nvPr>
            <p:ph type="body" sz="quarter" idx="18"/>
          </p:nvPr>
        </p:nvSpPr>
        <p:spPr>
          <a:xfrm>
            <a:off x="503238" y="774000"/>
            <a:ext cx="8136762" cy="360000"/>
          </a:xfrm>
        </p:spPr>
        <p:txBody>
          <a:bodyPr>
            <a:normAutofit/>
          </a:bodyPr>
          <a:lstStyle/>
          <a:p>
            <a:pPr>
              <a:defRPr sz="1200">
                <a:latin typeface="Nexa Bold (Headings)"/>
              </a:defRPr>
            </a:pPr>
            <a:r>
              <a:t>Size Elasticity | Walmart | Assumes no other products are changing prices or sizes</a:t>
            </a:r>
          </a:p>
        </p:txBody>
      </p:sp>
      <p:sp>
        <p:nvSpPr>
          <p:cNvPr id="7" name="Title 6">
            <a:extLst>
              <a:ext uri="{FF2B5EF4-FFF2-40B4-BE49-F238E27FC236}">
                <a16:creationId xmlns:a16="http://schemas.microsoft.com/office/drawing/2014/main" id="{41C70F53-EE5A-3FB3-C331-7B6C9CF93CED}"/>
              </a:ext>
            </a:extLst>
          </p:cNvPr>
          <p:cNvSpPr>
            <a:spLocks noGrp="1"/>
          </p:cNvSpPr>
          <p:nvPr>
            <p:ph type="title"/>
          </p:nvPr>
        </p:nvSpPr>
        <p:spPr>
          <a:xfrm>
            <a:off x="504000" y="-1"/>
            <a:ext cx="8136000" cy="771525"/>
          </a:xfrm>
          <a:noFill/>
        </p:spPr>
        <p:txBody>
          <a:bodyPr vert="horz"/>
          <a:lstStyle/>
          <a:p>
            <a:r>
              <a:rPr lang="en-GB" dirty="0">
                <a:highlight>
                  <a:srgbClr val="FFFF00"/>
                </a:highlight>
              </a:rPr>
              <a:t>SE Slide</a:t>
            </a:r>
            <a:r>
              <a:rPr lang="en-US" dirty="0">
                <a:highlight>
                  <a:srgbClr val="FFFF00"/>
                </a:highlight>
              </a:rPr>
              <a: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9" name="Table 8">
            <a:extLst>
              <a:ext uri="{FF2B5EF4-FFF2-40B4-BE49-F238E27FC236}">
                <a16:creationId xmlns:a16="http://schemas.microsoft.com/office/drawing/2014/main" id="{4B40E8EC-D33D-F88F-E7D8-15B0189EF613}"/>
              </a:ext>
            </a:extLst>
          </p:cNvPr>
          <p:cNvGraphicFramePr>
            <a:graphicFrameLocks noGrp="1"/>
          </p:cNvGraphicFramePr>
          <p:nvPr/>
        </p:nvGraphicFramePr>
        <p:xfrm>
          <a:off x="546970" y="1137285"/>
          <a:ext cx="8093792" cy="3464206"/>
        </p:xfrm>
        <a:graphic>
          <a:graphicData uri="http://schemas.openxmlformats.org/drawingml/2006/table">
            <a:tbl>
              <a:tblPr/>
              <a:tblGrid>
                <a:gridCol w="2259173">
                  <a:extLst>
                    <a:ext uri="{9D8B030D-6E8A-4147-A177-3AD203B41FA5}">
                      <a16:colId xmlns:a16="http://schemas.microsoft.com/office/drawing/2014/main" val="4140393679"/>
                    </a:ext>
                  </a:extLst>
                </a:gridCol>
                <a:gridCol w="648291">
                  <a:extLst>
                    <a:ext uri="{9D8B030D-6E8A-4147-A177-3AD203B41FA5}">
                      <a16:colId xmlns:a16="http://schemas.microsoft.com/office/drawing/2014/main" val="1116223135"/>
                    </a:ext>
                  </a:extLst>
                </a:gridCol>
                <a:gridCol w="648291">
                  <a:extLst>
                    <a:ext uri="{9D8B030D-6E8A-4147-A177-3AD203B41FA5}">
                      <a16:colId xmlns:a16="http://schemas.microsoft.com/office/drawing/2014/main" val="3791326800"/>
                    </a:ext>
                  </a:extLst>
                </a:gridCol>
                <a:gridCol w="648291">
                  <a:extLst>
                    <a:ext uri="{9D8B030D-6E8A-4147-A177-3AD203B41FA5}">
                      <a16:colId xmlns:a16="http://schemas.microsoft.com/office/drawing/2014/main" val="4065833276"/>
                    </a:ext>
                  </a:extLst>
                </a:gridCol>
                <a:gridCol w="648291">
                  <a:extLst>
                    <a:ext uri="{9D8B030D-6E8A-4147-A177-3AD203B41FA5}">
                      <a16:colId xmlns:a16="http://schemas.microsoft.com/office/drawing/2014/main" val="62708565"/>
                    </a:ext>
                  </a:extLst>
                </a:gridCol>
                <a:gridCol w="648291">
                  <a:extLst>
                    <a:ext uri="{9D8B030D-6E8A-4147-A177-3AD203B41FA5}">
                      <a16:colId xmlns:a16="http://schemas.microsoft.com/office/drawing/2014/main" val="31688122"/>
                    </a:ext>
                  </a:extLst>
                </a:gridCol>
                <a:gridCol w="648291">
                  <a:extLst>
                    <a:ext uri="{9D8B030D-6E8A-4147-A177-3AD203B41FA5}">
                      <a16:colId xmlns:a16="http://schemas.microsoft.com/office/drawing/2014/main" val="2454520991"/>
                    </a:ext>
                  </a:extLst>
                </a:gridCol>
                <a:gridCol w="648291">
                  <a:extLst>
                    <a:ext uri="{9D8B030D-6E8A-4147-A177-3AD203B41FA5}">
                      <a16:colId xmlns:a16="http://schemas.microsoft.com/office/drawing/2014/main" val="1148709605"/>
                    </a:ext>
                  </a:extLst>
                </a:gridCol>
                <a:gridCol w="648291">
                  <a:extLst>
                    <a:ext uri="{9D8B030D-6E8A-4147-A177-3AD203B41FA5}">
                      <a16:colId xmlns:a16="http://schemas.microsoft.com/office/drawing/2014/main" val="129273525"/>
                    </a:ext>
                  </a:extLst>
                </a:gridCol>
                <a:gridCol w="648291">
                  <a:extLst>
                    <a:ext uri="{9D8B030D-6E8A-4147-A177-3AD203B41FA5}">
                      <a16:colId xmlns:a16="http://schemas.microsoft.com/office/drawing/2014/main" val="654776367"/>
                    </a:ext>
                  </a:extLst>
                </a:gridCol>
              </a:tblGrid>
              <a:tr h="128649">
                <a:tc>
                  <a:txBody>
                    <a:bodyPr/>
                    <a:lstStyle/>
                    <a:p>
                      <a:pPr algn="l" fontAlgn="b"/>
                      <a:endParaRPr lang="en-US" sz="800" b="1" i="0" u="sng" strike="noStrike">
                        <a:solidFill>
                          <a:schemeClr val="tx1"/>
                        </a:solidFill>
                        <a:effectLst/>
                        <a:latin typeface="Nexa Bold" panose="00000800000000000000" pitchFamily="2" charset="0"/>
                      </a:endParaRPr>
                    </a:p>
                  </a:txBody>
                  <a:tcPr marL="1828" marR="1828" marT="1828"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a:noFill/>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6">
                  <a:txBody>
                    <a:bodyPr/>
                    <a:lstStyle/>
                    <a:p>
                      <a:pPr algn="ctr" fontAlgn="b"/>
                      <a:r>
                        <a:rPr lang="en-US" sz="800" b="1" i="0" u="none" strike="noStrike">
                          <a:solidFill>
                            <a:schemeClr val="tx1"/>
                          </a:solidFill>
                          <a:effectLst/>
                          <a:latin typeface="Nexa Bold" panose="00000800000000000000" pitchFamily="2" charset="0"/>
                        </a:rPr>
                        <a:t>Impact at product level</a:t>
                      </a:r>
                    </a:p>
                  </a:txBody>
                  <a:tcPr marL="1828" marR="1828" marT="1828" marB="0" anchor="b">
                    <a:lnL w="12700" cap="flat" cmpd="sng" algn="ctr">
                      <a:solidFill>
                        <a:schemeClr val="bg1"/>
                      </a:solid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CH"/>
                    </a:p>
                  </a:txBody>
                  <a:tcPr/>
                </a:tc>
                <a:tc hMerge="1">
                  <a:txBody>
                    <a:bodyPr/>
                    <a:lstStyle/>
                    <a:p>
                      <a:endParaRPr lang="en-CH"/>
                    </a:p>
                  </a:txBody>
                  <a:tcPr/>
                </a:tc>
                <a:tc hMerge="1">
                  <a:txBody>
                    <a:bodyPr/>
                    <a:lstStyle/>
                    <a:p>
                      <a:endParaRPr lang="en-AE"/>
                    </a:p>
                  </a:txBody>
                  <a:tcPr/>
                </a:tc>
                <a:tc hMerge="1">
                  <a:txBody>
                    <a:bodyPr/>
                    <a:lstStyle/>
                    <a:p>
                      <a:endParaRPr lang="en-CH"/>
                    </a:p>
                  </a:txBody>
                  <a:tcPr/>
                </a:tc>
                <a:tc hMerge="1">
                  <a:txBody>
                    <a:bodyPr/>
                    <a:lstStyle/>
                    <a:p>
                      <a:pPr algn="ctr" fontAlgn="b"/>
                      <a:r>
                        <a:rPr lang="en-CH" sz="900" b="1" i="0" u="none" strike="noStrike">
                          <a:solidFill>
                            <a:srgbClr val="000000"/>
                          </a:solidFill>
                          <a:effectLst/>
                          <a:latin typeface="+mj-lt"/>
                        </a:rPr>
                        <a:t> </a:t>
                      </a:r>
                    </a:p>
                  </a:txBody>
                  <a:tcPr marL="1828" marR="1828" marT="1828" marB="0" anchor="b">
                    <a:lnL w="63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3974451"/>
                  </a:ext>
                </a:extLst>
              </a:tr>
              <a:tr h="255397">
                <a:tc>
                  <a:txBody>
                    <a:bodyPr/>
                    <a:lstStyle/>
                    <a:p>
                      <a:pPr algn="ctr" rtl="0" fontAlgn="ctr"/>
                      <a:r>
                        <a:rPr lang="en-US" sz="800" b="0" i="0" u="none" strike="noStrike">
                          <a:solidFill>
                            <a:srgbClr val="575555"/>
                          </a:solidFill>
                          <a:effectLst/>
                          <a:latin typeface="Nexa Bold" panose="00000800000000000000" pitchFamily="2" charset="0"/>
                        </a:rPr>
                        <a:t>Product</a:t>
                      </a:r>
                    </a:p>
                  </a:txBody>
                  <a:tcPr marL="1828" marR="1828" marT="1828" marB="0">
                    <a:lnL>
                      <a:noFill/>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Base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New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Change</a:t>
                      </a:r>
                    </a:p>
                  </a:txBody>
                  <a:tcPr marL="1828" marR="1828" marT="1828" marB="0">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Volum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Revenu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Gross Profit</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a:t>
                      </a:r>
                    </a:p>
                    <a:p>
                      <a:pPr algn="ctr" rtl="0" fontAlgn="ctr"/>
                      <a:r>
                        <a:rPr lang="en-US" sz="800" b="0" i="0" u="none" strike="noStrike">
                          <a:solidFill>
                            <a:srgbClr val="575555"/>
                          </a:solidFill>
                          <a:effectLst/>
                          <a:latin typeface="Nexa Bold" panose="00000800000000000000" pitchFamily="2" charset="0"/>
                        </a:rPr>
                        <a:t>Elasticity</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CD P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49" rtl="0" eaLnBrk="1" fontAlgn="ctr" latinLnBrk="0" hangingPunct="1">
                        <a:lnSpc>
                          <a:spcPct val="100000"/>
                        </a:lnSpc>
                        <a:spcBef>
                          <a:spcPts val="0"/>
                        </a:spcBef>
                        <a:spcAft>
                          <a:spcPts val="0"/>
                        </a:spcAft>
                        <a:buClrTx/>
                        <a:buSzTx/>
                        <a:buFontTx/>
                        <a:buNone/>
                        <a:tabLst/>
                        <a:defRPr/>
                      </a:pPr>
                      <a:r>
                        <a:rPr lang="en-US" sz="800" b="0" i="0" u="none" strike="noStrike">
                          <a:solidFill>
                            <a:srgbClr val="575555"/>
                          </a:solidFill>
                          <a:effectLst/>
                          <a:latin typeface="Nexa Bold" panose="00000800000000000000" pitchFamily="2" charset="0"/>
                        </a:rPr>
                        <a:t>PCD PE</a:t>
                      </a:r>
                    </a:p>
                  </a:txBody>
                  <a:tcPr marL="1828" marR="1828" marT="1828" marB="0">
                    <a:lnL w="190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5018296"/>
                  </a:ext>
                </a:extLst>
              </a:tr>
              <a:tr h="154008">
                <a:tc>
                  <a:txBody>
                    <a:bodyPr/>
                    <a:lstStyle/>
                    <a:p>
                      <a:pPr algn="l">
                        <a:defRPr sz="600" b="1">
                          <a:latin typeface="Nexa Bold"/>
                        </a:defRPr>
                      </a:pPr>
                      <a:r>
                        <a:rPr sz="600">
                          <a:latin typeface="Nexa Bold"/>
                        </a:rPr>
                        <a:t>Schick Xtreme 2 Sensitive Disposable Razors 12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3%</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58.7</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6.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5.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5625324"/>
                  </a:ext>
                </a:extLst>
              </a:tr>
              <a:tr h="154008">
                <a:tc>
                  <a:txBody>
                    <a:bodyPr/>
                    <a:lstStyle/>
                    <a:p>
                      <a:pPr algn="l">
                        <a:defRPr sz="600" b="1">
                          <a:latin typeface="Nexa Bold"/>
                        </a:defRPr>
                      </a:pPr>
                      <a:r>
                        <a:rPr sz="600">
                          <a:latin typeface="Nexa Bold"/>
                        </a:rPr>
                        <a:t>Schick Xtreme 2 Sensitive Disposable Razors 12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6%</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21.4</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5.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9.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6</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32854860"/>
                  </a:ext>
                </a:extLst>
              </a:tr>
              <a:tr h="154008">
                <a:tc>
                  <a:txBody>
                    <a:bodyPr/>
                    <a:lstStyle/>
                    <a:p>
                      <a:pPr algn="l">
                        <a:defRPr sz="600" b="1">
                          <a:latin typeface="Nexa Bold"/>
                        </a:defRPr>
                      </a:pPr>
                      <a:r>
                        <a:rPr sz="600">
                          <a:latin typeface="Nexa Bold"/>
                        </a:rPr>
                        <a:t>Schick Xtreme 2 Sensitive Disposable Razors 24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2.4</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9.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2.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76060726"/>
                  </a:ext>
                </a:extLst>
              </a:tr>
              <a:tr h="154008">
                <a:tc>
                  <a:txBody>
                    <a:bodyPr/>
                    <a:lstStyle/>
                    <a:p>
                      <a:pPr algn="l">
                        <a:defRPr sz="600" b="1">
                          <a:latin typeface="Nexa Bold"/>
                        </a:defRPr>
                      </a:pPr>
                      <a:r>
                        <a:rPr sz="600">
                          <a:latin typeface="Nexa Bold"/>
                        </a:rPr>
                        <a:t>Schick Xtreme 2 Sensitive Disposable Razors 24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12.8</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4.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1.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5</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3054186"/>
                  </a:ext>
                </a:extLst>
              </a:tr>
              <a:tr h="154008">
                <a:tc>
                  <a:txBody>
                    <a:bodyPr/>
                    <a:lstStyle/>
                    <a:p>
                      <a:pPr algn="l">
                        <a:defRPr sz="600" b="1">
                          <a:latin typeface="Nexa Bold"/>
                        </a:defRPr>
                      </a:pPr>
                      <a:r>
                        <a:rPr sz="600">
                          <a:latin typeface="Nexa Bold"/>
                        </a:rPr>
                        <a:t>Schick Xtreme 5 Sensitive Disposable Razors 2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5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54.8</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3.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7.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64636"/>
                  </a:ext>
                </a:extLst>
              </a:tr>
              <a:tr h="154008">
                <a:tc>
                  <a:txBody>
                    <a:bodyPr/>
                    <a:lstStyle/>
                    <a:p>
                      <a:pPr algn="l">
                        <a:defRPr sz="600" b="1">
                          <a:latin typeface="Nexa Bold"/>
                        </a:defRPr>
                      </a:pPr>
                      <a:r>
                        <a:rPr sz="600">
                          <a:latin typeface="Nexa Bold"/>
                        </a:rPr>
                        <a:t>Schick Xtreme 5 Sensitive Disposable Razors 4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5%</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0.9</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4.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6.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7</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1878489"/>
                  </a:ext>
                </a:extLst>
              </a:tr>
              <a:tr h="154008">
                <a:tc>
                  <a:txBody>
                    <a:bodyPr/>
                    <a:lstStyle/>
                    <a:p>
                      <a:pPr algn="l">
                        <a:defRPr sz="600" b="1">
                          <a:latin typeface="Nexa Bold"/>
                        </a:defRPr>
                      </a:pPr>
                      <a:r>
                        <a:rPr sz="600">
                          <a:latin typeface="Nexa Bold"/>
                        </a:rPr>
                        <a:t>Schick Xtreme 5 Sensitive Disposable Razors 4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5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0.7</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7.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9.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3</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9221768"/>
                  </a:ext>
                </a:extLst>
              </a:tr>
              <a:tr h="154008">
                <a:tc>
                  <a:txBody>
                    <a:bodyPr/>
                    <a:lstStyle/>
                    <a:p>
                      <a:pPr algn="l">
                        <a:defRPr sz="600" b="1">
                          <a:latin typeface="Nexa Bold"/>
                        </a:defRPr>
                      </a:pPr>
                      <a:r>
                        <a:rPr sz="600">
                          <a:latin typeface="Nexa Bold"/>
                        </a:rPr>
                        <a:t>Schick Xtreme 5 Sensitive Disposable Razors 8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4.2</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6.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1.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5</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27617514"/>
                  </a:ext>
                </a:extLst>
              </a:tr>
              <a:tr h="154008">
                <a:tc>
                  <a:txBody>
                    <a:bodyPr/>
                    <a:lstStyle/>
                    <a:p>
                      <a:pPr algn="l">
                        <a:defRPr sz="600" b="1">
                          <a:latin typeface="Nexa Bold"/>
                        </a:defRPr>
                      </a:pPr>
                      <a:r>
                        <a:rPr sz="600">
                          <a:latin typeface="Nexa Bold"/>
                        </a:rPr>
                        <a:t>Schick Xtreme 5 Sensitive Disposable Razors 8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5%</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2.8</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6.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5.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83773987"/>
                  </a:ext>
                </a:extLst>
              </a:tr>
              <a:tr h="154008">
                <a:tc>
                  <a:txBody>
                    <a:bodyPr/>
                    <a:lstStyle/>
                    <a:p>
                      <a:pPr algn="l">
                        <a:defRPr sz="600" b="1">
                          <a:latin typeface="Nexa Bold"/>
                        </a:defRPr>
                      </a:pPr>
                      <a:r>
                        <a:rPr sz="600">
                          <a:latin typeface="Nexa Bold"/>
                        </a:rPr>
                        <a:t>Schick Xtreme 3 Sensitive Disposable Razors 4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5%</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3.3</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7.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2.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7031365"/>
                  </a:ext>
                </a:extLst>
              </a:tr>
              <a:tr h="154008">
                <a:tc>
                  <a:txBody>
                    <a:bodyPr/>
                    <a:lstStyle/>
                    <a:p>
                      <a:pPr algn="l">
                        <a:defRPr sz="600" b="1">
                          <a:latin typeface="Nexa Bold"/>
                        </a:defRPr>
                      </a:pPr>
                      <a:r>
                        <a:rPr sz="600">
                          <a:latin typeface="Nexa Bold"/>
                        </a:rPr>
                        <a:t>Schick Xtreme 3 Sensitive Disposable Razors 8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5%</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69.2</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1.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8.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68395180"/>
                  </a:ext>
                </a:extLst>
              </a:tr>
              <a:tr h="154008">
                <a:tc>
                  <a:txBody>
                    <a:bodyPr/>
                    <a:lstStyle/>
                    <a:p>
                      <a:pPr algn="l">
                        <a:defRPr sz="600" b="1">
                          <a:latin typeface="Nexa Bold"/>
                        </a:defRPr>
                      </a:pPr>
                      <a:r>
                        <a:rPr sz="600">
                          <a:latin typeface="Nexa Bold"/>
                        </a:rPr>
                        <a:t>Schick Xtreme 3 Sensitive Disposable Razors 8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5%</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8.7</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3.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5.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7</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8937280"/>
                  </a:ext>
                </a:extLst>
              </a:tr>
              <a:tr h="154008">
                <a:tc>
                  <a:txBody>
                    <a:bodyPr/>
                    <a:lstStyle/>
                    <a:p>
                      <a:pPr algn="l">
                        <a:defRPr sz="600" b="1">
                          <a:latin typeface="Nexa Bold"/>
                        </a:defRPr>
                      </a:pPr>
                      <a:r>
                        <a:rPr sz="600">
                          <a:latin typeface="Nexa Bold"/>
                        </a:rPr>
                        <a:t>Schick Xtreme 3 Sensitive Disposable Razors 12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5%</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8.2</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1.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3</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48100420"/>
                  </a:ext>
                </a:extLst>
              </a:tr>
              <a:tr h="154008">
                <a:tc>
                  <a:txBody>
                    <a:bodyPr/>
                    <a:lstStyle/>
                    <a:p>
                      <a:pPr algn="l">
                        <a:defRPr sz="600" b="1">
                          <a:latin typeface="Nexa Bold"/>
                        </a:defRPr>
                      </a:pPr>
                      <a:r>
                        <a:rPr sz="600">
                          <a:latin typeface="Nexa Bold"/>
                        </a:rPr>
                        <a:t>Schick Xtreme 3 Body &amp; Groin Disposable Razors 3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3%</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63.0</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4.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7.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5691372"/>
                  </a:ext>
                </a:extLst>
              </a:tr>
              <a:tr h="154008">
                <a:tc>
                  <a:txBody>
                    <a:bodyPr/>
                    <a:lstStyle/>
                    <a:p>
                      <a:pPr algn="l">
                        <a:defRPr sz="600" b="1">
                          <a:latin typeface="Nexa Bold"/>
                        </a:defRPr>
                      </a:pPr>
                      <a:r>
                        <a:rPr sz="600">
                          <a:latin typeface="Nexa Bold"/>
                        </a:rPr>
                        <a:t>Schick Xtreme 3 Body &amp; Groin Disposable Razors 3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3%</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6.6</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2.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7.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7534962"/>
                  </a:ext>
                </a:extLst>
              </a:tr>
              <a:tr h="154008">
                <a:tc>
                  <a:txBody>
                    <a:bodyPr/>
                    <a:lstStyle/>
                    <a:p>
                      <a:pPr algn="l">
                        <a:defRPr sz="600" b="1">
                          <a:latin typeface="Nexa Bold"/>
                        </a:defRPr>
                      </a:pPr>
                      <a:r>
                        <a:rPr sz="600">
                          <a:latin typeface="Nexa Bold"/>
                        </a:rPr>
                        <a:t>Schick Hydro 5 Ultimate Comfort Disposable Razors 3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3%</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62.2</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3.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1.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4951046"/>
                  </a:ext>
                </a:extLst>
              </a:tr>
              <a:tr h="154008">
                <a:tc>
                  <a:txBody>
                    <a:bodyPr/>
                    <a:lstStyle/>
                    <a:p>
                      <a:pPr algn="l">
                        <a:defRPr sz="600" b="1">
                          <a:latin typeface="Nexa Bold"/>
                        </a:defRPr>
                      </a:pPr>
                      <a:r>
                        <a:rPr sz="600">
                          <a:latin typeface="Nexa Bold"/>
                        </a:rPr>
                        <a:t>Schick Hydro 5 Ultimate Comfort Disposable Razors 3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3%</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6.3</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2.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2.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5496451"/>
                  </a:ext>
                </a:extLst>
              </a:tr>
              <a:tr h="154008">
                <a:tc>
                  <a:txBody>
                    <a:bodyPr/>
                    <a:lstStyle/>
                    <a:p>
                      <a:pPr algn="l">
                        <a:defRPr sz="600" b="1">
                          <a:latin typeface="Nexa Bold"/>
                        </a:defRPr>
                      </a:pPr>
                      <a:r>
                        <a:rPr sz="600">
                          <a:latin typeface="Nexa Bold"/>
                        </a:rPr>
                        <a:t>Schick First 4 Blade Disposable Razors 3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3%</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63.3</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4.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8.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9691915"/>
                  </a:ext>
                </a:extLst>
              </a:tr>
              <a:tr h="154008">
                <a:tc>
                  <a:txBody>
                    <a:bodyPr/>
                    <a:lstStyle/>
                    <a:p>
                      <a:pPr algn="l">
                        <a:defRPr sz="600" b="1">
                          <a:latin typeface="Nexa Bold"/>
                        </a:defRPr>
                      </a:pPr>
                      <a:r>
                        <a:rPr sz="600">
                          <a:latin typeface="Nexa Bold"/>
                        </a:rPr>
                        <a:t>Schick First 4 Blade Disposable Razors 3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3%</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7.2</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3.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7.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5</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2548285"/>
                  </a:ext>
                </a:extLst>
              </a:tr>
              <a:tr h="154008">
                <a:tc>
                  <a:txBody>
                    <a:bodyPr/>
                    <a:lstStyle/>
                    <a:p>
                      <a:pPr algn="l">
                        <a:defRPr sz="600" b="1">
                          <a:latin typeface="Nexa Bold"/>
                        </a:defRPr>
                      </a:pPr>
                      <a:r>
                        <a:rPr sz="600">
                          <a:latin typeface="Nexa Bold"/>
                        </a:rPr>
                        <a:t>Schick Hydro 3 Blade Ultra Sensitive 1 Handle + 4 Cartridges</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5%</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67.5</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4.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4</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2217481"/>
                  </a:ext>
                </a:extLst>
              </a:tr>
            </a:tbl>
          </a:graphicData>
        </a:graphic>
      </p:graphicFrame>
      <mc:AlternateContent xmlns:mc="http://schemas.openxmlformats.org/markup-compatibility/2006">
        <mc:Choice xmlns:a14="http://schemas.microsoft.com/office/drawing/2010/main" Requires="a14">
          <p:sp>
            <p:nvSpPr>
              <p:cNvPr id="15" name="TextBox 14">
                <a:extLst>
                  <a:ext uri="{FF2B5EF4-FFF2-40B4-BE49-F238E27FC236}">
                    <a16:creationId xmlns:a16="http://schemas.microsoft.com/office/drawing/2014/main" id="{0435653C-1939-699E-AE30-F311ED3D5C0A}"/>
                  </a:ext>
                </a:extLst>
              </p:cNvPr>
              <p:cNvSpPr txBox="1"/>
              <p:nvPr/>
            </p:nvSpPr>
            <p:spPr>
              <a:xfrm>
                <a:off x="2223435" y="4626106"/>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1013"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5" name="TextBox 14">
                <a:extLst>
                  <a:ext uri="{FF2B5EF4-FFF2-40B4-BE49-F238E27FC236}">
                    <a16:creationId xmlns:a16="http://schemas.microsoft.com/office/drawing/2014/main" id="{0435653C-1939-699E-AE30-F311ED3D5C0A}"/>
                  </a:ext>
                </a:extLst>
              </p:cNvPr>
              <p:cNvSpPr txBox="1">
                <a:spLocks noRot="1" noChangeAspect="1" noMove="1" noResize="1" noEditPoints="1" noAdjustHandles="1" noChangeArrowheads="1" noChangeShapeType="1" noTextEdit="1"/>
              </p:cNvSpPr>
              <p:nvPr/>
            </p:nvSpPr>
            <p:spPr>
              <a:xfrm>
                <a:off x="2223435" y="4626106"/>
                <a:ext cx="3492000" cy="216000"/>
              </a:xfrm>
              <a:prstGeom prst="rect">
                <a:avLst/>
              </a:prstGeom>
              <a:blipFill>
                <a:blip r:embed="rId5"/>
                <a:stretch>
                  <a:fillRect t="-5714" b="-20000"/>
                </a:stretch>
              </a:blipFill>
              <a:ln>
                <a:noFill/>
              </a:ln>
            </p:spPr>
            <p:txBody>
              <a:bodyPr/>
              <a:lstStyle/>
              <a:p>
                <a:r>
                  <a:rPr lang="en-CH">
                    <a:noFill/>
                  </a:rPr>
                  <a:t> </a:t>
                </a:r>
              </a:p>
            </p:txBody>
          </p:sp>
        </mc:Fallback>
      </mc:AlternateContent>
      <mc:AlternateContent xmlns:mc="http://schemas.openxmlformats.org/markup-compatibility/2006">
        <mc:Choice xmlns:a14="http://schemas.microsoft.com/office/drawing/2010/main" Requires="a14">
          <p:sp>
            <p:nvSpPr>
              <p:cNvPr id="17" name="TextBox 16">
                <a:extLst>
                  <a:ext uri="{FF2B5EF4-FFF2-40B4-BE49-F238E27FC236}">
                    <a16:creationId xmlns:a16="http://schemas.microsoft.com/office/drawing/2014/main" id="{618D05B6-EB34-41CC-89DF-6DC6A920D559}"/>
                  </a:ext>
                </a:extLst>
              </p:cNvPr>
              <p:cNvSpPr txBox="1"/>
              <p:nvPr/>
            </p:nvSpPr>
            <p:spPr>
              <a:xfrm>
                <a:off x="2223435" y="4866727"/>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700"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7" name="TextBox 16">
                <a:extLst>
                  <a:ext uri="{FF2B5EF4-FFF2-40B4-BE49-F238E27FC236}">
                    <a16:creationId xmlns:a16="http://schemas.microsoft.com/office/drawing/2014/main" id="{618D05B6-EB34-41CC-89DF-6DC6A920D559}"/>
                  </a:ext>
                </a:extLst>
              </p:cNvPr>
              <p:cNvSpPr txBox="1">
                <a:spLocks noRot="1" noChangeAspect="1" noMove="1" noResize="1" noEditPoints="1" noAdjustHandles="1" noChangeArrowheads="1" noChangeShapeType="1" noTextEdit="1"/>
              </p:cNvSpPr>
              <p:nvPr/>
            </p:nvSpPr>
            <p:spPr>
              <a:xfrm>
                <a:off x="2223435" y="4866727"/>
                <a:ext cx="3492000" cy="216000"/>
              </a:xfrm>
              <a:prstGeom prst="rect">
                <a:avLst/>
              </a:prstGeom>
              <a:blipFill>
                <a:blip r:embed="rId6"/>
                <a:stretch>
                  <a:fillRect l="-873" t="-5556" r="-1047" b="-19444"/>
                </a:stretch>
              </a:blipFill>
              <a:ln>
                <a:noFill/>
              </a:ln>
            </p:spPr>
            <p:txBody>
              <a:bodyPr/>
              <a:lstStyle/>
              <a:p>
                <a:r>
                  <a:rPr lang="en-CH">
                    <a:noFill/>
                  </a:rPr>
                  <a:t> </a:t>
                </a:r>
              </a:p>
            </p:txBody>
          </p:sp>
        </mc:Fallback>
      </mc:AlternateContent>
      <p:sp>
        <p:nvSpPr>
          <p:cNvPr id="3" name="Date Placeholder 2">
            <a:extLst>
              <a:ext uri="{FF2B5EF4-FFF2-40B4-BE49-F238E27FC236}">
                <a16:creationId xmlns:a16="http://schemas.microsoft.com/office/drawing/2014/main" id="{C031E1F3-7E84-886A-BCBF-290FEA70D5A8}"/>
              </a:ext>
            </a:extLst>
          </p:cNvPr>
          <p:cNvSpPr>
            <a:spLocks noGrp="1"/>
          </p:cNvSpPr>
          <p:nvPr>
            <p:ph type="dt" sz="half" idx="14"/>
          </p:nvPr>
        </p:nvSpPr>
        <p:spPr/>
        <p:txBody>
          <a:bodyPr/>
          <a:lstStyle/>
          <a:p>
            <a:fld id="{BB002644-2D98-4E85-9606-3F7EA2621739}" type="datetime1">
              <a:rPr lang="en-US" smtClean="0"/>
              <a:t>8/15/2025</a:t>
            </a:fld>
            <a:endParaRPr lang="en-US"/>
          </a:p>
        </p:txBody>
      </p:sp>
      <p:sp>
        <p:nvSpPr>
          <p:cNvPr id="4" name="Slide Number Placeholder 3">
            <a:extLst>
              <a:ext uri="{FF2B5EF4-FFF2-40B4-BE49-F238E27FC236}">
                <a16:creationId xmlns:a16="http://schemas.microsoft.com/office/drawing/2014/main" id="{8BA7F6E9-39B9-4EF4-DBEF-296E442DC80A}"/>
              </a:ext>
            </a:extLst>
          </p:cNvPr>
          <p:cNvSpPr>
            <a:spLocks noGrp="1"/>
          </p:cNvSpPr>
          <p:nvPr>
            <p:ph type="sldNum" sz="quarter" idx="16"/>
          </p:nvPr>
        </p:nvSpPr>
        <p:spPr/>
        <p:txBody>
          <a:bodyPr/>
          <a:lstStyle/>
          <a:p>
            <a:fld id="{7B1F438D-4EAF-094E-9162-80CF3EF77236}" type="slidenum">
              <a:rPr lang="en-US" smtClean="0"/>
              <a:pPr/>
              <a:t>134</a:t>
            </a:fld>
            <a:endParaRPr lang="en-US"/>
          </a:p>
        </p:txBody>
      </p:sp>
    </p:spTree>
    <p:extLst>
      <p:ext uri="{BB962C8B-B14F-4D97-AF65-F5344CB8AC3E}">
        <p14:creationId xmlns:p14="http://schemas.microsoft.com/office/powerpoint/2010/main" val="2216929122"/>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D629C2B-4852-A793-BFFD-28711000BF4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8" name="think-cell data - do not delete" hidden="1">
                        <a:extLst>
                          <a:ext uri="{FF2B5EF4-FFF2-40B4-BE49-F238E27FC236}">
                            <a16:creationId xmlns:a16="http://schemas.microsoft.com/office/drawing/2014/main" id="{9D629C2B-4852-A793-BFFD-28711000BF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ooter Placeholder 10">
            <a:extLst>
              <a:ext uri="{FF2B5EF4-FFF2-40B4-BE49-F238E27FC236}">
                <a16:creationId xmlns:a16="http://schemas.microsoft.com/office/drawing/2014/main" id="{C809BD5A-F4AE-5909-2264-5CC4A0BF8FD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E312717C-5966-B03B-27B7-35239F65ADDF}"/>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Text Placeholder 5">
            <a:extLst>
              <a:ext uri="{FF2B5EF4-FFF2-40B4-BE49-F238E27FC236}">
                <a16:creationId xmlns:a16="http://schemas.microsoft.com/office/drawing/2014/main" id="{23E9FAE9-1172-D571-A43E-2A91A05992DD}"/>
              </a:ext>
            </a:extLst>
          </p:cNvPr>
          <p:cNvSpPr>
            <a:spLocks noGrp="1"/>
          </p:cNvSpPr>
          <p:nvPr>
            <p:ph type="body" sz="quarter" idx="18"/>
          </p:nvPr>
        </p:nvSpPr>
        <p:spPr>
          <a:xfrm>
            <a:off x="503238" y="774000"/>
            <a:ext cx="8136762" cy="360000"/>
          </a:xfrm>
        </p:spPr>
        <p:txBody>
          <a:bodyPr>
            <a:normAutofit/>
          </a:bodyPr>
          <a:lstStyle/>
          <a:p>
            <a:pPr>
              <a:defRPr sz="1200">
                <a:latin typeface="Nexa Bold (Headings)"/>
              </a:defRPr>
            </a:pPr>
            <a:r>
              <a:t>Size Elasticity | Walmart | Assumes no other products are changing prices or sizes</a:t>
            </a:r>
          </a:p>
        </p:txBody>
      </p:sp>
      <p:sp>
        <p:nvSpPr>
          <p:cNvPr id="7" name="Title 6">
            <a:extLst>
              <a:ext uri="{FF2B5EF4-FFF2-40B4-BE49-F238E27FC236}">
                <a16:creationId xmlns:a16="http://schemas.microsoft.com/office/drawing/2014/main" id="{41C70F53-EE5A-3FB3-C331-7B6C9CF93CED}"/>
              </a:ext>
            </a:extLst>
          </p:cNvPr>
          <p:cNvSpPr>
            <a:spLocks noGrp="1"/>
          </p:cNvSpPr>
          <p:nvPr>
            <p:ph type="title"/>
          </p:nvPr>
        </p:nvSpPr>
        <p:spPr>
          <a:xfrm>
            <a:off x="504000" y="-1"/>
            <a:ext cx="8136000" cy="771525"/>
          </a:xfrm>
          <a:noFill/>
        </p:spPr>
        <p:txBody>
          <a:bodyPr vert="horz"/>
          <a:lstStyle/>
          <a:p>
            <a:r>
              <a:rPr lang="en-GB" dirty="0">
                <a:highlight>
                  <a:srgbClr val="FFFF00"/>
                </a:highlight>
              </a:rPr>
              <a:t>SE Slide</a:t>
            </a:r>
            <a:r>
              <a:rPr lang="en-US" dirty="0">
                <a:highlight>
                  <a:srgbClr val="FFFF00"/>
                </a:highlight>
              </a:rPr>
              <a: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9" name="Table 8">
            <a:extLst>
              <a:ext uri="{FF2B5EF4-FFF2-40B4-BE49-F238E27FC236}">
                <a16:creationId xmlns:a16="http://schemas.microsoft.com/office/drawing/2014/main" id="{4B40E8EC-D33D-F88F-E7D8-15B0189EF613}"/>
              </a:ext>
            </a:extLst>
          </p:cNvPr>
          <p:cNvGraphicFramePr>
            <a:graphicFrameLocks noGrp="1"/>
          </p:cNvGraphicFramePr>
          <p:nvPr/>
        </p:nvGraphicFramePr>
        <p:xfrm>
          <a:off x="546970" y="1137285"/>
          <a:ext cx="8093792" cy="3464206"/>
        </p:xfrm>
        <a:graphic>
          <a:graphicData uri="http://schemas.openxmlformats.org/drawingml/2006/table">
            <a:tbl>
              <a:tblPr/>
              <a:tblGrid>
                <a:gridCol w="2259173">
                  <a:extLst>
                    <a:ext uri="{9D8B030D-6E8A-4147-A177-3AD203B41FA5}">
                      <a16:colId xmlns:a16="http://schemas.microsoft.com/office/drawing/2014/main" val="4140393679"/>
                    </a:ext>
                  </a:extLst>
                </a:gridCol>
                <a:gridCol w="648291">
                  <a:extLst>
                    <a:ext uri="{9D8B030D-6E8A-4147-A177-3AD203B41FA5}">
                      <a16:colId xmlns:a16="http://schemas.microsoft.com/office/drawing/2014/main" val="1116223135"/>
                    </a:ext>
                  </a:extLst>
                </a:gridCol>
                <a:gridCol w="648291">
                  <a:extLst>
                    <a:ext uri="{9D8B030D-6E8A-4147-A177-3AD203B41FA5}">
                      <a16:colId xmlns:a16="http://schemas.microsoft.com/office/drawing/2014/main" val="3791326800"/>
                    </a:ext>
                  </a:extLst>
                </a:gridCol>
                <a:gridCol w="648291">
                  <a:extLst>
                    <a:ext uri="{9D8B030D-6E8A-4147-A177-3AD203B41FA5}">
                      <a16:colId xmlns:a16="http://schemas.microsoft.com/office/drawing/2014/main" val="4065833276"/>
                    </a:ext>
                  </a:extLst>
                </a:gridCol>
                <a:gridCol w="648291">
                  <a:extLst>
                    <a:ext uri="{9D8B030D-6E8A-4147-A177-3AD203B41FA5}">
                      <a16:colId xmlns:a16="http://schemas.microsoft.com/office/drawing/2014/main" val="62708565"/>
                    </a:ext>
                  </a:extLst>
                </a:gridCol>
                <a:gridCol w="648291">
                  <a:extLst>
                    <a:ext uri="{9D8B030D-6E8A-4147-A177-3AD203B41FA5}">
                      <a16:colId xmlns:a16="http://schemas.microsoft.com/office/drawing/2014/main" val="31688122"/>
                    </a:ext>
                  </a:extLst>
                </a:gridCol>
                <a:gridCol w="648291">
                  <a:extLst>
                    <a:ext uri="{9D8B030D-6E8A-4147-A177-3AD203B41FA5}">
                      <a16:colId xmlns:a16="http://schemas.microsoft.com/office/drawing/2014/main" val="2454520991"/>
                    </a:ext>
                  </a:extLst>
                </a:gridCol>
                <a:gridCol w="648291">
                  <a:extLst>
                    <a:ext uri="{9D8B030D-6E8A-4147-A177-3AD203B41FA5}">
                      <a16:colId xmlns:a16="http://schemas.microsoft.com/office/drawing/2014/main" val="1148709605"/>
                    </a:ext>
                  </a:extLst>
                </a:gridCol>
                <a:gridCol w="648291">
                  <a:extLst>
                    <a:ext uri="{9D8B030D-6E8A-4147-A177-3AD203B41FA5}">
                      <a16:colId xmlns:a16="http://schemas.microsoft.com/office/drawing/2014/main" val="129273525"/>
                    </a:ext>
                  </a:extLst>
                </a:gridCol>
                <a:gridCol w="648291">
                  <a:extLst>
                    <a:ext uri="{9D8B030D-6E8A-4147-A177-3AD203B41FA5}">
                      <a16:colId xmlns:a16="http://schemas.microsoft.com/office/drawing/2014/main" val="654776367"/>
                    </a:ext>
                  </a:extLst>
                </a:gridCol>
              </a:tblGrid>
              <a:tr h="128649">
                <a:tc>
                  <a:txBody>
                    <a:bodyPr/>
                    <a:lstStyle/>
                    <a:p>
                      <a:pPr algn="l" fontAlgn="b"/>
                      <a:endParaRPr lang="en-US" sz="800" b="1" i="0" u="sng" strike="noStrike">
                        <a:solidFill>
                          <a:schemeClr val="tx1"/>
                        </a:solidFill>
                        <a:effectLst/>
                        <a:latin typeface="Nexa Bold" panose="00000800000000000000" pitchFamily="2" charset="0"/>
                      </a:endParaRPr>
                    </a:p>
                  </a:txBody>
                  <a:tcPr marL="1828" marR="1828" marT="1828"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a:noFill/>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6">
                  <a:txBody>
                    <a:bodyPr/>
                    <a:lstStyle/>
                    <a:p>
                      <a:pPr algn="ctr" fontAlgn="b"/>
                      <a:r>
                        <a:rPr lang="en-US" sz="800" b="1" i="0" u="none" strike="noStrike">
                          <a:solidFill>
                            <a:schemeClr val="tx1"/>
                          </a:solidFill>
                          <a:effectLst/>
                          <a:latin typeface="Nexa Bold" panose="00000800000000000000" pitchFamily="2" charset="0"/>
                        </a:rPr>
                        <a:t>Impact at product level</a:t>
                      </a:r>
                    </a:p>
                  </a:txBody>
                  <a:tcPr marL="1828" marR="1828" marT="1828" marB="0" anchor="b">
                    <a:lnL w="12700" cap="flat" cmpd="sng" algn="ctr">
                      <a:solidFill>
                        <a:schemeClr val="bg1"/>
                      </a:solid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CH"/>
                    </a:p>
                  </a:txBody>
                  <a:tcPr/>
                </a:tc>
                <a:tc hMerge="1">
                  <a:txBody>
                    <a:bodyPr/>
                    <a:lstStyle/>
                    <a:p>
                      <a:endParaRPr lang="en-CH"/>
                    </a:p>
                  </a:txBody>
                  <a:tcPr/>
                </a:tc>
                <a:tc hMerge="1">
                  <a:txBody>
                    <a:bodyPr/>
                    <a:lstStyle/>
                    <a:p>
                      <a:endParaRPr lang="en-AE"/>
                    </a:p>
                  </a:txBody>
                  <a:tcPr/>
                </a:tc>
                <a:tc hMerge="1">
                  <a:txBody>
                    <a:bodyPr/>
                    <a:lstStyle/>
                    <a:p>
                      <a:endParaRPr lang="en-CH"/>
                    </a:p>
                  </a:txBody>
                  <a:tcPr/>
                </a:tc>
                <a:tc hMerge="1">
                  <a:txBody>
                    <a:bodyPr/>
                    <a:lstStyle/>
                    <a:p>
                      <a:pPr algn="ctr" fontAlgn="b"/>
                      <a:r>
                        <a:rPr lang="en-CH" sz="900" b="1" i="0" u="none" strike="noStrike">
                          <a:solidFill>
                            <a:srgbClr val="000000"/>
                          </a:solidFill>
                          <a:effectLst/>
                          <a:latin typeface="+mj-lt"/>
                        </a:rPr>
                        <a:t> </a:t>
                      </a:r>
                    </a:p>
                  </a:txBody>
                  <a:tcPr marL="1828" marR="1828" marT="1828" marB="0" anchor="b">
                    <a:lnL w="63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3974451"/>
                  </a:ext>
                </a:extLst>
              </a:tr>
              <a:tr h="255397">
                <a:tc>
                  <a:txBody>
                    <a:bodyPr/>
                    <a:lstStyle/>
                    <a:p>
                      <a:pPr algn="ctr" rtl="0" fontAlgn="ctr"/>
                      <a:r>
                        <a:rPr lang="en-US" sz="800" b="0" i="0" u="none" strike="noStrike">
                          <a:solidFill>
                            <a:srgbClr val="575555"/>
                          </a:solidFill>
                          <a:effectLst/>
                          <a:latin typeface="Nexa Bold" panose="00000800000000000000" pitchFamily="2" charset="0"/>
                        </a:rPr>
                        <a:t>Product</a:t>
                      </a:r>
                    </a:p>
                  </a:txBody>
                  <a:tcPr marL="1828" marR="1828" marT="1828" marB="0">
                    <a:lnL>
                      <a:noFill/>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Base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New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Change</a:t>
                      </a:r>
                    </a:p>
                  </a:txBody>
                  <a:tcPr marL="1828" marR="1828" marT="1828" marB="0">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Volum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Revenu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Gross Profit</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a:t>
                      </a:r>
                    </a:p>
                    <a:p>
                      <a:pPr algn="ctr" rtl="0" fontAlgn="ctr"/>
                      <a:r>
                        <a:rPr lang="en-US" sz="800" b="0" i="0" u="none" strike="noStrike">
                          <a:solidFill>
                            <a:srgbClr val="575555"/>
                          </a:solidFill>
                          <a:effectLst/>
                          <a:latin typeface="Nexa Bold" panose="00000800000000000000" pitchFamily="2" charset="0"/>
                        </a:rPr>
                        <a:t>Elasticity</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CD P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49" rtl="0" eaLnBrk="1" fontAlgn="ctr" latinLnBrk="0" hangingPunct="1">
                        <a:lnSpc>
                          <a:spcPct val="100000"/>
                        </a:lnSpc>
                        <a:spcBef>
                          <a:spcPts val="0"/>
                        </a:spcBef>
                        <a:spcAft>
                          <a:spcPts val="0"/>
                        </a:spcAft>
                        <a:buClrTx/>
                        <a:buSzTx/>
                        <a:buFontTx/>
                        <a:buNone/>
                        <a:tabLst/>
                        <a:defRPr/>
                      </a:pPr>
                      <a:r>
                        <a:rPr lang="en-US" sz="800" b="0" i="0" u="none" strike="noStrike">
                          <a:solidFill>
                            <a:srgbClr val="575555"/>
                          </a:solidFill>
                          <a:effectLst/>
                          <a:latin typeface="Nexa Bold" panose="00000800000000000000" pitchFamily="2" charset="0"/>
                        </a:rPr>
                        <a:t>PCD PE</a:t>
                      </a:r>
                    </a:p>
                  </a:txBody>
                  <a:tcPr marL="1828" marR="1828" marT="1828" marB="0">
                    <a:lnL w="190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5018296"/>
                  </a:ext>
                </a:extLst>
              </a:tr>
              <a:tr h="154008">
                <a:tc>
                  <a:txBody>
                    <a:bodyPr/>
                    <a:lstStyle/>
                    <a:p>
                      <a:pPr algn="l">
                        <a:defRPr sz="600" b="1">
                          <a:latin typeface="Nexa Bold"/>
                        </a:defRPr>
                      </a:pPr>
                      <a:r>
                        <a:rPr sz="600">
                          <a:latin typeface="Nexa Bold"/>
                        </a:rPr>
                        <a:t>Schick Hydro 3 Blade Ultra Sensitive 1 Handle + 4 Cartridges</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5%</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37.7</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0.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2.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5625324"/>
                  </a:ext>
                </a:extLst>
              </a:tr>
              <a:tr h="154008">
                <a:tc>
                  <a:txBody>
                    <a:bodyPr/>
                    <a:lstStyle/>
                    <a:p>
                      <a:pPr algn="l">
                        <a:defRPr sz="600" b="1">
                          <a:latin typeface="Nexa Bold"/>
                        </a:defRPr>
                      </a:pPr>
                      <a:r>
                        <a:rPr sz="600">
                          <a:latin typeface="Nexa Bold"/>
                        </a:rPr>
                        <a:t>Schick Hydro 3 Blade Pro Sensitive 1 Handle + 3 Cartridges</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3%</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62.2</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3.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2.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32854860"/>
                  </a:ext>
                </a:extLst>
              </a:tr>
              <a:tr h="154008">
                <a:tc>
                  <a:txBody>
                    <a:bodyPr/>
                    <a:lstStyle/>
                    <a:p>
                      <a:pPr algn="l">
                        <a:defRPr sz="600" b="1">
                          <a:latin typeface="Nexa Bold"/>
                        </a:defRPr>
                      </a:pPr>
                      <a:r>
                        <a:rPr sz="600">
                          <a:latin typeface="Nexa Bold"/>
                        </a:rPr>
                        <a:t>Schick Hydro 3 Blade Pro Sensitive 1 Handle + 3 Cartridges</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66%</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8.9</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6.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2.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76060726"/>
                  </a:ext>
                </a:extLst>
              </a:tr>
              <a:tr h="154008">
                <a:tc>
                  <a:txBody>
                    <a:bodyPr/>
                    <a:lstStyle/>
                    <a:p>
                      <a:pPr algn="l">
                        <a:defRPr sz="600" b="1">
                          <a:latin typeface="Nexa Bold"/>
                        </a:defRPr>
                      </a:pPr>
                      <a:r>
                        <a:rPr sz="600">
                          <a:latin typeface="Nexa Bold"/>
                        </a:rPr>
                        <a:t>Schick Hydro 3 Blade Ingrown Defense 1 Handle + 3 Cartridges</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3%</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62.4</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3.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8.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3054186"/>
                  </a:ext>
                </a:extLst>
              </a:tr>
              <a:tr h="154008">
                <a:tc>
                  <a:txBody>
                    <a:bodyPr/>
                    <a:lstStyle/>
                    <a:p>
                      <a:pPr algn="l">
                        <a:defRPr sz="600" b="1">
                          <a:latin typeface="Nexa Bold"/>
                        </a:defRPr>
                      </a:pPr>
                      <a:r>
                        <a:rPr sz="600">
                          <a:latin typeface="Nexa Bold"/>
                        </a:rPr>
                        <a:t>Schick Hydro 3 Blade Ingrown Defense 1 Handle + 3 Cartridges</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66%</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9.3</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7.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5.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64636"/>
                  </a:ext>
                </a:extLst>
              </a:tr>
              <a:tr h="154008">
                <a:tc>
                  <a:txBody>
                    <a:bodyPr/>
                    <a:lstStyle/>
                    <a:p>
                      <a:pPr algn="l">
                        <a:defRPr sz="600" b="1">
                          <a:latin typeface="Nexa Bold"/>
                        </a:defRPr>
                      </a:pPr>
                      <a:r>
                        <a:rPr sz="600">
                          <a:latin typeface="Nexa Bold"/>
                        </a:rPr>
                        <a:t>Schick Hydro 5 Blade Advanced Hydration 1 Handle + 3 Cartridges</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3%</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62.8</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0.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1878489"/>
                  </a:ext>
                </a:extLst>
              </a:tr>
              <a:tr h="154008">
                <a:tc>
                  <a:txBody>
                    <a:bodyPr/>
                    <a:lstStyle/>
                    <a:p>
                      <a:pPr algn="l">
                        <a:defRPr sz="600" b="1">
                          <a:latin typeface="Nexa Bold"/>
                        </a:defRPr>
                      </a:pPr>
                      <a:r>
                        <a:rPr sz="600">
                          <a:latin typeface="Nexa Bold"/>
                        </a:rPr>
                        <a:t>Schick Hydro 5 Blade Advanced Hydration 1 Handle + 3 Cartridges</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66%</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9.8</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9.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9.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9221768"/>
                  </a:ext>
                </a:extLst>
              </a:tr>
              <a:tr h="154008">
                <a:tc>
                  <a:txBody>
                    <a:bodyPr/>
                    <a:lstStyle/>
                    <a:p>
                      <a:pPr algn="l">
                        <a:defRPr sz="600" b="1">
                          <a:latin typeface="Nexa Bold"/>
                        </a:defRPr>
                      </a:pPr>
                      <a:r>
                        <a:rPr sz="600">
                          <a:latin typeface="Nexa Bold"/>
                        </a:rPr>
                        <a:t>Schick Hydro 5 Blade Sensitive 1 Handle + 3 Cartridges</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3%</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63.1</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4.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3.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27617514"/>
                  </a:ext>
                </a:extLst>
              </a:tr>
              <a:tr h="154008">
                <a:tc>
                  <a:txBody>
                    <a:bodyPr/>
                    <a:lstStyle/>
                    <a:p>
                      <a:pPr algn="l">
                        <a:defRPr sz="600" b="1">
                          <a:latin typeface="Nexa Bold"/>
                        </a:defRPr>
                      </a:pPr>
                      <a:r>
                        <a:rPr sz="600">
                          <a:latin typeface="Nexa Bold"/>
                        </a:rPr>
                        <a:t>Schick Hydro 5 Blade Sensitive 1 Handle + 3 Cartridges</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66%</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9.8</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8.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3</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83773987"/>
                  </a:ext>
                </a:extLst>
              </a:tr>
              <a:tr h="154008">
                <a:tc>
                  <a:txBody>
                    <a:bodyPr/>
                    <a:lstStyle/>
                    <a:p>
                      <a:pPr algn="l">
                        <a:defRPr sz="600" b="1">
                          <a:latin typeface="Nexa Bold"/>
                        </a:defRPr>
                      </a:pPr>
                      <a:r>
                        <a:rPr sz="600">
                          <a:latin typeface="Nexa Bold"/>
                        </a:rPr>
                        <a:t>Schick Hydro 5 Blade Sensitive 1 Handle + 5 Cartridges</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7.0</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6.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1.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6</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7031365"/>
                  </a:ext>
                </a:extLst>
              </a:tr>
              <a:tr h="154008">
                <a:tc>
                  <a:txBody>
                    <a:bodyPr/>
                    <a:lstStyle/>
                    <a:p>
                      <a:pPr algn="l">
                        <a:defRPr sz="600" b="1">
                          <a:latin typeface="Nexa Bold"/>
                        </a:defRPr>
                      </a:pPr>
                      <a:r>
                        <a:rPr sz="600">
                          <a:latin typeface="Nexa Bold"/>
                        </a:rPr>
                        <a:t>Schick Hydro 5 Blade Sensitive 1 Handle + 5 Cartridges</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8.3</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7.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9.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68395180"/>
                  </a:ext>
                </a:extLst>
              </a:tr>
              <a:tr h="154008">
                <a:tc>
                  <a:txBody>
                    <a:bodyPr/>
                    <a:lstStyle/>
                    <a:p>
                      <a:pPr algn="l">
                        <a:defRPr sz="600" b="1">
                          <a:latin typeface="Nexa Bold"/>
                        </a:defRPr>
                      </a:pPr>
                      <a:r>
                        <a:rPr sz="600">
                          <a:latin typeface="Nexa Bold"/>
                        </a:rPr>
                        <a:t>Schick Hydro 5 Blade Sensitive 1 Handle + 8 Cartridges</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5.0</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7.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6.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8937280"/>
                  </a:ext>
                </a:extLst>
              </a:tr>
              <a:tr h="154008">
                <a:tc>
                  <a:txBody>
                    <a:bodyPr/>
                    <a:lstStyle/>
                    <a:p>
                      <a:pPr algn="l">
                        <a:defRPr sz="600" b="1">
                          <a:latin typeface="Nexa Bold"/>
                        </a:defRPr>
                      </a:pPr>
                      <a:r>
                        <a:rPr sz="600">
                          <a:latin typeface="Nexa Bold"/>
                        </a:rPr>
                        <a:t>Schick Hydro 5 Blade Sensitive 1 Handle + 8 Cartridges</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9.9</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6.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6.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5</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5</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48100420"/>
                  </a:ext>
                </a:extLst>
              </a:tr>
              <a:tr h="154008">
                <a:tc>
                  <a:txBody>
                    <a:bodyPr/>
                    <a:lstStyle/>
                    <a:p>
                      <a:pPr algn="l">
                        <a:defRPr sz="600" b="1">
                          <a:latin typeface="Nexa Bold"/>
                        </a:defRPr>
                      </a:pPr>
                      <a:r>
                        <a:rPr sz="600">
                          <a:latin typeface="Nexa Bold"/>
                        </a:rPr>
                        <a:t>Schick Hydro 5 Blade Chrome 1 Handle + 3 Cartridges + Docking Station/Stand + Travel Cover</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3%</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63.2</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4.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5.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5</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5691372"/>
                  </a:ext>
                </a:extLst>
              </a:tr>
              <a:tr h="154008">
                <a:tc>
                  <a:txBody>
                    <a:bodyPr/>
                    <a:lstStyle/>
                    <a:p>
                      <a:pPr algn="l">
                        <a:defRPr sz="600" b="1">
                          <a:latin typeface="Nexa Bold"/>
                        </a:defRPr>
                      </a:pPr>
                      <a:r>
                        <a:rPr sz="600">
                          <a:latin typeface="Nexa Bold"/>
                        </a:rPr>
                        <a:t>Schick Hydro 5 Blade Chrome 1 Handle + 3 Cartridges + Docking Station/Stand + Travel Cover</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66%</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0.8</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2.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70.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7534962"/>
                  </a:ext>
                </a:extLst>
              </a:tr>
              <a:tr h="154008">
                <a:tc>
                  <a:txBody>
                    <a:bodyPr/>
                    <a:lstStyle/>
                    <a:p>
                      <a:pPr algn="l">
                        <a:defRPr sz="600" b="1">
                          <a:latin typeface="Nexa Bold"/>
                        </a:defRPr>
                      </a:pPr>
                      <a:r>
                        <a:rPr sz="600">
                          <a:latin typeface="Nexa Bold"/>
                        </a:rPr>
                        <a:t>Schick Quattro Four Blade 1 Handle + 4 Cartriges</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5%</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1.2</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4.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9.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4951046"/>
                  </a:ext>
                </a:extLst>
              </a:tr>
              <a:tr h="154008">
                <a:tc>
                  <a:txBody>
                    <a:bodyPr/>
                    <a:lstStyle/>
                    <a:p>
                      <a:pPr algn="l">
                        <a:defRPr sz="600" b="1">
                          <a:latin typeface="Nexa Bold"/>
                        </a:defRPr>
                      </a:pPr>
                      <a:r>
                        <a:rPr sz="600">
                          <a:latin typeface="Nexa Bold"/>
                        </a:rPr>
                        <a:t>Schick Quattro Four Blade 1 Handle + 4 Cartriges</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5%</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5.5</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8.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0.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5496451"/>
                  </a:ext>
                </a:extLst>
              </a:tr>
              <a:tr h="154008">
                <a:tc>
                  <a:txBody>
                    <a:bodyPr/>
                    <a:lstStyle/>
                    <a:p>
                      <a:pPr algn="l">
                        <a:defRPr sz="600" b="1">
                          <a:latin typeface="Nexa Bold"/>
                        </a:defRPr>
                      </a:pPr>
                      <a:r>
                        <a:rPr sz="600">
                          <a:latin typeface="Nexa Bold"/>
                        </a:rPr>
                        <a:t>Wilkinson Sword Classic Double Edge 1 Handle + 5 Cartridges</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7.6</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6.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6.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6</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9691915"/>
                  </a:ext>
                </a:extLst>
              </a:tr>
              <a:tr h="154008">
                <a:tc>
                  <a:txBody>
                    <a:bodyPr/>
                    <a:lstStyle/>
                    <a:p>
                      <a:pPr algn="l">
                        <a:defRPr sz="600" b="1">
                          <a:latin typeface="Nexa Bold"/>
                        </a:defRPr>
                      </a:pPr>
                      <a:r>
                        <a:rPr sz="600">
                          <a:latin typeface="Nexa Bold"/>
                        </a:rPr>
                        <a:t>Wilkinson Sword Classic Double Edge 1 Handle + 5 Cartridges</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6.8</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5.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5.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2548285"/>
                  </a:ext>
                </a:extLst>
              </a:tr>
              <a:tr h="154008">
                <a:tc>
                  <a:txBody>
                    <a:bodyPr/>
                    <a:lstStyle/>
                    <a:p>
                      <a:pPr algn="l">
                        <a:defRPr sz="600" b="1">
                          <a:latin typeface="Nexa Bold"/>
                        </a:defRPr>
                      </a:pPr>
                      <a:r>
                        <a:rPr sz="600">
                          <a:latin typeface="Nexa Bold"/>
                        </a:rPr>
                        <a:t>Equate 2 Blade Disposable Razors 5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4.0</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1.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52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2217481"/>
                  </a:ext>
                </a:extLst>
              </a:tr>
            </a:tbl>
          </a:graphicData>
        </a:graphic>
      </p:graphicFrame>
      <mc:AlternateContent xmlns:mc="http://schemas.openxmlformats.org/markup-compatibility/2006">
        <mc:Choice xmlns:a14="http://schemas.microsoft.com/office/drawing/2010/main" Requires="a14">
          <p:sp>
            <p:nvSpPr>
              <p:cNvPr id="15" name="TextBox 14">
                <a:extLst>
                  <a:ext uri="{FF2B5EF4-FFF2-40B4-BE49-F238E27FC236}">
                    <a16:creationId xmlns:a16="http://schemas.microsoft.com/office/drawing/2014/main" id="{0435653C-1939-699E-AE30-F311ED3D5C0A}"/>
                  </a:ext>
                </a:extLst>
              </p:cNvPr>
              <p:cNvSpPr txBox="1"/>
              <p:nvPr/>
            </p:nvSpPr>
            <p:spPr>
              <a:xfrm>
                <a:off x="2223435" y="4626106"/>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1013"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5" name="TextBox 14">
                <a:extLst>
                  <a:ext uri="{FF2B5EF4-FFF2-40B4-BE49-F238E27FC236}">
                    <a16:creationId xmlns:a16="http://schemas.microsoft.com/office/drawing/2014/main" id="{0435653C-1939-699E-AE30-F311ED3D5C0A}"/>
                  </a:ext>
                </a:extLst>
              </p:cNvPr>
              <p:cNvSpPr txBox="1">
                <a:spLocks noRot="1" noChangeAspect="1" noMove="1" noResize="1" noEditPoints="1" noAdjustHandles="1" noChangeArrowheads="1" noChangeShapeType="1" noTextEdit="1"/>
              </p:cNvSpPr>
              <p:nvPr/>
            </p:nvSpPr>
            <p:spPr>
              <a:xfrm>
                <a:off x="2223435" y="4626106"/>
                <a:ext cx="3492000" cy="216000"/>
              </a:xfrm>
              <a:prstGeom prst="rect">
                <a:avLst/>
              </a:prstGeom>
              <a:blipFill>
                <a:blip r:embed="rId5"/>
                <a:stretch>
                  <a:fillRect t="-5714" b="-20000"/>
                </a:stretch>
              </a:blipFill>
              <a:ln>
                <a:noFill/>
              </a:ln>
            </p:spPr>
            <p:txBody>
              <a:bodyPr/>
              <a:lstStyle/>
              <a:p>
                <a:r>
                  <a:rPr lang="en-CH">
                    <a:noFill/>
                  </a:rPr>
                  <a:t> </a:t>
                </a:r>
              </a:p>
            </p:txBody>
          </p:sp>
        </mc:Fallback>
      </mc:AlternateContent>
      <mc:AlternateContent xmlns:mc="http://schemas.openxmlformats.org/markup-compatibility/2006">
        <mc:Choice xmlns:a14="http://schemas.microsoft.com/office/drawing/2010/main" Requires="a14">
          <p:sp>
            <p:nvSpPr>
              <p:cNvPr id="17" name="TextBox 16">
                <a:extLst>
                  <a:ext uri="{FF2B5EF4-FFF2-40B4-BE49-F238E27FC236}">
                    <a16:creationId xmlns:a16="http://schemas.microsoft.com/office/drawing/2014/main" id="{618D05B6-EB34-41CC-89DF-6DC6A920D559}"/>
                  </a:ext>
                </a:extLst>
              </p:cNvPr>
              <p:cNvSpPr txBox="1"/>
              <p:nvPr/>
            </p:nvSpPr>
            <p:spPr>
              <a:xfrm>
                <a:off x="2223435" y="4866727"/>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700"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7" name="TextBox 16">
                <a:extLst>
                  <a:ext uri="{FF2B5EF4-FFF2-40B4-BE49-F238E27FC236}">
                    <a16:creationId xmlns:a16="http://schemas.microsoft.com/office/drawing/2014/main" id="{618D05B6-EB34-41CC-89DF-6DC6A920D559}"/>
                  </a:ext>
                </a:extLst>
              </p:cNvPr>
              <p:cNvSpPr txBox="1">
                <a:spLocks noRot="1" noChangeAspect="1" noMove="1" noResize="1" noEditPoints="1" noAdjustHandles="1" noChangeArrowheads="1" noChangeShapeType="1" noTextEdit="1"/>
              </p:cNvSpPr>
              <p:nvPr/>
            </p:nvSpPr>
            <p:spPr>
              <a:xfrm>
                <a:off x="2223435" y="4866727"/>
                <a:ext cx="3492000" cy="216000"/>
              </a:xfrm>
              <a:prstGeom prst="rect">
                <a:avLst/>
              </a:prstGeom>
              <a:blipFill>
                <a:blip r:embed="rId6"/>
                <a:stretch>
                  <a:fillRect l="-873" t="-5556" r="-1047" b="-19444"/>
                </a:stretch>
              </a:blipFill>
              <a:ln>
                <a:noFill/>
              </a:ln>
            </p:spPr>
            <p:txBody>
              <a:bodyPr/>
              <a:lstStyle/>
              <a:p>
                <a:r>
                  <a:rPr lang="en-CH">
                    <a:noFill/>
                  </a:rPr>
                  <a:t> </a:t>
                </a:r>
              </a:p>
            </p:txBody>
          </p:sp>
        </mc:Fallback>
      </mc:AlternateContent>
      <p:sp>
        <p:nvSpPr>
          <p:cNvPr id="3" name="Date Placeholder 2">
            <a:extLst>
              <a:ext uri="{FF2B5EF4-FFF2-40B4-BE49-F238E27FC236}">
                <a16:creationId xmlns:a16="http://schemas.microsoft.com/office/drawing/2014/main" id="{C031E1F3-7E84-886A-BCBF-290FEA70D5A8}"/>
              </a:ext>
            </a:extLst>
          </p:cNvPr>
          <p:cNvSpPr>
            <a:spLocks noGrp="1"/>
          </p:cNvSpPr>
          <p:nvPr>
            <p:ph type="dt" sz="half" idx="14"/>
          </p:nvPr>
        </p:nvSpPr>
        <p:spPr/>
        <p:txBody>
          <a:bodyPr/>
          <a:lstStyle/>
          <a:p>
            <a:fld id="{BB002644-2D98-4E85-9606-3F7EA2621739}" type="datetime1">
              <a:rPr lang="en-US" smtClean="0"/>
              <a:t>8/15/2025</a:t>
            </a:fld>
            <a:endParaRPr lang="en-US"/>
          </a:p>
        </p:txBody>
      </p:sp>
      <p:sp>
        <p:nvSpPr>
          <p:cNvPr id="4" name="Slide Number Placeholder 3">
            <a:extLst>
              <a:ext uri="{FF2B5EF4-FFF2-40B4-BE49-F238E27FC236}">
                <a16:creationId xmlns:a16="http://schemas.microsoft.com/office/drawing/2014/main" id="{8BA7F6E9-39B9-4EF4-DBEF-296E442DC80A}"/>
              </a:ext>
            </a:extLst>
          </p:cNvPr>
          <p:cNvSpPr>
            <a:spLocks noGrp="1"/>
          </p:cNvSpPr>
          <p:nvPr>
            <p:ph type="sldNum" sz="quarter" idx="16"/>
          </p:nvPr>
        </p:nvSpPr>
        <p:spPr/>
        <p:txBody>
          <a:bodyPr/>
          <a:lstStyle/>
          <a:p>
            <a:fld id="{7B1F438D-4EAF-094E-9162-80CF3EF77236}" type="slidenum">
              <a:rPr lang="en-US" smtClean="0"/>
              <a:pPr/>
              <a:t>135</a:t>
            </a:fld>
            <a:endParaRPr lang="en-US"/>
          </a:p>
        </p:txBody>
      </p:sp>
    </p:spTree>
    <p:extLst>
      <p:ext uri="{BB962C8B-B14F-4D97-AF65-F5344CB8AC3E}">
        <p14:creationId xmlns:p14="http://schemas.microsoft.com/office/powerpoint/2010/main" val="2166979954"/>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D629C2B-4852-A793-BFFD-28711000BF4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8" name="think-cell data - do not delete" hidden="1">
                        <a:extLst>
                          <a:ext uri="{FF2B5EF4-FFF2-40B4-BE49-F238E27FC236}">
                            <a16:creationId xmlns:a16="http://schemas.microsoft.com/office/drawing/2014/main" id="{9D629C2B-4852-A793-BFFD-28711000BF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ooter Placeholder 10">
            <a:extLst>
              <a:ext uri="{FF2B5EF4-FFF2-40B4-BE49-F238E27FC236}">
                <a16:creationId xmlns:a16="http://schemas.microsoft.com/office/drawing/2014/main" id="{C809BD5A-F4AE-5909-2264-5CC4A0BF8FD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E312717C-5966-B03B-27B7-35239F65ADDF}"/>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Text Placeholder 5">
            <a:extLst>
              <a:ext uri="{FF2B5EF4-FFF2-40B4-BE49-F238E27FC236}">
                <a16:creationId xmlns:a16="http://schemas.microsoft.com/office/drawing/2014/main" id="{23E9FAE9-1172-D571-A43E-2A91A05992DD}"/>
              </a:ext>
            </a:extLst>
          </p:cNvPr>
          <p:cNvSpPr>
            <a:spLocks noGrp="1"/>
          </p:cNvSpPr>
          <p:nvPr>
            <p:ph type="body" sz="quarter" idx="18"/>
          </p:nvPr>
        </p:nvSpPr>
        <p:spPr>
          <a:xfrm>
            <a:off x="503238" y="774000"/>
            <a:ext cx="8136762" cy="360000"/>
          </a:xfrm>
        </p:spPr>
        <p:txBody>
          <a:bodyPr>
            <a:normAutofit/>
          </a:bodyPr>
          <a:lstStyle/>
          <a:p>
            <a:pPr>
              <a:defRPr sz="1200">
                <a:latin typeface="Nexa Bold (Headings)"/>
              </a:defRPr>
            </a:pPr>
            <a:r>
              <a:t>Size Elasticity | Walmart | Assumes no other products are changing prices or sizes</a:t>
            </a:r>
          </a:p>
        </p:txBody>
      </p:sp>
      <p:sp>
        <p:nvSpPr>
          <p:cNvPr id="7" name="Title 6">
            <a:extLst>
              <a:ext uri="{FF2B5EF4-FFF2-40B4-BE49-F238E27FC236}">
                <a16:creationId xmlns:a16="http://schemas.microsoft.com/office/drawing/2014/main" id="{41C70F53-EE5A-3FB3-C331-7B6C9CF93CED}"/>
              </a:ext>
            </a:extLst>
          </p:cNvPr>
          <p:cNvSpPr>
            <a:spLocks noGrp="1"/>
          </p:cNvSpPr>
          <p:nvPr>
            <p:ph type="title"/>
          </p:nvPr>
        </p:nvSpPr>
        <p:spPr>
          <a:xfrm>
            <a:off x="504000" y="-1"/>
            <a:ext cx="8136000" cy="771525"/>
          </a:xfrm>
          <a:noFill/>
        </p:spPr>
        <p:txBody>
          <a:bodyPr vert="horz"/>
          <a:lstStyle/>
          <a:p>
            <a:r>
              <a:rPr lang="en-GB" dirty="0">
                <a:highlight>
                  <a:srgbClr val="FFFF00"/>
                </a:highlight>
              </a:rPr>
              <a:t>SE Slide</a:t>
            </a:r>
            <a:r>
              <a:rPr lang="en-US" dirty="0">
                <a:highlight>
                  <a:srgbClr val="FFFF00"/>
                </a:highlight>
              </a:rPr>
              <a: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9" name="Table 8">
            <a:extLst>
              <a:ext uri="{FF2B5EF4-FFF2-40B4-BE49-F238E27FC236}">
                <a16:creationId xmlns:a16="http://schemas.microsoft.com/office/drawing/2014/main" id="{4B40E8EC-D33D-F88F-E7D8-15B0189EF613}"/>
              </a:ext>
            </a:extLst>
          </p:cNvPr>
          <p:cNvGraphicFramePr>
            <a:graphicFrameLocks noGrp="1"/>
          </p:cNvGraphicFramePr>
          <p:nvPr/>
        </p:nvGraphicFramePr>
        <p:xfrm>
          <a:off x="546970" y="1137285"/>
          <a:ext cx="8093792" cy="3464206"/>
        </p:xfrm>
        <a:graphic>
          <a:graphicData uri="http://schemas.openxmlformats.org/drawingml/2006/table">
            <a:tbl>
              <a:tblPr/>
              <a:tblGrid>
                <a:gridCol w="2259173">
                  <a:extLst>
                    <a:ext uri="{9D8B030D-6E8A-4147-A177-3AD203B41FA5}">
                      <a16:colId xmlns:a16="http://schemas.microsoft.com/office/drawing/2014/main" val="4140393679"/>
                    </a:ext>
                  </a:extLst>
                </a:gridCol>
                <a:gridCol w="648291">
                  <a:extLst>
                    <a:ext uri="{9D8B030D-6E8A-4147-A177-3AD203B41FA5}">
                      <a16:colId xmlns:a16="http://schemas.microsoft.com/office/drawing/2014/main" val="1116223135"/>
                    </a:ext>
                  </a:extLst>
                </a:gridCol>
                <a:gridCol w="648291">
                  <a:extLst>
                    <a:ext uri="{9D8B030D-6E8A-4147-A177-3AD203B41FA5}">
                      <a16:colId xmlns:a16="http://schemas.microsoft.com/office/drawing/2014/main" val="3791326800"/>
                    </a:ext>
                  </a:extLst>
                </a:gridCol>
                <a:gridCol w="648291">
                  <a:extLst>
                    <a:ext uri="{9D8B030D-6E8A-4147-A177-3AD203B41FA5}">
                      <a16:colId xmlns:a16="http://schemas.microsoft.com/office/drawing/2014/main" val="4065833276"/>
                    </a:ext>
                  </a:extLst>
                </a:gridCol>
                <a:gridCol w="648291">
                  <a:extLst>
                    <a:ext uri="{9D8B030D-6E8A-4147-A177-3AD203B41FA5}">
                      <a16:colId xmlns:a16="http://schemas.microsoft.com/office/drawing/2014/main" val="62708565"/>
                    </a:ext>
                  </a:extLst>
                </a:gridCol>
                <a:gridCol w="648291">
                  <a:extLst>
                    <a:ext uri="{9D8B030D-6E8A-4147-A177-3AD203B41FA5}">
                      <a16:colId xmlns:a16="http://schemas.microsoft.com/office/drawing/2014/main" val="31688122"/>
                    </a:ext>
                  </a:extLst>
                </a:gridCol>
                <a:gridCol w="648291">
                  <a:extLst>
                    <a:ext uri="{9D8B030D-6E8A-4147-A177-3AD203B41FA5}">
                      <a16:colId xmlns:a16="http://schemas.microsoft.com/office/drawing/2014/main" val="2454520991"/>
                    </a:ext>
                  </a:extLst>
                </a:gridCol>
                <a:gridCol w="648291">
                  <a:extLst>
                    <a:ext uri="{9D8B030D-6E8A-4147-A177-3AD203B41FA5}">
                      <a16:colId xmlns:a16="http://schemas.microsoft.com/office/drawing/2014/main" val="1148709605"/>
                    </a:ext>
                  </a:extLst>
                </a:gridCol>
                <a:gridCol w="648291">
                  <a:extLst>
                    <a:ext uri="{9D8B030D-6E8A-4147-A177-3AD203B41FA5}">
                      <a16:colId xmlns:a16="http://schemas.microsoft.com/office/drawing/2014/main" val="129273525"/>
                    </a:ext>
                  </a:extLst>
                </a:gridCol>
                <a:gridCol w="648291">
                  <a:extLst>
                    <a:ext uri="{9D8B030D-6E8A-4147-A177-3AD203B41FA5}">
                      <a16:colId xmlns:a16="http://schemas.microsoft.com/office/drawing/2014/main" val="654776367"/>
                    </a:ext>
                  </a:extLst>
                </a:gridCol>
              </a:tblGrid>
              <a:tr h="128649">
                <a:tc>
                  <a:txBody>
                    <a:bodyPr/>
                    <a:lstStyle/>
                    <a:p>
                      <a:pPr algn="l" fontAlgn="b"/>
                      <a:endParaRPr lang="en-US" sz="800" b="1" i="0" u="sng" strike="noStrike">
                        <a:solidFill>
                          <a:schemeClr val="tx1"/>
                        </a:solidFill>
                        <a:effectLst/>
                        <a:latin typeface="Nexa Bold" panose="00000800000000000000" pitchFamily="2" charset="0"/>
                      </a:endParaRPr>
                    </a:p>
                  </a:txBody>
                  <a:tcPr marL="1828" marR="1828" marT="1828"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a:noFill/>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6">
                  <a:txBody>
                    <a:bodyPr/>
                    <a:lstStyle/>
                    <a:p>
                      <a:pPr algn="ctr" fontAlgn="b"/>
                      <a:r>
                        <a:rPr lang="en-US" sz="800" b="1" i="0" u="none" strike="noStrike">
                          <a:solidFill>
                            <a:schemeClr val="tx1"/>
                          </a:solidFill>
                          <a:effectLst/>
                          <a:latin typeface="Nexa Bold" panose="00000800000000000000" pitchFamily="2" charset="0"/>
                        </a:rPr>
                        <a:t>Impact at product level</a:t>
                      </a:r>
                    </a:p>
                  </a:txBody>
                  <a:tcPr marL="1828" marR="1828" marT="1828" marB="0" anchor="b">
                    <a:lnL w="12700" cap="flat" cmpd="sng" algn="ctr">
                      <a:solidFill>
                        <a:schemeClr val="bg1"/>
                      </a:solid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CH"/>
                    </a:p>
                  </a:txBody>
                  <a:tcPr/>
                </a:tc>
                <a:tc hMerge="1">
                  <a:txBody>
                    <a:bodyPr/>
                    <a:lstStyle/>
                    <a:p>
                      <a:endParaRPr lang="en-CH"/>
                    </a:p>
                  </a:txBody>
                  <a:tcPr/>
                </a:tc>
                <a:tc hMerge="1">
                  <a:txBody>
                    <a:bodyPr/>
                    <a:lstStyle/>
                    <a:p>
                      <a:endParaRPr lang="en-AE"/>
                    </a:p>
                  </a:txBody>
                  <a:tcPr/>
                </a:tc>
                <a:tc hMerge="1">
                  <a:txBody>
                    <a:bodyPr/>
                    <a:lstStyle/>
                    <a:p>
                      <a:endParaRPr lang="en-CH"/>
                    </a:p>
                  </a:txBody>
                  <a:tcPr/>
                </a:tc>
                <a:tc hMerge="1">
                  <a:txBody>
                    <a:bodyPr/>
                    <a:lstStyle/>
                    <a:p>
                      <a:pPr algn="ctr" fontAlgn="b"/>
                      <a:r>
                        <a:rPr lang="en-CH" sz="900" b="1" i="0" u="none" strike="noStrike">
                          <a:solidFill>
                            <a:srgbClr val="000000"/>
                          </a:solidFill>
                          <a:effectLst/>
                          <a:latin typeface="+mj-lt"/>
                        </a:rPr>
                        <a:t> </a:t>
                      </a:r>
                    </a:p>
                  </a:txBody>
                  <a:tcPr marL="1828" marR="1828" marT="1828" marB="0" anchor="b">
                    <a:lnL w="63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3974451"/>
                  </a:ext>
                </a:extLst>
              </a:tr>
              <a:tr h="255397">
                <a:tc>
                  <a:txBody>
                    <a:bodyPr/>
                    <a:lstStyle/>
                    <a:p>
                      <a:pPr algn="ctr" rtl="0" fontAlgn="ctr"/>
                      <a:r>
                        <a:rPr lang="en-US" sz="800" b="0" i="0" u="none" strike="noStrike">
                          <a:solidFill>
                            <a:srgbClr val="575555"/>
                          </a:solidFill>
                          <a:effectLst/>
                          <a:latin typeface="Nexa Bold" panose="00000800000000000000" pitchFamily="2" charset="0"/>
                        </a:rPr>
                        <a:t>Product</a:t>
                      </a:r>
                    </a:p>
                  </a:txBody>
                  <a:tcPr marL="1828" marR="1828" marT="1828" marB="0">
                    <a:lnL>
                      <a:noFill/>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Base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New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Change</a:t>
                      </a:r>
                    </a:p>
                  </a:txBody>
                  <a:tcPr marL="1828" marR="1828" marT="1828" marB="0">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Volum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Revenu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Gross Profit</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a:t>
                      </a:r>
                    </a:p>
                    <a:p>
                      <a:pPr algn="ctr" rtl="0" fontAlgn="ctr"/>
                      <a:r>
                        <a:rPr lang="en-US" sz="800" b="0" i="0" u="none" strike="noStrike">
                          <a:solidFill>
                            <a:srgbClr val="575555"/>
                          </a:solidFill>
                          <a:effectLst/>
                          <a:latin typeface="Nexa Bold" panose="00000800000000000000" pitchFamily="2" charset="0"/>
                        </a:rPr>
                        <a:t>Elasticity</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CD P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49" rtl="0" eaLnBrk="1" fontAlgn="ctr" latinLnBrk="0" hangingPunct="1">
                        <a:lnSpc>
                          <a:spcPct val="100000"/>
                        </a:lnSpc>
                        <a:spcBef>
                          <a:spcPts val="0"/>
                        </a:spcBef>
                        <a:spcAft>
                          <a:spcPts val="0"/>
                        </a:spcAft>
                        <a:buClrTx/>
                        <a:buSzTx/>
                        <a:buFontTx/>
                        <a:buNone/>
                        <a:tabLst/>
                        <a:defRPr/>
                      </a:pPr>
                      <a:r>
                        <a:rPr lang="en-US" sz="800" b="0" i="0" u="none" strike="noStrike">
                          <a:solidFill>
                            <a:srgbClr val="575555"/>
                          </a:solidFill>
                          <a:effectLst/>
                          <a:latin typeface="Nexa Bold" panose="00000800000000000000" pitchFamily="2" charset="0"/>
                        </a:rPr>
                        <a:t>PCD PE</a:t>
                      </a:r>
                    </a:p>
                  </a:txBody>
                  <a:tcPr marL="1828" marR="1828" marT="1828" marB="0">
                    <a:lnL w="190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5018296"/>
                  </a:ext>
                </a:extLst>
              </a:tr>
              <a:tr h="154008">
                <a:tc>
                  <a:txBody>
                    <a:bodyPr/>
                    <a:lstStyle/>
                    <a:p>
                      <a:pPr algn="l">
                        <a:defRPr sz="600" b="1">
                          <a:latin typeface="Nexa Bold"/>
                        </a:defRPr>
                      </a:pPr>
                      <a:r>
                        <a:rPr sz="600">
                          <a:latin typeface="Nexa Bold"/>
                        </a:rPr>
                        <a:t>Equate 2 Blade Disposable Razors 5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22.4</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2.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48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5625324"/>
                  </a:ext>
                </a:extLst>
              </a:tr>
              <a:tr h="154008">
                <a:tc>
                  <a:txBody>
                    <a:bodyPr/>
                    <a:lstStyle/>
                    <a:p>
                      <a:pPr algn="l">
                        <a:defRPr sz="600" b="1">
                          <a:latin typeface="Nexa Bold"/>
                        </a:defRPr>
                      </a:pPr>
                      <a:r>
                        <a:rPr sz="600">
                          <a:latin typeface="Nexa Bold"/>
                        </a:rPr>
                        <a:t>Equate 2 Blade Disposable Razors 12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6%</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2.6</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7.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792.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32854860"/>
                  </a:ext>
                </a:extLst>
              </a:tr>
              <a:tr h="154008">
                <a:tc>
                  <a:txBody>
                    <a:bodyPr/>
                    <a:lstStyle/>
                    <a:p>
                      <a:pPr algn="l">
                        <a:defRPr sz="600" b="1">
                          <a:latin typeface="Nexa Bold"/>
                        </a:defRPr>
                      </a:pPr>
                      <a:r>
                        <a:rPr sz="600">
                          <a:latin typeface="Nexa Bold"/>
                        </a:rPr>
                        <a:t>Equate 2 Blade Disposable Razors 12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6%</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17.7</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3.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759.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76060726"/>
                  </a:ext>
                </a:extLst>
              </a:tr>
              <a:tr h="154008">
                <a:tc>
                  <a:txBody>
                    <a:bodyPr/>
                    <a:lstStyle/>
                    <a:p>
                      <a:pPr algn="l">
                        <a:defRPr sz="600" b="1">
                          <a:latin typeface="Nexa Bold"/>
                        </a:defRPr>
                      </a:pPr>
                      <a:r>
                        <a:rPr sz="600">
                          <a:latin typeface="Nexa Bold"/>
                        </a:rPr>
                        <a:t>Equate 2 Blade Disposable Razors 20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8.0</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7.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9.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3054186"/>
                  </a:ext>
                </a:extLst>
              </a:tr>
              <a:tr h="154008">
                <a:tc>
                  <a:txBody>
                    <a:bodyPr/>
                    <a:lstStyle/>
                    <a:p>
                      <a:pPr algn="l">
                        <a:defRPr sz="600" b="1">
                          <a:latin typeface="Nexa Bold"/>
                        </a:defRPr>
                      </a:pPr>
                      <a:r>
                        <a:rPr sz="600">
                          <a:latin typeface="Nexa Bold"/>
                        </a:rPr>
                        <a:t>Equate 2 Blade Disposable Razors 20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12.7</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3.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5.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64636"/>
                  </a:ext>
                </a:extLst>
              </a:tr>
              <a:tr h="154008">
                <a:tc>
                  <a:txBody>
                    <a:bodyPr/>
                    <a:lstStyle/>
                    <a:p>
                      <a:pPr algn="l">
                        <a:defRPr sz="600" b="1">
                          <a:latin typeface="Nexa Bold"/>
                        </a:defRPr>
                      </a:pPr>
                      <a:r>
                        <a:rPr sz="600">
                          <a:latin typeface="Nexa Bold"/>
                        </a:rPr>
                        <a:t>Equate Caliber 3 Disposable Razors 3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3%</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63.3</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4.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7.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1878489"/>
                  </a:ext>
                </a:extLst>
              </a:tr>
              <a:tr h="154008">
                <a:tc>
                  <a:txBody>
                    <a:bodyPr/>
                    <a:lstStyle/>
                    <a:p>
                      <a:pPr algn="l">
                        <a:defRPr sz="600" b="1">
                          <a:latin typeface="Nexa Bold"/>
                        </a:defRPr>
                      </a:pPr>
                      <a:r>
                        <a:rPr sz="600">
                          <a:latin typeface="Nexa Bold"/>
                        </a:rPr>
                        <a:t>Equate Caliber 3 Disposable Razors 3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3%</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7.4</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3.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68.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9221768"/>
                  </a:ext>
                </a:extLst>
              </a:tr>
              <a:tr h="154008">
                <a:tc>
                  <a:txBody>
                    <a:bodyPr/>
                    <a:lstStyle/>
                    <a:p>
                      <a:pPr algn="l">
                        <a:defRPr sz="600" b="1">
                          <a:latin typeface="Nexa Bold"/>
                        </a:defRPr>
                      </a:pPr>
                      <a:r>
                        <a:rPr sz="600">
                          <a:latin typeface="Nexa Bold"/>
                        </a:rPr>
                        <a:t>Equate Caliber 3 Disposable Razors 6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0.0</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5.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6.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27617514"/>
                  </a:ext>
                </a:extLst>
              </a:tr>
              <a:tr h="154008">
                <a:tc>
                  <a:txBody>
                    <a:bodyPr/>
                    <a:lstStyle/>
                    <a:p>
                      <a:pPr algn="l">
                        <a:defRPr sz="600" b="1">
                          <a:latin typeface="Nexa Bold"/>
                        </a:defRPr>
                      </a:pPr>
                      <a:r>
                        <a:rPr sz="600">
                          <a:latin typeface="Nexa Bold"/>
                        </a:rPr>
                        <a:t>Equate Caliber 3 Disposable Razors 6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3%</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45.0</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8.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40.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4</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83773987"/>
                  </a:ext>
                </a:extLst>
              </a:tr>
              <a:tr h="154008">
                <a:tc>
                  <a:txBody>
                    <a:bodyPr/>
                    <a:lstStyle/>
                    <a:p>
                      <a:pPr algn="l">
                        <a:defRPr sz="600" b="1">
                          <a:latin typeface="Nexa Bold"/>
                        </a:defRPr>
                      </a:pPr>
                      <a:r>
                        <a:rPr sz="600">
                          <a:latin typeface="Nexa Bold"/>
                        </a:rPr>
                        <a:t>Equate Caliber 5 Disposable Razors 3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3%</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62.9</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6.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7031365"/>
                  </a:ext>
                </a:extLst>
              </a:tr>
              <a:tr h="154008">
                <a:tc>
                  <a:txBody>
                    <a:bodyPr/>
                    <a:lstStyle/>
                    <a:p>
                      <a:pPr algn="l">
                        <a:defRPr sz="600" b="1">
                          <a:latin typeface="Nexa Bold"/>
                        </a:defRPr>
                      </a:pPr>
                      <a:r>
                        <a:rPr sz="600">
                          <a:latin typeface="Nexa Bold"/>
                        </a:rPr>
                        <a:t>Equate Caliber 5 Disposable Razors 3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3%</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7.8</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3.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67.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68395180"/>
                  </a:ext>
                </a:extLst>
              </a:tr>
              <a:tr h="154008">
                <a:tc>
                  <a:txBody>
                    <a:bodyPr/>
                    <a:lstStyle/>
                    <a:p>
                      <a:pPr algn="l">
                        <a:defRPr sz="600" b="1">
                          <a:latin typeface="Nexa Bold"/>
                        </a:defRPr>
                      </a:pPr>
                      <a:r>
                        <a:rPr sz="600">
                          <a:latin typeface="Nexa Bold"/>
                        </a:rPr>
                        <a:t>Equate Caliber 5 Disposable Razors 6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9.2</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4.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1.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8937280"/>
                  </a:ext>
                </a:extLst>
              </a:tr>
              <a:tr h="154008">
                <a:tc>
                  <a:txBody>
                    <a:bodyPr/>
                    <a:lstStyle/>
                    <a:p>
                      <a:pPr algn="l">
                        <a:defRPr sz="600" b="1">
                          <a:latin typeface="Nexa Bold"/>
                        </a:defRPr>
                      </a:pPr>
                      <a:r>
                        <a:rPr sz="600">
                          <a:latin typeface="Nexa Bold"/>
                        </a:rPr>
                        <a:t>Equate Caliber 5 Disposable Razors 6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3%</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48.0</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1.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49.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6</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48100420"/>
                  </a:ext>
                </a:extLst>
              </a:tr>
              <a:tr h="154008">
                <a:tc>
                  <a:txBody>
                    <a:bodyPr/>
                    <a:lstStyle/>
                    <a:p>
                      <a:pPr algn="l">
                        <a:defRPr sz="600" b="1">
                          <a:latin typeface="Nexa Bold"/>
                        </a:defRPr>
                      </a:pPr>
                      <a:r>
                        <a:rPr sz="600">
                          <a:latin typeface="Nexa Bold"/>
                        </a:rPr>
                        <a:t>Equate Speed 3 Disposable Razors 4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5%</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1.8</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5.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1.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5691372"/>
                  </a:ext>
                </a:extLst>
              </a:tr>
              <a:tr h="154008">
                <a:tc>
                  <a:txBody>
                    <a:bodyPr/>
                    <a:lstStyle/>
                    <a:p>
                      <a:pPr algn="l">
                        <a:defRPr sz="600" b="1">
                          <a:latin typeface="Nexa Bold"/>
                        </a:defRPr>
                      </a:pPr>
                      <a:r>
                        <a:rPr sz="600">
                          <a:latin typeface="Nexa Bold"/>
                        </a:rPr>
                        <a:t>Equate Speed 3 Disposable Razors 4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5%</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8.0</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2.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4.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7534962"/>
                  </a:ext>
                </a:extLst>
              </a:tr>
              <a:tr h="154008">
                <a:tc>
                  <a:txBody>
                    <a:bodyPr/>
                    <a:lstStyle/>
                    <a:p>
                      <a:pPr algn="l">
                        <a:defRPr sz="600" b="1">
                          <a:latin typeface="Nexa Bold"/>
                        </a:defRPr>
                      </a:pPr>
                      <a:r>
                        <a:rPr sz="600">
                          <a:latin typeface="Nexa Bold"/>
                        </a:rPr>
                        <a:t>Equate Speed 3 Disposable Razors 8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5%</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2.4</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5.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8.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4951046"/>
                  </a:ext>
                </a:extLst>
              </a:tr>
              <a:tr h="154008">
                <a:tc>
                  <a:txBody>
                    <a:bodyPr/>
                    <a:lstStyle/>
                    <a:p>
                      <a:pPr algn="l">
                        <a:defRPr sz="600" b="1">
                          <a:latin typeface="Nexa Bold"/>
                        </a:defRPr>
                      </a:pPr>
                      <a:r>
                        <a:rPr sz="600">
                          <a:latin typeface="Nexa Bold"/>
                        </a:rPr>
                        <a:t>Equate Speed 3 Disposable Razors 8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5%</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6.4</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1.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7.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5496451"/>
                  </a:ext>
                </a:extLst>
              </a:tr>
              <a:tr h="154008">
                <a:tc>
                  <a:txBody>
                    <a:bodyPr/>
                    <a:lstStyle/>
                    <a:p>
                      <a:pPr algn="l">
                        <a:defRPr sz="600" b="1">
                          <a:latin typeface="Nexa Bold"/>
                        </a:defRPr>
                      </a:pPr>
                      <a:r>
                        <a:rPr sz="600">
                          <a:latin typeface="Nexa Bold"/>
                        </a:rPr>
                        <a:t>Equate 5 Blades 1 Handle + 2 Cartridges</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5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46.6</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3.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7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6</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9691915"/>
                  </a:ext>
                </a:extLst>
              </a:tr>
              <a:tr h="154008">
                <a:tc>
                  <a:txBody>
                    <a:bodyPr/>
                    <a:lstStyle/>
                    <a:p>
                      <a:pPr algn="l">
                        <a:defRPr sz="600" b="1">
                          <a:latin typeface="Nexa Bold"/>
                        </a:defRPr>
                      </a:pPr>
                      <a:r>
                        <a:rPr sz="600">
                          <a:latin typeface="Nexa Bold"/>
                        </a:rPr>
                        <a:t>Equate 5 Blades 1 Handle + 2 Cartridges</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5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58.8</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3</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2548285"/>
                  </a:ext>
                </a:extLst>
              </a:tr>
              <a:tr h="154008">
                <a:tc>
                  <a:txBody>
                    <a:bodyPr/>
                    <a:lstStyle/>
                    <a:p>
                      <a:pPr algn="l">
                        <a:defRPr sz="600" b="1">
                          <a:latin typeface="Nexa Bold"/>
                        </a:defRPr>
                      </a:pPr>
                      <a:r>
                        <a:rPr sz="600">
                          <a:latin typeface="Nexa Bold"/>
                        </a:rPr>
                        <a:t>Equate Easy Fit 5 blades 1 Handle + 2 Cartridges</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5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47.1</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8.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5</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2217481"/>
                  </a:ext>
                </a:extLst>
              </a:tr>
            </a:tbl>
          </a:graphicData>
        </a:graphic>
      </p:graphicFrame>
      <mc:AlternateContent xmlns:mc="http://schemas.openxmlformats.org/markup-compatibility/2006">
        <mc:Choice xmlns:a14="http://schemas.microsoft.com/office/drawing/2010/main" Requires="a14">
          <p:sp>
            <p:nvSpPr>
              <p:cNvPr id="15" name="TextBox 14">
                <a:extLst>
                  <a:ext uri="{FF2B5EF4-FFF2-40B4-BE49-F238E27FC236}">
                    <a16:creationId xmlns:a16="http://schemas.microsoft.com/office/drawing/2014/main" id="{0435653C-1939-699E-AE30-F311ED3D5C0A}"/>
                  </a:ext>
                </a:extLst>
              </p:cNvPr>
              <p:cNvSpPr txBox="1"/>
              <p:nvPr/>
            </p:nvSpPr>
            <p:spPr>
              <a:xfrm>
                <a:off x="2223435" y="4626106"/>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1013"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5" name="TextBox 14">
                <a:extLst>
                  <a:ext uri="{FF2B5EF4-FFF2-40B4-BE49-F238E27FC236}">
                    <a16:creationId xmlns:a16="http://schemas.microsoft.com/office/drawing/2014/main" id="{0435653C-1939-699E-AE30-F311ED3D5C0A}"/>
                  </a:ext>
                </a:extLst>
              </p:cNvPr>
              <p:cNvSpPr txBox="1">
                <a:spLocks noRot="1" noChangeAspect="1" noMove="1" noResize="1" noEditPoints="1" noAdjustHandles="1" noChangeArrowheads="1" noChangeShapeType="1" noTextEdit="1"/>
              </p:cNvSpPr>
              <p:nvPr/>
            </p:nvSpPr>
            <p:spPr>
              <a:xfrm>
                <a:off x="2223435" y="4626106"/>
                <a:ext cx="3492000" cy="216000"/>
              </a:xfrm>
              <a:prstGeom prst="rect">
                <a:avLst/>
              </a:prstGeom>
              <a:blipFill>
                <a:blip r:embed="rId5"/>
                <a:stretch>
                  <a:fillRect t="-5714" b="-20000"/>
                </a:stretch>
              </a:blipFill>
              <a:ln>
                <a:noFill/>
              </a:ln>
            </p:spPr>
            <p:txBody>
              <a:bodyPr/>
              <a:lstStyle/>
              <a:p>
                <a:r>
                  <a:rPr lang="en-CH">
                    <a:noFill/>
                  </a:rPr>
                  <a:t> </a:t>
                </a:r>
              </a:p>
            </p:txBody>
          </p:sp>
        </mc:Fallback>
      </mc:AlternateContent>
      <mc:AlternateContent xmlns:mc="http://schemas.openxmlformats.org/markup-compatibility/2006">
        <mc:Choice xmlns:a14="http://schemas.microsoft.com/office/drawing/2010/main" Requires="a14">
          <p:sp>
            <p:nvSpPr>
              <p:cNvPr id="17" name="TextBox 16">
                <a:extLst>
                  <a:ext uri="{FF2B5EF4-FFF2-40B4-BE49-F238E27FC236}">
                    <a16:creationId xmlns:a16="http://schemas.microsoft.com/office/drawing/2014/main" id="{618D05B6-EB34-41CC-89DF-6DC6A920D559}"/>
                  </a:ext>
                </a:extLst>
              </p:cNvPr>
              <p:cNvSpPr txBox="1"/>
              <p:nvPr/>
            </p:nvSpPr>
            <p:spPr>
              <a:xfrm>
                <a:off x="2223435" y="4866727"/>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700"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7" name="TextBox 16">
                <a:extLst>
                  <a:ext uri="{FF2B5EF4-FFF2-40B4-BE49-F238E27FC236}">
                    <a16:creationId xmlns:a16="http://schemas.microsoft.com/office/drawing/2014/main" id="{618D05B6-EB34-41CC-89DF-6DC6A920D559}"/>
                  </a:ext>
                </a:extLst>
              </p:cNvPr>
              <p:cNvSpPr txBox="1">
                <a:spLocks noRot="1" noChangeAspect="1" noMove="1" noResize="1" noEditPoints="1" noAdjustHandles="1" noChangeArrowheads="1" noChangeShapeType="1" noTextEdit="1"/>
              </p:cNvSpPr>
              <p:nvPr/>
            </p:nvSpPr>
            <p:spPr>
              <a:xfrm>
                <a:off x="2223435" y="4866727"/>
                <a:ext cx="3492000" cy="216000"/>
              </a:xfrm>
              <a:prstGeom prst="rect">
                <a:avLst/>
              </a:prstGeom>
              <a:blipFill>
                <a:blip r:embed="rId6"/>
                <a:stretch>
                  <a:fillRect l="-873" t="-5556" r="-1047" b="-19444"/>
                </a:stretch>
              </a:blipFill>
              <a:ln>
                <a:noFill/>
              </a:ln>
            </p:spPr>
            <p:txBody>
              <a:bodyPr/>
              <a:lstStyle/>
              <a:p>
                <a:r>
                  <a:rPr lang="en-CH">
                    <a:noFill/>
                  </a:rPr>
                  <a:t> </a:t>
                </a:r>
              </a:p>
            </p:txBody>
          </p:sp>
        </mc:Fallback>
      </mc:AlternateContent>
      <p:sp>
        <p:nvSpPr>
          <p:cNvPr id="3" name="Date Placeholder 2">
            <a:extLst>
              <a:ext uri="{FF2B5EF4-FFF2-40B4-BE49-F238E27FC236}">
                <a16:creationId xmlns:a16="http://schemas.microsoft.com/office/drawing/2014/main" id="{C031E1F3-7E84-886A-BCBF-290FEA70D5A8}"/>
              </a:ext>
            </a:extLst>
          </p:cNvPr>
          <p:cNvSpPr>
            <a:spLocks noGrp="1"/>
          </p:cNvSpPr>
          <p:nvPr>
            <p:ph type="dt" sz="half" idx="14"/>
          </p:nvPr>
        </p:nvSpPr>
        <p:spPr/>
        <p:txBody>
          <a:bodyPr/>
          <a:lstStyle/>
          <a:p>
            <a:fld id="{BB002644-2D98-4E85-9606-3F7EA2621739}" type="datetime1">
              <a:rPr lang="en-US" smtClean="0"/>
              <a:t>8/15/2025</a:t>
            </a:fld>
            <a:endParaRPr lang="en-US"/>
          </a:p>
        </p:txBody>
      </p:sp>
      <p:sp>
        <p:nvSpPr>
          <p:cNvPr id="4" name="Slide Number Placeholder 3">
            <a:extLst>
              <a:ext uri="{FF2B5EF4-FFF2-40B4-BE49-F238E27FC236}">
                <a16:creationId xmlns:a16="http://schemas.microsoft.com/office/drawing/2014/main" id="{8BA7F6E9-39B9-4EF4-DBEF-296E442DC80A}"/>
              </a:ext>
            </a:extLst>
          </p:cNvPr>
          <p:cNvSpPr>
            <a:spLocks noGrp="1"/>
          </p:cNvSpPr>
          <p:nvPr>
            <p:ph type="sldNum" sz="quarter" idx="16"/>
          </p:nvPr>
        </p:nvSpPr>
        <p:spPr/>
        <p:txBody>
          <a:bodyPr/>
          <a:lstStyle/>
          <a:p>
            <a:fld id="{7B1F438D-4EAF-094E-9162-80CF3EF77236}" type="slidenum">
              <a:rPr lang="en-US" smtClean="0"/>
              <a:pPr/>
              <a:t>136</a:t>
            </a:fld>
            <a:endParaRPr lang="en-US"/>
          </a:p>
        </p:txBody>
      </p:sp>
    </p:spTree>
    <p:extLst>
      <p:ext uri="{BB962C8B-B14F-4D97-AF65-F5344CB8AC3E}">
        <p14:creationId xmlns:p14="http://schemas.microsoft.com/office/powerpoint/2010/main" val="1159404006"/>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D629C2B-4852-A793-BFFD-28711000BF4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8" name="think-cell data - do not delete" hidden="1">
                        <a:extLst>
                          <a:ext uri="{FF2B5EF4-FFF2-40B4-BE49-F238E27FC236}">
                            <a16:creationId xmlns:a16="http://schemas.microsoft.com/office/drawing/2014/main" id="{9D629C2B-4852-A793-BFFD-28711000BF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ooter Placeholder 10">
            <a:extLst>
              <a:ext uri="{FF2B5EF4-FFF2-40B4-BE49-F238E27FC236}">
                <a16:creationId xmlns:a16="http://schemas.microsoft.com/office/drawing/2014/main" id="{C809BD5A-F4AE-5909-2264-5CC4A0BF8FD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E312717C-5966-B03B-27B7-35239F65ADDF}"/>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Text Placeholder 5">
            <a:extLst>
              <a:ext uri="{FF2B5EF4-FFF2-40B4-BE49-F238E27FC236}">
                <a16:creationId xmlns:a16="http://schemas.microsoft.com/office/drawing/2014/main" id="{23E9FAE9-1172-D571-A43E-2A91A05992DD}"/>
              </a:ext>
            </a:extLst>
          </p:cNvPr>
          <p:cNvSpPr>
            <a:spLocks noGrp="1"/>
          </p:cNvSpPr>
          <p:nvPr>
            <p:ph type="body" sz="quarter" idx="18"/>
          </p:nvPr>
        </p:nvSpPr>
        <p:spPr>
          <a:xfrm>
            <a:off x="503238" y="774000"/>
            <a:ext cx="8136762" cy="360000"/>
          </a:xfrm>
        </p:spPr>
        <p:txBody>
          <a:bodyPr>
            <a:normAutofit/>
          </a:bodyPr>
          <a:lstStyle/>
          <a:p>
            <a:pPr>
              <a:defRPr sz="1200">
                <a:latin typeface="Nexa Bold (Headings)"/>
              </a:defRPr>
            </a:pPr>
            <a:r>
              <a:t>Size Elasticity | Walmart | Assumes no other products are changing prices or sizes</a:t>
            </a:r>
          </a:p>
        </p:txBody>
      </p:sp>
      <p:sp>
        <p:nvSpPr>
          <p:cNvPr id="7" name="Title 6">
            <a:extLst>
              <a:ext uri="{FF2B5EF4-FFF2-40B4-BE49-F238E27FC236}">
                <a16:creationId xmlns:a16="http://schemas.microsoft.com/office/drawing/2014/main" id="{41C70F53-EE5A-3FB3-C331-7B6C9CF93CED}"/>
              </a:ext>
            </a:extLst>
          </p:cNvPr>
          <p:cNvSpPr>
            <a:spLocks noGrp="1"/>
          </p:cNvSpPr>
          <p:nvPr>
            <p:ph type="title"/>
          </p:nvPr>
        </p:nvSpPr>
        <p:spPr>
          <a:xfrm>
            <a:off x="504000" y="-1"/>
            <a:ext cx="8136000" cy="771525"/>
          </a:xfrm>
          <a:noFill/>
        </p:spPr>
        <p:txBody>
          <a:bodyPr vert="horz"/>
          <a:lstStyle/>
          <a:p>
            <a:r>
              <a:rPr lang="en-GB" dirty="0">
                <a:highlight>
                  <a:srgbClr val="FFFF00"/>
                </a:highlight>
              </a:rPr>
              <a:t>SE Slide</a:t>
            </a:r>
            <a:r>
              <a:rPr lang="en-US" dirty="0">
                <a:highlight>
                  <a:srgbClr val="FFFF00"/>
                </a:highlight>
              </a:rPr>
              <a: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9" name="Table 8">
            <a:extLst>
              <a:ext uri="{FF2B5EF4-FFF2-40B4-BE49-F238E27FC236}">
                <a16:creationId xmlns:a16="http://schemas.microsoft.com/office/drawing/2014/main" id="{4B40E8EC-D33D-F88F-E7D8-15B0189EF613}"/>
              </a:ext>
            </a:extLst>
          </p:cNvPr>
          <p:cNvGraphicFramePr>
            <a:graphicFrameLocks noGrp="1"/>
          </p:cNvGraphicFramePr>
          <p:nvPr/>
        </p:nvGraphicFramePr>
        <p:xfrm>
          <a:off x="546970" y="1137285"/>
          <a:ext cx="8093792" cy="3464206"/>
        </p:xfrm>
        <a:graphic>
          <a:graphicData uri="http://schemas.openxmlformats.org/drawingml/2006/table">
            <a:tbl>
              <a:tblPr/>
              <a:tblGrid>
                <a:gridCol w="2259173">
                  <a:extLst>
                    <a:ext uri="{9D8B030D-6E8A-4147-A177-3AD203B41FA5}">
                      <a16:colId xmlns:a16="http://schemas.microsoft.com/office/drawing/2014/main" val="4140393679"/>
                    </a:ext>
                  </a:extLst>
                </a:gridCol>
                <a:gridCol w="648291">
                  <a:extLst>
                    <a:ext uri="{9D8B030D-6E8A-4147-A177-3AD203B41FA5}">
                      <a16:colId xmlns:a16="http://schemas.microsoft.com/office/drawing/2014/main" val="1116223135"/>
                    </a:ext>
                  </a:extLst>
                </a:gridCol>
                <a:gridCol w="648291">
                  <a:extLst>
                    <a:ext uri="{9D8B030D-6E8A-4147-A177-3AD203B41FA5}">
                      <a16:colId xmlns:a16="http://schemas.microsoft.com/office/drawing/2014/main" val="3791326800"/>
                    </a:ext>
                  </a:extLst>
                </a:gridCol>
                <a:gridCol w="648291">
                  <a:extLst>
                    <a:ext uri="{9D8B030D-6E8A-4147-A177-3AD203B41FA5}">
                      <a16:colId xmlns:a16="http://schemas.microsoft.com/office/drawing/2014/main" val="4065833276"/>
                    </a:ext>
                  </a:extLst>
                </a:gridCol>
                <a:gridCol w="648291">
                  <a:extLst>
                    <a:ext uri="{9D8B030D-6E8A-4147-A177-3AD203B41FA5}">
                      <a16:colId xmlns:a16="http://schemas.microsoft.com/office/drawing/2014/main" val="62708565"/>
                    </a:ext>
                  </a:extLst>
                </a:gridCol>
                <a:gridCol w="648291">
                  <a:extLst>
                    <a:ext uri="{9D8B030D-6E8A-4147-A177-3AD203B41FA5}">
                      <a16:colId xmlns:a16="http://schemas.microsoft.com/office/drawing/2014/main" val="31688122"/>
                    </a:ext>
                  </a:extLst>
                </a:gridCol>
                <a:gridCol w="648291">
                  <a:extLst>
                    <a:ext uri="{9D8B030D-6E8A-4147-A177-3AD203B41FA5}">
                      <a16:colId xmlns:a16="http://schemas.microsoft.com/office/drawing/2014/main" val="2454520991"/>
                    </a:ext>
                  </a:extLst>
                </a:gridCol>
                <a:gridCol w="648291">
                  <a:extLst>
                    <a:ext uri="{9D8B030D-6E8A-4147-A177-3AD203B41FA5}">
                      <a16:colId xmlns:a16="http://schemas.microsoft.com/office/drawing/2014/main" val="1148709605"/>
                    </a:ext>
                  </a:extLst>
                </a:gridCol>
                <a:gridCol w="648291">
                  <a:extLst>
                    <a:ext uri="{9D8B030D-6E8A-4147-A177-3AD203B41FA5}">
                      <a16:colId xmlns:a16="http://schemas.microsoft.com/office/drawing/2014/main" val="129273525"/>
                    </a:ext>
                  </a:extLst>
                </a:gridCol>
                <a:gridCol w="648291">
                  <a:extLst>
                    <a:ext uri="{9D8B030D-6E8A-4147-A177-3AD203B41FA5}">
                      <a16:colId xmlns:a16="http://schemas.microsoft.com/office/drawing/2014/main" val="654776367"/>
                    </a:ext>
                  </a:extLst>
                </a:gridCol>
              </a:tblGrid>
              <a:tr h="128649">
                <a:tc>
                  <a:txBody>
                    <a:bodyPr/>
                    <a:lstStyle/>
                    <a:p>
                      <a:pPr algn="l" fontAlgn="b"/>
                      <a:endParaRPr lang="en-US" sz="800" b="1" i="0" u="sng" strike="noStrike">
                        <a:solidFill>
                          <a:schemeClr val="tx1"/>
                        </a:solidFill>
                        <a:effectLst/>
                        <a:latin typeface="Nexa Bold" panose="00000800000000000000" pitchFamily="2" charset="0"/>
                      </a:endParaRPr>
                    </a:p>
                  </a:txBody>
                  <a:tcPr marL="1828" marR="1828" marT="1828"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a:noFill/>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6">
                  <a:txBody>
                    <a:bodyPr/>
                    <a:lstStyle/>
                    <a:p>
                      <a:pPr algn="ctr" fontAlgn="b"/>
                      <a:r>
                        <a:rPr lang="en-US" sz="800" b="1" i="0" u="none" strike="noStrike">
                          <a:solidFill>
                            <a:schemeClr val="tx1"/>
                          </a:solidFill>
                          <a:effectLst/>
                          <a:latin typeface="Nexa Bold" panose="00000800000000000000" pitchFamily="2" charset="0"/>
                        </a:rPr>
                        <a:t>Impact at product level</a:t>
                      </a:r>
                    </a:p>
                  </a:txBody>
                  <a:tcPr marL="1828" marR="1828" marT="1828" marB="0" anchor="b">
                    <a:lnL w="12700" cap="flat" cmpd="sng" algn="ctr">
                      <a:solidFill>
                        <a:schemeClr val="bg1"/>
                      </a:solid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CH"/>
                    </a:p>
                  </a:txBody>
                  <a:tcPr/>
                </a:tc>
                <a:tc hMerge="1">
                  <a:txBody>
                    <a:bodyPr/>
                    <a:lstStyle/>
                    <a:p>
                      <a:endParaRPr lang="en-CH"/>
                    </a:p>
                  </a:txBody>
                  <a:tcPr/>
                </a:tc>
                <a:tc hMerge="1">
                  <a:txBody>
                    <a:bodyPr/>
                    <a:lstStyle/>
                    <a:p>
                      <a:endParaRPr lang="en-AE"/>
                    </a:p>
                  </a:txBody>
                  <a:tcPr/>
                </a:tc>
                <a:tc hMerge="1">
                  <a:txBody>
                    <a:bodyPr/>
                    <a:lstStyle/>
                    <a:p>
                      <a:endParaRPr lang="en-CH"/>
                    </a:p>
                  </a:txBody>
                  <a:tcPr/>
                </a:tc>
                <a:tc hMerge="1">
                  <a:txBody>
                    <a:bodyPr/>
                    <a:lstStyle/>
                    <a:p>
                      <a:pPr algn="ctr" fontAlgn="b"/>
                      <a:r>
                        <a:rPr lang="en-CH" sz="900" b="1" i="0" u="none" strike="noStrike">
                          <a:solidFill>
                            <a:srgbClr val="000000"/>
                          </a:solidFill>
                          <a:effectLst/>
                          <a:latin typeface="+mj-lt"/>
                        </a:rPr>
                        <a:t> </a:t>
                      </a:r>
                    </a:p>
                  </a:txBody>
                  <a:tcPr marL="1828" marR="1828" marT="1828" marB="0" anchor="b">
                    <a:lnL w="63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3974451"/>
                  </a:ext>
                </a:extLst>
              </a:tr>
              <a:tr h="255397">
                <a:tc>
                  <a:txBody>
                    <a:bodyPr/>
                    <a:lstStyle/>
                    <a:p>
                      <a:pPr algn="ctr" rtl="0" fontAlgn="ctr"/>
                      <a:r>
                        <a:rPr lang="en-US" sz="800" b="0" i="0" u="none" strike="noStrike">
                          <a:solidFill>
                            <a:srgbClr val="575555"/>
                          </a:solidFill>
                          <a:effectLst/>
                          <a:latin typeface="Nexa Bold" panose="00000800000000000000" pitchFamily="2" charset="0"/>
                        </a:rPr>
                        <a:t>Product</a:t>
                      </a:r>
                    </a:p>
                  </a:txBody>
                  <a:tcPr marL="1828" marR="1828" marT="1828" marB="0">
                    <a:lnL>
                      <a:noFill/>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Base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New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Change</a:t>
                      </a:r>
                    </a:p>
                  </a:txBody>
                  <a:tcPr marL="1828" marR="1828" marT="1828" marB="0">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Volum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Revenu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Gross Profit</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a:t>
                      </a:r>
                    </a:p>
                    <a:p>
                      <a:pPr algn="ctr" rtl="0" fontAlgn="ctr"/>
                      <a:r>
                        <a:rPr lang="en-US" sz="800" b="0" i="0" u="none" strike="noStrike">
                          <a:solidFill>
                            <a:srgbClr val="575555"/>
                          </a:solidFill>
                          <a:effectLst/>
                          <a:latin typeface="Nexa Bold" panose="00000800000000000000" pitchFamily="2" charset="0"/>
                        </a:rPr>
                        <a:t>Elasticity</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CD P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49" rtl="0" eaLnBrk="1" fontAlgn="ctr" latinLnBrk="0" hangingPunct="1">
                        <a:lnSpc>
                          <a:spcPct val="100000"/>
                        </a:lnSpc>
                        <a:spcBef>
                          <a:spcPts val="0"/>
                        </a:spcBef>
                        <a:spcAft>
                          <a:spcPts val="0"/>
                        </a:spcAft>
                        <a:buClrTx/>
                        <a:buSzTx/>
                        <a:buFontTx/>
                        <a:buNone/>
                        <a:tabLst/>
                        <a:defRPr/>
                      </a:pPr>
                      <a:r>
                        <a:rPr lang="en-US" sz="800" b="0" i="0" u="none" strike="noStrike">
                          <a:solidFill>
                            <a:srgbClr val="575555"/>
                          </a:solidFill>
                          <a:effectLst/>
                          <a:latin typeface="Nexa Bold" panose="00000800000000000000" pitchFamily="2" charset="0"/>
                        </a:rPr>
                        <a:t>PCD PE</a:t>
                      </a:r>
                    </a:p>
                  </a:txBody>
                  <a:tcPr marL="1828" marR="1828" marT="1828" marB="0">
                    <a:lnL w="190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5018296"/>
                  </a:ext>
                </a:extLst>
              </a:tr>
              <a:tr h="154008">
                <a:tc>
                  <a:txBody>
                    <a:bodyPr/>
                    <a:lstStyle/>
                    <a:p>
                      <a:pPr algn="l">
                        <a:defRPr sz="600" b="1">
                          <a:latin typeface="Nexa Bold"/>
                        </a:defRPr>
                      </a:pPr>
                      <a:r>
                        <a:rPr sz="600">
                          <a:latin typeface="Nexa Bold"/>
                        </a:rPr>
                        <a:t>Equate Easy Fit 5 blades 1 Handle + 2 Cartridges</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5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58.9</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6.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1.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5625324"/>
                  </a:ext>
                </a:extLst>
              </a:tr>
              <a:tr h="154008">
                <a:tc>
                  <a:txBody>
                    <a:bodyPr/>
                    <a:lstStyle/>
                    <a:p>
                      <a:pPr algn="l">
                        <a:defRPr sz="600" b="1">
                          <a:latin typeface="Nexa Bold"/>
                        </a:defRPr>
                      </a:pPr>
                      <a:r>
                        <a:rPr sz="600">
                          <a:latin typeface="Nexa Bold"/>
                        </a:rPr>
                        <a:t>Equate Easy Fit 5 blades 1 Handle + 5 Cartridges</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76.6</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5.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3.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32854860"/>
                  </a:ext>
                </a:extLst>
              </a:tr>
              <a:tr h="154008">
                <a:tc>
                  <a:txBody>
                    <a:bodyPr/>
                    <a:lstStyle/>
                    <a:p>
                      <a:pPr algn="l">
                        <a:defRPr sz="600" b="1">
                          <a:latin typeface="Nexa Bold"/>
                        </a:defRPr>
                      </a:pPr>
                      <a:r>
                        <a:rPr sz="600">
                          <a:latin typeface="Nexa Bold"/>
                        </a:rPr>
                        <a:t>Equate Easy Fit 5 blades 1 Handle + 5 Cartridges</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28.0</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6.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76060726"/>
                  </a:ext>
                </a:extLst>
              </a:tr>
              <a:tr h="154008">
                <a:tc>
                  <a:txBody>
                    <a:bodyPr/>
                    <a:lstStyle/>
                    <a:p>
                      <a:pPr algn="l">
                        <a:defRPr sz="600" b="1">
                          <a:latin typeface="Nexa Bold"/>
                        </a:defRPr>
                      </a:pPr>
                      <a:r>
                        <a:rPr sz="600">
                          <a:latin typeface="Nexa Bold"/>
                        </a:rPr>
                        <a:t>Schick Hydro 3 Blade Ultra Sensitive Refills 5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1.0</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1.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8.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3054186"/>
                  </a:ext>
                </a:extLst>
              </a:tr>
              <a:tr h="154008">
                <a:tc>
                  <a:txBody>
                    <a:bodyPr/>
                    <a:lstStyle/>
                    <a:p>
                      <a:pPr algn="l">
                        <a:defRPr sz="600" b="1">
                          <a:latin typeface="Nexa Bold"/>
                        </a:defRPr>
                      </a:pPr>
                      <a:r>
                        <a:rPr sz="600">
                          <a:latin typeface="Nexa Bold"/>
                        </a:rPr>
                        <a:t>Schick Hydro 3 Blade Ultra Sensitive Refills 5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7.8</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9.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3.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64636"/>
                  </a:ext>
                </a:extLst>
              </a:tr>
              <a:tr h="154008">
                <a:tc>
                  <a:txBody>
                    <a:bodyPr/>
                    <a:lstStyle/>
                    <a:p>
                      <a:pPr algn="l">
                        <a:defRPr sz="600" b="1">
                          <a:latin typeface="Nexa Bold"/>
                        </a:defRPr>
                      </a:pPr>
                      <a:r>
                        <a:rPr sz="600">
                          <a:latin typeface="Nexa Bold"/>
                        </a:rPr>
                        <a:t>Schick Hydro 3 Blade Pro Sensitive Refills 6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3%</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7.2</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45.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0.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1878489"/>
                  </a:ext>
                </a:extLst>
              </a:tr>
              <a:tr h="154008">
                <a:tc>
                  <a:txBody>
                    <a:bodyPr/>
                    <a:lstStyle/>
                    <a:p>
                      <a:pPr algn="l">
                        <a:defRPr sz="600" b="1">
                          <a:latin typeface="Nexa Bold"/>
                        </a:defRPr>
                      </a:pPr>
                      <a:r>
                        <a:rPr sz="600">
                          <a:latin typeface="Nexa Bold"/>
                        </a:rPr>
                        <a:t>Schick Hydro 3 Blade Pro Sensitive Refills 6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3%</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0.5</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3.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4.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5</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9221768"/>
                  </a:ext>
                </a:extLst>
              </a:tr>
              <a:tr h="154008">
                <a:tc>
                  <a:txBody>
                    <a:bodyPr/>
                    <a:lstStyle/>
                    <a:p>
                      <a:pPr algn="l">
                        <a:defRPr sz="600" b="1">
                          <a:latin typeface="Nexa Bold"/>
                        </a:defRPr>
                      </a:pPr>
                      <a:r>
                        <a:rPr sz="600">
                          <a:latin typeface="Nexa Bold"/>
                        </a:rPr>
                        <a:t>Schick Hydro 3 Blade Ingrown Defense Refills 6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3%</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6.1</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43.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27617514"/>
                  </a:ext>
                </a:extLst>
              </a:tr>
              <a:tr h="154008">
                <a:tc>
                  <a:txBody>
                    <a:bodyPr/>
                    <a:lstStyle/>
                    <a:p>
                      <a:pPr algn="l">
                        <a:defRPr sz="600" b="1">
                          <a:latin typeface="Nexa Bold"/>
                        </a:defRPr>
                      </a:pPr>
                      <a:r>
                        <a:rPr sz="600">
                          <a:latin typeface="Nexa Bold"/>
                        </a:rPr>
                        <a:t>Schick Hydro 3 Blade Ingrown Defense Refills 6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3%</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2.3</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4.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2.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1</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83773987"/>
                  </a:ext>
                </a:extLst>
              </a:tr>
              <a:tr h="154008">
                <a:tc>
                  <a:txBody>
                    <a:bodyPr/>
                    <a:lstStyle/>
                    <a:p>
                      <a:pPr algn="l">
                        <a:defRPr sz="600" b="1">
                          <a:latin typeface="Nexa Bold"/>
                        </a:defRPr>
                      </a:pPr>
                      <a:r>
                        <a:rPr sz="600">
                          <a:latin typeface="Nexa Bold"/>
                        </a:rPr>
                        <a:t>Schick Hydro 5 Blade Sensitive Refills 4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5%</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2.4</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9.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4.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7031365"/>
                  </a:ext>
                </a:extLst>
              </a:tr>
              <a:tr h="154008">
                <a:tc>
                  <a:txBody>
                    <a:bodyPr/>
                    <a:lstStyle/>
                    <a:p>
                      <a:pPr algn="l">
                        <a:defRPr sz="600" b="1">
                          <a:latin typeface="Nexa Bold"/>
                        </a:defRPr>
                      </a:pPr>
                      <a:r>
                        <a:rPr sz="600">
                          <a:latin typeface="Nexa Bold"/>
                        </a:rPr>
                        <a:t>Schick Hydro 5 Blade Sensitive Refills 6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3%</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4.3</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8.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66.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68395180"/>
                  </a:ext>
                </a:extLst>
              </a:tr>
              <a:tr h="154008">
                <a:tc>
                  <a:txBody>
                    <a:bodyPr/>
                    <a:lstStyle/>
                    <a:p>
                      <a:pPr algn="l">
                        <a:defRPr sz="600" b="1">
                          <a:latin typeface="Nexa Bold"/>
                        </a:defRPr>
                      </a:pPr>
                      <a:r>
                        <a:rPr sz="600">
                          <a:latin typeface="Nexa Bold"/>
                        </a:rPr>
                        <a:t>Schick Hydro 5 Blade Sensitive Refills 12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4.6</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3.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1.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6</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8937280"/>
                  </a:ext>
                </a:extLst>
              </a:tr>
              <a:tr h="154008">
                <a:tc>
                  <a:txBody>
                    <a:bodyPr/>
                    <a:lstStyle/>
                    <a:p>
                      <a:pPr algn="l">
                        <a:defRPr sz="600" b="1">
                          <a:latin typeface="Nexa Bold"/>
                        </a:defRPr>
                      </a:pPr>
                      <a:r>
                        <a:rPr sz="600">
                          <a:latin typeface="Nexa Bold"/>
                        </a:rPr>
                        <a:t>Schick Hydro 5 Blade Sensitive Refills 12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8.4</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3.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6.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5</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48100420"/>
                  </a:ext>
                </a:extLst>
              </a:tr>
              <a:tr h="154008">
                <a:tc>
                  <a:txBody>
                    <a:bodyPr/>
                    <a:lstStyle/>
                    <a:p>
                      <a:pPr algn="l">
                        <a:defRPr sz="600" b="1">
                          <a:latin typeface="Nexa Bold"/>
                        </a:defRPr>
                      </a:pPr>
                      <a:r>
                        <a:rPr sz="600">
                          <a:latin typeface="Nexa Bold"/>
                        </a:rPr>
                        <a:t>Schick Hydro 5 Blade Advanced Hydration Refills 6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3%</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4.4</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40.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1.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5691372"/>
                  </a:ext>
                </a:extLst>
              </a:tr>
              <a:tr h="154008">
                <a:tc>
                  <a:txBody>
                    <a:bodyPr/>
                    <a:lstStyle/>
                    <a:p>
                      <a:pPr algn="l">
                        <a:defRPr sz="600" b="1">
                          <a:latin typeface="Nexa Bold"/>
                        </a:defRPr>
                      </a:pPr>
                      <a:r>
                        <a:rPr sz="600">
                          <a:latin typeface="Nexa Bold"/>
                        </a:rPr>
                        <a:t>Schick Hydro 5 Blade Advanced Hydration Refills 6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3%</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5.1</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6.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4.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5</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7</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7534962"/>
                  </a:ext>
                </a:extLst>
              </a:tr>
              <a:tr h="154008">
                <a:tc>
                  <a:txBody>
                    <a:bodyPr/>
                    <a:lstStyle/>
                    <a:p>
                      <a:pPr algn="l">
                        <a:defRPr sz="600" b="1">
                          <a:latin typeface="Nexa Bold"/>
                        </a:defRPr>
                      </a:pPr>
                      <a:r>
                        <a:rPr sz="600">
                          <a:latin typeface="Nexa Bold"/>
                        </a:rPr>
                        <a:t>Schick Hydro 5 Blade Chrome Refills 6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3%</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6.0</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43.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57.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4951046"/>
                  </a:ext>
                </a:extLst>
              </a:tr>
              <a:tr h="154008">
                <a:tc>
                  <a:txBody>
                    <a:bodyPr/>
                    <a:lstStyle/>
                    <a:p>
                      <a:pPr algn="l">
                        <a:defRPr sz="600" b="1">
                          <a:latin typeface="Nexa Bold"/>
                        </a:defRPr>
                      </a:pPr>
                      <a:r>
                        <a:rPr sz="600">
                          <a:latin typeface="Nexa Bold"/>
                        </a:rPr>
                        <a:t>Schick Hydro 5 Blade Chrome Refills 6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3%</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0.4</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3.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5.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5496451"/>
                  </a:ext>
                </a:extLst>
              </a:tr>
              <a:tr h="154008">
                <a:tc>
                  <a:txBody>
                    <a:bodyPr/>
                    <a:lstStyle/>
                    <a:p>
                      <a:pPr algn="l">
                        <a:defRPr sz="600" b="1">
                          <a:latin typeface="Nexa Bold"/>
                        </a:defRPr>
                      </a:pPr>
                      <a:r>
                        <a:rPr sz="600">
                          <a:latin typeface="Nexa Bold"/>
                        </a:rPr>
                        <a:t>Schick Quattro Four Blade Refills 3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3%</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68.5</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2.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0.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9691915"/>
                  </a:ext>
                </a:extLst>
              </a:tr>
              <a:tr h="154008">
                <a:tc>
                  <a:txBody>
                    <a:bodyPr/>
                    <a:lstStyle/>
                    <a:p>
                      <a:pPr algn="l">
                        <a:defRPr sz="600" b="1">
                          <a:latin typeface="Nexa Bold"/>
                        </a:defRPr>
                      </a:pPr>
                      <a:r>
                        <a:rPr sz="600">
                          <a:latin typeface="Nexa Bold"/>
                        </a:rPr>
                        <a:t>Schick Quattro Four Blade Refills 3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3%</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8.5</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8.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3.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6</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5</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2548285"/>
                  </a:ext>
                </a:extLst>
              </a:tr>
              <a:tr h="154008">
                <a:tc>
                  <a:txBody>
                    <a:bodyPr/>
                    <a:lstStyle/>
                    <a:p>
                      <a:pPr algn="l">
                        <a:defRPr sz="600" b="1">
                          <a:latin typeface="Nexa Bold"/>
                        </a:defRPr>
                      </a:pPr>
                      <a:r>
                        <a:rPr sz="600">
                          <a:latin typeface="Nexa Bold"/>
                        </a:rPr>
                        <a:t>Schick Quattro Four Blade Refills 6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64.0</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6.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3.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2217481"/>
                  </a:ext>
                </a:extLst>
              </a:tr>
            </a:tbl>
          </a:graphicData>
        </a:graphic>
      </p:graphicFrame>
      <mc:AlternateContent xmlns:mc="http://schemas.openxmlformats.org/markup-compatibility/2006">
        <mc:Choice xmlns:a14="http://schemas.microsoft.com/office/drawing/2010/main" Requires="a14">
          <p:sp>
            <p:nvSpPr>
              <p:cNvPr id="15" name="TextBox 14">
                <a:extLst>
                  <a:ext uri="{FF2B5EF4-FFF2-40B4-BE49-F238E27FC236}">
                    <a16:creationId xmlns:a16="http://schemas.microsoft.com/office/drawing/2014/main" id="{0435653C-1939-699E-AE30-F311ED3D5C0A}"/>
                  </a:ext>
                </a:extLst>
              </p:cNvPr>
              <p:cNvSpPr txBox="1"/>
              <p:nvPr/>
            </p:nvSpPr>
            <p:spPr>
              <a:xfrm>
                <a:off x="2223435" y="4626106"/>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1013"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5" name="TextBox 14">
                <a:extLst>
                  <a:ext uri="{FF2B5EF4-FFF2-40B4-BE49-F238E27FC236}">
                    <a16:creationId xmlns:a16="http://schemas.microsoft.com/office/drawing/2014/main" id="{0435653C-1939-699E-AE30-F311ED3D5C0A}"/>
                  </a:ext>
                </a:extLst>
              </p:cNvPr>
              <p:cNvSpPr txBox="1">
                <a:spLocks noRot="1" noChangeAspect="1" noMove="1" noResize="1" noEditPoints="1" noAdjustHandles="1" noChangeArrowheads="1" noChangeShapeType="1" noTextEdit="1"/>
              </p:cNvSpPr>
              <p:nvPr/>
            </p:nvSpPr>
            <p:spPr>
              <a:xfrm>
                <a:off x="2223435" y="4626106"/>
                <a:ext cx="3492000" cy="216000"/>
              </a:xfrm>
              <a:prstGeom prst="rect">
                <a:avLst/>
              </a:prstGeom>
              <a:blipFill>
                <a:blip r:embed="rId5"/>
                <a:stretch>
                  <a:fillRect t="-5714" b="-20000"/>
                </a:stretch>
              </a:blipFill>
              <a:ln>
                <a:noFill/>
              </a:ln>
            </p:spPr>
            <p:txBody>
              <a:bodyPr/>
              <a:lstStyle/>
              <a:p>
                <a:r>
                  <a:rPr lang="en-CH">
                    <a:noFill/>
                  </a:rPr>
                  <a:t> </a:t>
                </a:r>
              </a:p>
            </p:txBody>
          </p:sp>
        </mc:Fallback>
      </mc:AlternateContent>
      <mc:AlternateContent xmlns:mc="http://schemas.openxmlformats.org/markup-compatibility/2006">
        <mc:Choice xmlns:a14="http://schemas.microsoft.com/office/drawing/2010/main" Requires="a14">
          <p:sp>
            <p:nvSpPr>
              <p:cNvPr id="17" name="TextBox 16">
                <a:extLst>
                  <a:ext uri="{FF2B5EF4-FFF2-40B4-BE49-F238E27FC236}">
                    <a16:creationId xmlns:a16="http://schemas.microsoft.com/office/drawing/2014/main" id="{618D05B6-EB34-41CC-89DF-6DC6A920D559}"/>
                  </a:ext>
                </a:extLst>
              </p:cNvPr>
              <p:cNvSpPr txBox="1"/>
              <p:nvPr/>
            </p:nvSpPr>
            <p:spPr>
              <a:xfrm>
                <a:off x="2223435" y="4866727"/>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700"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7" name="TextBox 16">
                <a:extLst>
                  <a:ext uri="{FF2B5EF4-FFF2-40B4-BE49-F238E27FC236}">
                    <a16:creationId xmlns:a16="http://schemas.microsoft.com/office/drawing/2014/main" id="{618D05B6-EB34-41CC-89DF-6DC6A920D559}"/>
                  </a:ext>
                </a:extLst>
              </p:cNvPr>
              <p:cNvSpPr txBox="1">
                <a:spLocks noRot="1" noChangeAspect="1" noMove="1" noResize="1" noEditPoints="1" noAdjustHandles="1" noChangeArrowheads="1" noChangeShapeType="1" noTextEdit="1"/>
              </p:cNvSpPr>
              <p:nvPr/>
            </p:nvSpPr>
            <p:spPr>
              <a:xfrm>
                <a:off x="2223435" y="4866727"/>
                <a:ext cx="3492000" cy="216000"/>
              </a:xfrm>
              <a:prstGeom prst="rect">
                <a:avLst/>
              </a:prstGeom>
              <a:blipFill>
                <a:blip r:embed="rId6"/>
                <a:stretch>
                  <a:fillRect l="-873" t="-5556" r="-1047" b="-19444"/>
                </a:stretch>
              </a:blipFill>
              <a:ln>
                <a:noFill/>
              </a:ln>
            </p:spPr>
            <p:txBody>
              <a:bodyPr/>
              <a:lstStyle/>
              <a:p>
                <a:r>
                  <a:rPr lang="en-CH">
                    <a:noFill/>
                  </a:rPr>
                  <a:t> </a:t>
                </a:r>
              </a:p>
            </p:txBody>
          </p:sp>
        </mc:Fallback>
      </mc:AlternateContent>
      <p:sp>
        <p:nvSpPr>
          <p:cNvPr id="3" name="Date Placeholder 2">
            <a:extLst>
              <a:ext uri="{FF2B5EF4-FFF2-40B4-BE49-F238E27FC236}">
                <a16:creationId xmlns:a16="http://schemas.microsoft.com/office/drawing/2014/main" id="{C031E1F3-7E84-886A-BCBF-290FEA70D5A8}"/>
              </a:ext>
            </a:extLst>
          </p:cNvPr>
          <p:cNvSpPr>
            <a:spLocks noGrp="1"/>
          </p:cNvSpPr>
          <p:nvPr>
            <p:ph type="dt" sz="half" idx="14"/>
          </p:nvPr>
        </p:nvSpPr>
        <p:spPr/>
        <p:txBody>
          <a:bodyPr/>
          <a:lstStyle/>
          <a:p>
            <a:fld id="{BB002644-2D98-4E85-9606-3F7EA2621739}" type="datetime1">
              <a:rPr lang="en-US" smtClean="0"/>
              <a:t>8/15/2025</a:t>
            </a:fld>
            <a:endParaRPr lang="en-US"/>
          </a:p>
        </p:txBody>
      </p:sp>
      <p:sp>
        <p:nvSpPr>
          <p:cNvPr id="4" name="Slide Number Placeholder 3">
            <a:extLst>
              <a:ext uri="{FF2B5EF4-FFF2-40B4-BE49-F238E27FC236}">
                <a16:creationId xmlns:a16="http://schemas.microsoft.com/office/drawing/2014/main" id="{8BA7F6E9-39B9-4EF4-DBEF-296E442DC80A}"/>
              </a:ext>
            </a:extLst>
          </p:cNvPr>
          <p:cNvSpPr>
            <a:spLocks noGrp="1"/>
          </p:cNvSpPr>
          <p:nvPr>
            <p:ph type="sldNum" sz="quarter" idx="16"/>
          </p:nvPr>
        </p:nvSpPr>
        <p:spPr/>
        <p:txBody>
          <a:bodyPr/>
          <a:lstStyle/>
          <a:p>
            <a:fld id="{7B1F438D-4EAF-094E-9162-80CF3EF77236}" type="slidenum">
              <a:rPr lang="en-US" smtClean="0"/>
              <a:pPr/>
              <a:t>137</a:t>
            </a:fld>
            <a:endParaRPr lang="en-US"/>
          </a:p>
        </p:txBody>
      </p:sp>
    </p:spTree>
    <p:extLst>
      <p:ext uri="{BB962C8B-B14F-4D97-AF65-F5344CB8AC3E}">
        <p14:creationId xmlns:p14="http://schemas.microsoft.com/office/powerpoint/2010/main" val="3310667901"/>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D629C2B-4852-A793-BFFD-28711000BF4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8" name="think-cell data - do not delete" hidden="1">
                        <a:extLst>
                          <a:ext uri="{FF2B5EF4-FFF2-40B4-BE49-F238E27FC236}">
                            <a16:creationId xmlns:a16="http://schemas.microsoft.com/office/drawing/2014/main" id="{9D629C2B-4852-A793-BFFD-28711000BF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ooter Placeholder 10">
            <a:extLst>
              <a:ext uri="{FF2B5EF4-FFF2-40B4-BE49-F238E27FC236}">
                <a16:creationId xmlns:a16="http://schemas.microsoft.com/office/drawing/2014/main" id="{C809BD5A-F4AE-5909-2264-5CC4A0BF8FD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E312717C-5966-B03B-27B7-35239F65ADDF}"/>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Text Placeholder 5">
            <a:extLst>
              <a:ext uri="{FF2B5EF4-FFF2-40B4-BE49-F238E27FC236}">
                <a16:creationId xmlns:a16="http://schemas.microsoft.com/office/drawing/2014/main" id="{23E9FAE9-1172-D571-A43E-2A91A05992DD}"/>
              </a:ext>
            </a:extLst>
          </p:cNvPr>
          <p:cNvSpPr>
            <a:spLocks noGrp="1"/>
          </p:cNvSpPr>
          <p:nvPr>
            <p:ph type="body" sz="quarter" idx="18"/>
          </p:nvPr>
        </p:nvSpPr>
        <p:spPr>
          <a:xfrm>
            <a:off x="503238" y="774000"/>
            <a:ext cx="8136762" cy="360000"/>
          </a:xfrm>
        </p:spPr>
        <p:txBody>
          <a:bodyPr>
            <a:normAutofit/>
          </a:bodyPr>
          <a:lstStyle/>
          <a:p>
            <a:pPr>
              <a:defRPr sz="1200">
                <a:latin typeface="Nexa Bold (Headings)"/>
              </a:defRPr>
            </a:pPr>
            <a:r>
              <a:t>Size Elasticity | Walmart | Assumes no other products are changing prices or sizes</a:t>
            </a:r>
          </a:p>
        </p:txBody>
      </p:sp>
      <p:sp>
        <p:nvSpPr>
          <p:cNvPr id="7" name="Title 6">
            <a:extLst>
              <a:ext uri="{FF2B5EF4-FFF2-40B4-BE49-F238E27FC236}">
                <a16:creationId xmlns:a16="http://schemas.microsoft.com/office/drawing/2014/main" id="{41C70F53-EE5A-3FB3-C331-7B6C9CF93CED}"/>
              </a:ext>
            </a:extLst>
          </p:cNvPr>
          <p:cNvSpPr>
            <a:spLocks noGrp="1"/>
          </p:cNvSpPr>
          <p:nvPr>
            <p:ph type="title"/>
          </p:nvPr>
        </p:nvSpPr>
        <p:spPr>
          <a:xfrm>
            <a:off x="504000" y="-1"/>
            <a:ext cx="8136000" cy="771525"/>
          </a:xfrm>
          <a:noFill/>
        </p:spPr>
        <p:txBody>
          <a:bodyPr vert="horz"/>
          <a:lstStyle/>
          <a:p>
            <a:r>
              <a:rPr lang="en-GB" dirty="0">
                <a:highlight>
                  <a:srgbClr val="FFFF00"/>
                </a:highlight>
              </a:rPr>
              <a:t>SE Slide</a:t>
            </a:r>
            <a:r>
              <a:rPr lang="en-US" dirty="0">
                <a:highlight>
                  <a:srgbClr val="FFFF00"/>
                </a:highlight>
              </a:rPr>
              <a: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9" name="Table 8">
            <a:extLst>
              <a:ext uri="{FF2B5EF4-FFF2-40B4-BE49-F238E27FC236}">
                <a16:creationId xmlns:a16="http://schemas.microsoft.com/office/drawing/2014/main" id="{4B40E8EC-D33D-F88F-E7D8-15B0189EF613}"/>
              </a:ext>
            </a:extLst>
          </p:cNvPr>
          <p:cNvGraphicFramePr>
            <a:graphicFrameLocks noGrp="1"/>
          </p:cNvGraphicFramePr>
          <p:nvPr/>
        </p:nvGraphicFramePr>
        <p:xfrm>
          <a:off x="546970" y="1137285"/>
          <a:ext cx="8093792" cy="3464206"/>
        </p:xfrm>
        <a:graphic>
          <a:graphicData uri="http://schemas.openxmlformats.org/drawingml/2006/table">
            <a:tbl>
              <a:tblPr/>
              <a:tblGrid>
                <a:gridCol w="2259173">
                  <a:extLst>
                    <a:ext uri="{9D8B030D-6E8A-4147-A177-3AD203B41FA5}">
                      <a16:colId xmlns:a16="http://schemas.microsoft.com/office/drawing/2014/main" val="4140393679"/>
                    </a:ext>
                  </a:extLst>
                </a:gridCol>
                <a:gridCol w="648291">
                  <a:extLst>
                    <a:ext uri="{9D8B030D-6E8A-4147-A177-3AD203B41FA5}">
                      <a16:colId xmlns:a16="http://schemas.microsoft.com/office/drawing/2014/main" val="1116223135"/>
                    </a:ext>
                  </a:extLst>
                </a:gridCol>
                <a:gridCol w="648291">
                  <a:extLst>
                    <a:ext uri="{9D8B030D-6E8A-4147-A177-3AD203B41FA5}">
                      <a16:colId xmlns:a16="http://schemas.microsoft.com/office/drawing/2014/main" val="3791326800"/>
                    </a:ext>
                  </a:extLst>
                </a:gridCol>
                <a:gridCol w="648291">
                  <a:extLst>
                    <a:ext uri="{9D8B030D-6E8A-4147-A177-3AD203B41FA5}">
                      <a16:colId xmlns:a16="http://schemas.microsoft.com/office/drawing/2014/main" val="4065833276"/>
                    </a:ext>
                  </a:extLst>
                </a:gridCol>
                <a:gridCol w="648291">
                  <a:extLst>
                    <a:ext uri="{9D8B030D-6E8A-4147-A177-3AD203B41FA5}">
                      <a16:colId xmlns:a16="http://schemas.microsoft.com/office/drawing/2014/main" val="62708565"/>
                    </a:ext>
                  </a:extLst>
                </a:gridCol>
                <a:gridCol w="648291">
                  <a:extLst>
                    <a:ext uri="{9D8B030D-6E8A-4147-A177-3AD203B41FA5}">
                      <a16:colId xmlns:a16="http://schemas.microsoft.com/office/drawing/2014/main" val="31688122"/>
                    </a:ext>
                  </a:extLst>
                </a:gridCol>
                <a:gridCol w="648291">
                  <a:extLst>
                    <a:ext uri="{9D8B030D-6E8A-4147-A177-3AD203B41FA5}">
                      <a16:colId xmlns:a16="http://schemas.microsoft.com/office/drawing/2014/main" val="2454520991"/>
                    </a:ext>
                  </a:extLst>
                </a:gridCol>
                <a:gridCol w="648291">
                  <a:extLst>
                    <a:ext uri="{9D8B030D-6E8A-4147-A177-3AD203B41FA5}">
                      <a16:colId xmlns:a16="http://schemas.microsoft.com/office/drawing/2014/main" val="1148709605"/>
                    </a:ext>
                  </a:extLst>
                </a:gridCol>
                <a:gridCol w="648291">
                  <a:extLst>
                    <a:ext uri="{9D8B030D-6E8A-4147-A177-3AD203B41FA5}">
                      <a16:colId xmlns:a16="http://schemas.microsoft.com/office/drawing/2014/main" val="129273525"/>
                    </a:ext>
                  </a:extLst>
                </a:gridCol>
                <a:gridCol w="648291">
                  <a:extLst>
                    <a:ext uri="{9D8B030D-6E8A-4147-A177-3AD203B41FA5}">
                      <a16:colId xmlns:a16="http://schemas.microsoft.com/office/drawing/2014/main" val="654776367"/>
                    </a:ext>
                  </a:extLst>
                </a:gridCol>
              </a:tblGrid>
              <a:tr h="128649">
                <a:tc>
                  <a:txBody>
                    <a:bodyPr/>
                    <a:lstStyle/>
                    <a:p>
                      <a:pPr algn="l" fontAlgn="b"/>
                      <a:endParaRPr lang="en-US" sz="800" b="1" i="0" u="sng" strike="noStrike">
                        <a:solidFill>
                          <a:schemeClr val="tx1"/>
                        </a:solidFill>
                        <a:effectLst/>
                        <a:latin typeface="Nexa Bold" panose="00000800000000000000" pitchFamily="2" charset="0"/>
                      </a:endParaRPr>
                    </a:p>
                  </a:txBody>
                  <a:tcPr marL="1828" marR="1828" marT="1828"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a:noFill/>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6">
                  <a:txBody>
                    <a:bodyPr/>
                    <a:lstStyle/>
                    <a:p>
                      <a:pPr algn="ctr" fontAlgn="b"/>
                      <a:r>
                        <a:rPr lang="en-US" sz="800" b="1" i="0" u="none" strike="noStrike">
                          <a:solidFill>
                            <a:schemeClr val="tx1"/>
                          </a:solidFill>
                          <a:effectLst/>
                          <a:latin typeface="Nexa Bold" panose="00000800000000000000" pitchFamily="2" charset="0"/>
                        </a:rPr>
                        <a:t>Impact at product level</a:t>
                      </a:r>
                    </a:p>
                  </a:txBody>
                  <a:tcPr marL="1828" marR="1828" marT="1828" marB="0" anchor="b">
                    <a:lnL w="12700" cap="flat" cmpd="sng" algn="ctr">
                      <a:solidFill>
                        <a:schemeClr val="bg1"/>
                      </a:solid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CH"/>
                    </a:p>
                  </a:txBody>
                  <a:tcPr/>
                </a:tc>
                <a:tc hMerge="1">
                  <a:txBody>
                    <a:bodyPr/>
                    <a:lstStyle/>
                    <a:p>
                      <a:endParaRPr lang="en-CH"/>
                    </a:p>
                  </a:txBody>
                  <a:tcPr/>
                </a:tc>
                <a:tc hMerge="1">
                  <a:txBody>
                    <a:bodyPr/>
                    <a:lstStyle/>
                    <a:p>
                      <a:endParaRPr lang="en-AE"/>
                    </a:p>
                  </a:txBody>
                  <a:tcPr/>
                </a:tc>
                <a:tc hMerge="1">
                  <a:txBody>
                    <a:bodyPr/>
                    <a:lstStyle/>
                    <a:p>
                      <a:endParaRPr lang="en-CH"/>
                    </a:p>
                  </a:txBody>
                  <a:tcPr/>
                </a:tc>
                <a:tc hMerge="1">
                  <a:txBody>
                    <a:bodyPr/>
                    <a:lstStyle/>
                    <a:p>
                      <a:pPr algn="ctr" fontAlgn="b"/>
                      <a:r>
                        <a:rPr lang="en-CH" sz="900" b="1" i="0" u="none" strike="noStrike">
                          <a:solidFill>
                            <a:srgbClr val="000000"/>
                          </a:solidFill>
                          <a:effectLst/>
                          <a:latin typeface="+mj-lt"/>
                        </a:rPr>
                        <a:t> </a:t>
                      </a:r>
                    </a:p>
                  </a:txBody>
                  <a:tcPr marL="1828" marR="1828" marT="1828" marB="0" anchor="b">
                    <a:lnL w="63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3974451"/>
                  </a:ext>
                </a:extLst>
              </a:tr>
              <a:tr h="255397">
                <a:tc>
                  <a:txBody>
                    <a:bodyPr/>
                    <a:lstStyle/>
                    <a:p>
                      <a:pPr algn="ctr" rtl="0" fontAlgn="ctr"/>
                      <a:r>
                        <a:rPr lang="en-US" sz="800" b="0" i="0" u="none" strike="noStrike">
                          <a:solidFill>
                            <a:srgbClr val="575555"/>
                          </a:solidFill>
                          <a:effectLst/>
                          <a:latin typeface="Nexa Bold" panose="00000800000000000000" pitchFamily="2" charset="0"/>
                        </a:rPr>
                        <a:t>Product</a:t>
                      </a:r>
                    </a:p>
                  </a:txBody>
                  <a:tcPr marL="1828" marR="1828" marT="1828" marB="0">
                    <a:lnL>
                      <a:noFill/>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Base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New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Change</a:t>
                      </a:r>
                    </a:p>
                  </a:txBody>
                  <a:tcPr marL="1828" marR="1828" marT="1828" marB="0">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Volum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Revenu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Gross Profit</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a:t>
                      </a:r>
                    </a:p>
                    <a:p>
                      <a:pPr algn="ctr" rtl="0" fontAlgn="ctr"/>
                      <a:r>
                        <a:rPr lang="en-US" sz="800" b="0" i="0" u="none" strike="noStrike">
                          <a:solidFill>
                            <a:srgbClr val="575555"/>
                          </a:solidFill>
                          <a:effectLst/>
                          <a:latin typeface="Nexa Bold" panose="00000800000000000000" pitchFamily="2" charset="0"/>
                        </a:rPr>
                        <a:t>Elasticity</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CD P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49" rtl="0" eaLnBrk="1" fontAlgn="ctr" latinLnBrk="0" hangingPunct="1">
                        <a:lnSpc>
                          <a:spcPct val="100000"/>
                        </a:lnSpc>
                        <a:spcBef>
                          <a:spcPts val="0"/>
                        </a:spcBef>
                        <a:spcAft>
                          <a:spcPts val="0"/>
                        </a:spcAft>
                        <a:buClrTx/>
                        <a:buSzTx/>
                        <a:buFontTx/>
                        <a:buNone/>
                        <a:tabLst/>
                        <a:defRPr/>
                      </a:pPr>
                      <a:r>
                        <a:rPr lang="en-US" sz="800" b="0" i="0" u="none" strike="noStrike">
                          <a:solidFill>
                            <a:srgbClr val="575555"/>
                          </a:solidFill>
                          <a:effectLst/>
                          <a:latin typeface="Nexa Bold" panose="00000800000000000000" pitchFamily="2" charset="0"/>
                        </a:rPr>
                        <a:t>PCD PE</a:t>
                      </a:r>
                    </a:p>
                  </a:txBody>
                  <a:tcPr marL="1828" marR="1828" marT="1828" marB="0">
                    <a:lnL w="190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5018296"/>
                  </a:ext>
                </a:extLst>
              </a:tr>
              <a:tr h="385020">
                <a:tc>
                  <a:txBody>
                    <a:bodyPr/>
                    <a:lstStyle/>
                    <a:p>
                      <a:pPr algn="l">
                        <a:defRPr sz="600" b="1">
                          <a:latin typeface="Nexa Bold"/>
                        </a:defRPr>
                      </a:pPr>
                      <a:r>
                        <a:rPr sz="600">
                          <a:latin typeface="Nexa Bold"/>
                        </a:rPr>
                        <a:t>Schick Quattro Four Blade Refills 6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3%</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6.4</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4.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3.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6</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48100420"/>
                  </a:ext>
                </a:extLst>
              </a:tr>
              <a:tr h="385020">
                <a:tc>
                  <a:txBody>
                    <a:bodyPr/>
                    <a:lstStyle/>
                    <a:p>
                      <a:pPr algn="l">
                        <a:defRPr sz="600" b="1">
                          <a:latin typeface="Nexa Bold"/>
                        </a:defRPr>
                      </a:pPr>
                      <a:r>
                        <a:rPr sz="600">
                          <a:latin typeface="Nexa Bold"/>
                        </a:rPr>
                        <a:t>Equate 5 Blades Blade Refills 4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5%</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5.3</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0.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0.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5691372"/>
                  </a:ext>
                </a:extLst>
              </a:tr>
              <a:tr h="385020">
                <a:tc>
                  <a:txBody>
                    <a:bodyPr/>
                    <a:lstStyle/>
                    <a:p>
                      <a:pPr algn="l">
                        <a:defRPr sz="600" b="1">
                          <a:latin typeface="Nexa Bold"/>
                        </a:defRPr>
                      </a:pPr>
                      <a:r>
                        <a:rPr sz="600">
                          <a:latin typeface="Nexa Bold"/>
                        </a:rPr>
                        <a:t>Equate 5 Blades Blade Refills 4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5%</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9.8</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9.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7534962"/>
                  </a:ext>
                </a:extLst>
              </a:tr>
              <a:tr h="385020">
                <a:tc>
                  <a:txBody>
                    <a:bodyPr/>
                    <a:lstStyle/>
                    <a:p>
                      <a:pPr algn="l">
                        <a:defRPr sz="600" b="1">
                          <a:latin typeface="Nexa Bold"/>
                        </a:defRPr>
                      </a:pPr>
                      <a:r>
                        <a:rPr sz="600">
                          <a:latin typeface="Nexa Bold"/>
                        </a:rPr>
                        <a:t>Equate Easy Fit 5 Blade Refills 4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5%</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0.3</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6.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6.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5</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4951046"/>
                  </a:ext>
                </a:extLst>
              </a:tr>
              <a:tr h="385020">
                <a:tc>
                  <a:txBody>
                    <a:bodyPr/>
                    <a:lstStyle/>
                    <a:p>
                      <a:pPr algn="l">
                        <a:defRPr sz="600" b="1">
                          <a:latin typeface="Nexa Bold"/>
                        </a:defRPr>
                      </a:pPr>
                      <a:r>
                        <a:rPr sz="600">
                          <a:latin typeface="Nexa Bold"/>
                        </a:rPr>
                        <a:t>Equate Easy Fit 5 Blade Refills 4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5%</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8.4</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7.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8.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5496451"/>
                  </a:ext>
                </a:extLst>
              </a:tr>
              <a:tr h="385020">
                <a:tc>
                  <a:txBody>
                    <a:bodyPr/>
                    <a:lstStyle/>
                    <a:p>
                      <a:pPr algn="l">
                        <a:defRPr sz="600" b="1">
                          <a:latin typeface="Nexa Bold"/>
                        </a:defRPr>
                      </a:pPr>
                      <a:r>
                        <a:rPr sz="600">
                          <a:latin typeface="Nexa Bold"/>
                        </a:rPr>
                        <a:t>Equate Easy Fit 5 Blade Refills 8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5%</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4.9</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5.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9.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9691915"/>
                  </a:ext>
                </a:extLst>
              </a:tr>
              <a:tr h="385020">
                <a:tc>
                  <a:txBody>
                    <a:bodyPr/>
                    <a:lstStyle/>
                    <a:p>
                      <a:pPr algn="l">
                        <a:defRPr sz="600" b="1">
                          <a:latin typeface="Nexa Bold"/>
                        </a:defRPr>
                      </a:pPr>
                      <a:r>
                        <a:rPr sz="600">
                          <a:latin typeface="Nexa Bold"/>
                        </a:rPr>
                        <a:t>Equate Easy Fit 5 Blade Refills 8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5%</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2.7</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0.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5</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2548285"/>
                  </a:ext>
                </a:extLst>
              </a:tr>
              <a:tr h="385020">
                <a:tc>
                  <a:txBody>
                    <a:bodyPr/>
                    <a:lstStyle/>
                    <a:p>
                      <a:pPr algn="l">
                        <a:defRPr sz="600" b="1">
                          <a:latin typeface="Nexa Bold"/>
                        </a:defRPr>
                      </a:pPr>
                      <a:r>
                        <a:rPr sz="600">
                          <a:latin typeface="Nexa Bold"/>
                        </a:rPr>
                        <a:t>Equate Easy Fit 5 Blade Refills 12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6.3</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1.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3.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2217481"/>
                  </a:ext>
                </a:extLst>
              </a:tr>
            </a:tbl>
          </a:graphicData>
        </a:graphic>
      </p:graphicFrame>
      <mc:AlternateContent xmlns:mc="http://schemas.openxmlformats.org/markup-compatibility/2006">
        <mc:Choice xmlns:a14="http://schemas.microsoft.com/office/drawing/2010/main" Requires="a14">
          <p:sp>
            <p:nvSpPr>
              <p:cNvPr id="15" name="TextBox 14">
                <a:extLst>
                  <a:ext uri="{FF2B5EF4-FFF2-40B4-BE49-F238E27FC236}">
                    <a16:creationId xmlns:a16="http://schemas.microsoft.com/office/drawing/2014/main" id="{0435653C-1939-699E-AE30-F311ED3D5C0A}"/>
                  </a:ext>
                </a:extLst>
              </p:cNvPr>
              <p:cNvSpPr txBox="1"/>
              <p:nvPr/>
            </p:nvSpPr>
            <p:spPr>
              <a:xfrm>
                <a:off x="2223435" y="4626106"/>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1013"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5" name="TextBox 14">
                <a:extLst>
                  <a:ext uri="{FF2B5EF4-FFF2-40B4-BE49-F238E27FC236}">
                    <a16:creationId xmlns:a16="http://schemas.microsoft.com/office/drawing/2014/main" id="{0435653C-1939-699E-AE30-F311ED3D5C0A}"/>
                  </a:ext>
                </a:extLst>
              </p:cNvPr>
              <p:cNvSpPr txBox="1">
                <a:spLocks noRot="1" noChangeAspect="1" noMove="1" noResize="1" noEditPoints="1" noAdjustHandles="1" noChangeArrowheads="1" noChangeShapeType="1" noTextEdit="1"/>
              </p:cNvSpPr>
              <p:nvPr/>
            </p:nvSpPr>
            <p:spPr>
              <a:xfrm>
                <a:off x="2223435" y="4626106"/>
                <a:ext cx="3492000" cy="216000"/>
              </a:xfrm>
              <a:prstGeom prst="rect">
                <a:avLst/>
              </a:prstGeom>
              <a:blipFill>
                <a:blip r:embed="rId5"/>
                <a:stretch>
                  <a:fillRect t="-5714" b="-20000"/>
                </a:stretch>
              </a:blipFill>
              <a:ln>
                <a:noFill/>
              </a:ln>
            </p:spPr>
            <p:txBody>
              <a:bodyPr/>
              <a:lstStyle/>
              <a:p>
                <a:r>
                  <a:rPr lang="en-CH">
                    <a:noFill/>
                  </a:rPr>
                  <a:t> </a:t>
                </a:r>
              </a:p>
            </p:txBody>
          </p:sp>
        </mc:Fallback>
      </mc:AlternateContent>
      <mc:AlternateContent xmlns:mc="http://schemas.openxmlformats.org/markup-compatibility/2006">
        <mc:Choice xmlns:a14="http://schemas.microsoft.com/office/drawing/2010/main" Requires="a14">
          <p:sp>
            <p:nvSpPr>
              <p:cNvPr id="17" name="TextBox 16">
                <a:extLst>
                  <a:ext uri="{FF2B5EF4-FFF2-40B4-BE49-F238E27FC236}">
                    <a16:creationId xmlns:a16="http://schemas.microsoft.com/office/drawing/2014/main" id="{618D05B6-EB34-41CC-89DF-6DC6A920D559}"/>
                  </a:ext>
                </a:extLst>
              </p:cNvPr>
              <p:cNvSpPr txBox="1"/>
              <p:nvPr/>
            </p:nvSpPr>
            <p:spPr>
              <a:xfrm>
                <a:off x="2223435" y="4866727"/>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700"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7" name="TextBox 16">
                <a:extLst>
                  <a:ext uri="{FF2B5EF4-FFF2-40B4-BE49-F238E27FC236}">
                    <a16:creationId xmlns:a16="http://schemas.microsoft.com/office/drawing/2014/main" id="{618D05B6-EB34-41CC-89DF-6DC6A920D559}"/>
                  </a:ext>
                </a:extLst>
              </p:cNvPr>
              <p:cNvSpPr txBox="1">
                <a:spLocks noRot="1" noChangeAspect="1" noMove="1" noResize="1" noEditPoints="1" noAdjustHandles="1" noChangeArrowheads="1" noChangeShapeType="1" noTextEdit="1"/>
              </p:cNvSpPr>
              <p:nvPr/>
            </p:nvSpPr>
            <p:spPr>
              <a:xfrm>
                <a:off x="2223435" y="4866727"/>
                <a:ext cx="3492000" cy="216000"/>
              </a:xfrm>
              <a:prstGeom prst="rect">
                <a:avLst/>
              </a:prstGeom>
              <a:blipFill>
                <a:blip r:embed="rId6"/>
                <a:stretch>
                  <a:fillRect l="-873" t="-5556" r="-1047" b="-19444"/>
                </a:stretch>
              </a:blipFill>
              <a:ln>
                <a:noFill/>
              </a:ln>
            </p:spPr>
            <p:txBody>
              <a:bodyPr/>
              <a:lstStyle/>
              <a:p>
                <a:r>
                  <a:rPr lang="en-CH">
                    <a:noFill/>
                  </a:rPr>
                  <a:t> </a:t>
                </a:r>
              </a:p>
            </p:txBody>
          </p:sp>
        </mc:Fallback>
      </mc:AlternateContent>
      <p:sp>
        <p:nvSpPr>
          <p:cNvPr id="3" name="Date Placeholder 2">
            <a:extLst>
              <a:ext uri="{FF2B5EF4-FFF2-40B4-BE49-F238E27FC236}">
                <a16:creationId xmlns:a16="http://schemas.microsoft.com/office/drawing/2014/main" id="{C031E1F3-7E84-886A-BCBF-290FEA70D5A8}"/>
              </a:ext>
            </a:extLst>
          </p:cNvPr>
          <p:cNvSpPr>
            <a:spLocks noGrp="1"/>
          </p:cNvSpPr>
          <p:nvPr>
            <p:ph type="dt" sz="half" idx="14"/>
          </p:nvPr>
        </p:nvSpPr>
        <p:spPr/>
        <p:txBody>
          <a:bodyPr/>
          <a:lstStyle/>
          <a:p>
            <a:fld id="{BB002644-2D98-4E85-9606-3F7EA2621739}" type="datetime1">
              <a:rPr lang="en-US" smtClean="0"/>
              <a:t>8/15/2025</a:t>
            </a:fld>
            <a:endParaRPr lang="en-US"/>
          </a:p>
        </p:txBody>
      </p:sp>
      <p:sp>
        <p:nvSpPr>
          <p:cNvPr id="4" name="Slide Number Placeholder 3">
            <a:extLst>
              <a:ext uri="{FF2B5EF4-FFF2-40B4-BE49-F238E27FC236}">
                <a16:creationId xmlns:a16="http://schemas.microsoft.com/office/drawing/2014/main" id="{8BA7F6E9-39B9-4EF4-DBEF-296E442DC80A}"/>
              </a:ext>
            </a:extLst>
          </p:cNvPr>
          <p:cNvSpPr>
            <a:spLocks noGrp="1"/>
          </p:cNvSpPr>
          <p:nvPr>
            <p:ph type="sldNum" sz="quarter" idx="16"/>
          </p:nvPr>
        </p:nvSpPr>
        <p:spPr/>
        <p:txBody>
          <a:bodyPr/>
          <a:lstStyle/>
          <a:p>
            <a:fld id="{7B1F438D-4EAF-094E-9162-80CF3EF77236}" type="slidenum">
              <a:rPr lang="en-US" smtClean="0"/>
              <a:pPr/>
              <a:t>138</a:t>
            </a:fld>
            <a:endParaRPr lang="en-US"/>
          </a:p>
        </p:txBody>
      </p:sp>
    </p:spTree>
    <p:extLst>
      <p:ext uri="{BB962C8B-B14F-4D97-AF65-F5344CB8AC3E}">
        <p14:creationId xmlns:p14="http://schemas.microsoft.com/office/powerpoint/2010/main" val="384847406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b="1">
                          <a:latin typeface="Nexa Bold"/>
                        </a:defRPr>
                      </a:pPr>
                      <a:r>
                        <a:rPr sz="800">
                          <a:latin typeface="Nexa Bold"/>
                        </a:rPr>
                        <a:t>7.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rrys Razor (6.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b="1">
                          <a:latin typeface="Nexa Bold"/>
                        </a:defRPr>
                      </a:pPr>
                      <a:r>
                        <a:rPr sz="800">
                          <a:latin typeface="Nexa Bold"/>
                        </a:rPr>
                        <a:t>6.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rrys Blade (5.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Dispo (16.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Razor (1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Dispo (17.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Dispo (19.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Dispo (8.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b="1">
                          <a:latin typeface="Nexa Bold"/>
                        </a:defRPr>
                      </a:pPr>
                      <a:r>
                        <a:rPr sz="800">
                          <a:latin typeface="Nexa Bold"/>
                        </a:rPr>
                        <a:t>4.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ollar Shave Club Razor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Blade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Razor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Harrys Razor (6.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7.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Gillette Razor (1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Harrys Blade (5.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Bic Dispo (16.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Gillette Dispo (17.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Gillette Blade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Schick Dispo (8.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Equate Dispo (19.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Dollar Shave Club Razor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Equate Blade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Van Der Hagen Razor (0.8%)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8/1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4</a:t>
            </a:fld>
            <a:endParaRPr lang="en-US"/>
          </a:p>
        </p:txBody>
      </p:sp>
    </p:spTree>
    <p:extLst>
      <p:ext uri="{BB962C8B-B14F-4D97-AF65-F5344CB8AC3E}">
        <p14:creationId xmlns:p14="http://schemas.microsoft.com/office/powerpoint/2010/main" val="148270476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b="1">
                          <a:latin typeface="Nexa Bold"/>
                        </a:defRPr>
                      </a:pPr>
                      <a:r>
                        <a:rPr sz="800">
                          <a:latin typeface="Nexa Bold"/>
                        </a:rPr>
                        <a:t>0.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Dispo (8.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Dispo (17.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Dispo (19.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Dispo (16.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Razor (1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ollar Shave Club Razor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Blade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rrys Razor (6.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b="1">
                          <a:latin typeface="Nexa Bold"/>
                        </a:defRPr>
                      </a:pPr>
                      <a:r>
                        <a:rPr sz="800">
                          <a:latin typeface="Nexa Bold"/>
                        </a:rPr>
                        <a:t>0.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Razor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rrys Blade (5.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Schick Dispo (8.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0.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Gillette Dispo (17.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Equate Dispo (19.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Bic Dispo (16.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Gillette Razor (1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Dollar Shave Club Razor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Gillette Blade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Harrys Razor (6.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Equate Razor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0.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Harrys Blade (5.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Schick Blade (1.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8/1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5</a:t>
            </a:fld>
            <a:endParaRPr lang="en-US"/>
          </a:p>
        </p:txBody>
      </p:sp>
    </p:spTree>
    <p:extLst>
      <p:ext uri="{BB962C8B-B14F-4D97-AF65-F5344CB8AC3E}">
        <p14:creationId xmlns:p14="http://schemas.microsoft.com/office/powerpoint/2010/main" val="347358940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b="1">
                          <a:latin typeface="Nexa Bold"/>
                        </a:defRPr>
                      </a:pPr>
                      <a:r>
                        <a:rPr sz="800">
                          <a:latin typeface="Nexa Bold"/>
                        </a:rPr>
                        <a:t>1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Blade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Dispo (17.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Dispo (16.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Dispo (19.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Dispo (8.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rrys Razor (6.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rrys Blade (5.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Razor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ollar Shave Club Razor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Van Der Hagen Razor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Gillette Blade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Gillette Dispo (17.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Bic Dispo (16.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Equate Dispo (19.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Schick Dispo (8.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Harrys Razor (6.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Harrys Blade (5.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Schick Razor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Dollar Shave Club Razor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Van Der Hagen Razor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Equate Blade (1.4%)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8/1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6</a:t>
            </a:fld>
            <a:endParaRPr lang="en-US"/>
          </a:p>
        </p:txBody>
      </p:sp>
    </p:spTree>
    <p:extLst>
      <p:ext uri="{BB962C8B-B14F-4D97-AF65-F5344CB8AC3E}">
        <p14:creationId xmlns:p14="http://schemas.microsoft.com/office/powerpoint/2010/main" val="47774141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b="1">
                          <a:latin typeface="Nexa Bold"/>
                        </a:defRPr>
                      </a:pPr>
                      <a:r>
                        <a:rPr sz="800">
                          <a:latin typeface="Nexa Bold"/>
                        </a:rPr>
                        <a:t>3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Blade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Dispo (17.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Dispo (16.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Dispo (8.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Dispo (19.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rrys Razor (6.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rrys Blade (5.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Razor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ollar Shave Club Razor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Razor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Equate Blade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8.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Gillette Dispo (17.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Bic Dispo (16.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Schick Dispo (8.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Equate Dispo (19.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Harrys Razor (6.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Harrys Blade (5.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Schick Razor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Dollar Shave Club Razor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Equate Razor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Gillette Blade (7.3%)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8/1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7</a:t>
            </a:fld>
            <a:endParaRPr lang="en-US"/>
          </a:p>
        </p:txBody>
      </p:sp>
    </p:spTree>
    <p:extLst>
      <p:ext uri="{BB962C8B-B14F-4D97-AF65-F5344CB8AC3E}">
        <p14:creationId xmlns:p14="http://schemas.microsoft.com/office/powerpoint/2010/main" val="60808123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Dispo (16.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Razor (1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Dispo (17.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b="1">
                          <a:latin typeface="Nexa Bold"/>
                        </a:defRPr>
                      </a:pPr>
                      <a:r>
                        <a:rPr sz="800">
                          <a:latin typeface="Nexa Bold"/>
                        </a:rPr>
                        <a:t>0.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ollar Shave Club Razor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Dispo (19.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b="1">
                          <a:latin typeface="Nexa Bold"/>
                        </a:defRPr>
                      </a:pPr>
                      <a:r>
                        <a:rPr sz="800">
                          <a:latin typeface="Nexa Bold"/>
                        </a:rPr>
                        <a:t>0.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ollar Shave Club Blade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Blade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b="1">
                          <a:latin typeface="Nexa Bold"/>
                        </a:defRPr>
                      </a:pPr>
                      <a:r>
                        <a:rPr sz="800">
                          <a:latin typeface="Nexa Bold"/>
                        </a:rPr>
                        <a:t>0.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Van Der Hagen Razor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Dispo (8.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Van Der Hagen Blade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Bic Dispo (16.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Gillette Razor (1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Gillette Dispo (17.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Dollar Shave Club Razor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Equate Dispo (19.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Dollar Shave Club Blade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Gillette Blade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Van Der Hagen Razor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Schick Dispo (8.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Van Der Hagen Blade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Harrys Blade (5.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8/1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8</a:t>
            </a:fld>
            <a:endParaRPr lang="en-US"/>
          </a:p>
        </p:txBody>
      </p:sp>
    </p:spTree>
    <p:extLst>
      <p:ext uri="{BB962C8B-B14F-4D97-AF65-F5344CB8AC3E}">
        <p14:creationId xmlns:p14="http://schemas.microsoft.com/office/powerpoint/2010/main" val="401749454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0.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Dispo (16.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0.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Dispo (19.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b="1">
                          <a:latin typeface="Nexa Bold"/>
                        </a:defRPr>
                      </a:pPr>
                      <a:r>
                        <a:rPr sz="800">
                          <a:latin typeface="Nexa Bold"/>
                        </a:rPr>
                        <a:t>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rrys Razor (6.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0.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Dispo (17.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Razor (1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b="1">
                          <a:latin typeface="Nexa Bold"/>
                        </a:defRPr>
                      </a:pPr>
                      <a:r>
                        <a:rPr sz="800">
                          <a:latin typeface="Nexa Bold"/>
                        </a:rPr>
                        <a:t>0.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rrys Blade (5.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Dispo (8.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Blade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Razor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b="1">
                          <a:latin typeface="Nexa Bold"/>
                        </a:defRPr>
                      </a:pPr>
                      <a:r>
                        <a:rPr sz="800">
                          <a:latin typeface="Nexa Bold"/>
                        </a:rPr>
                        <a:t>0.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Razor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Bic Dispo (16.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Equate Dispo (19.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Harrys Razor (6.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Gillette Dispo (17.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Gillette Razor (1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Harrys Blade (5.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0.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Schick Dispo (8.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Gillette Blade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Schick Razor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Equate Razor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0.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Dollar Shave Club Blade (0.9%)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8/1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9</a:t>
            </a:fld>
            <a:endParaRPr lang="en-US"/>
          </a:p>
        </p:txBody>
      </p:sp>
    </p:spTree>
    <p:extLst>
      <p:ext uri="{BB962C8B-B14F-4D97-AF65-F5344CB8AC3E}">
        <p14:creationId xmlns:p14="http://schemas.microsoft.com/office/powerpoint/2010/main" val="404079889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3A62DB2-FD52-E1C9-07D5-B7BBF96173D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ource">
            <a:extLst>
              <a:ext uri="{FF2B5EF4-FFF2-40B4-BE49-F238E27FC236}">
                <a16:creationId xmlns:a16="http://schemas.microsoft.com/office/drawing/2014/main" id="{49A0EAFD-7A4B-D34F-8332-905D5EE3F938}"/>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12" name="Head">
            <a:extLst>
              <a:ext uri="{FF2B5EF4-FFF2-40B4-BE49-F238E27FC236}">
                <a16:creationId xmlns:a16="http://schemas.microsoft.com/office/drawing/2014/main" id="{600EB69F-E381-4CC8-A7D8-489ABD2C2B07}"/>
              </a:ext>
            </a:extLst>
          </p:cNvPr>
          <p:cNvSpPr>
            <a:spLocks noGrp="1"/>
          </p:cNvSpPr>
          <p:nvPr>
            <p:ph type="body" sz="quarter" idx="18"/>
          </p:nvPr>
        </p:nvSpPr>
        <p:spPr>
          <a:xfrm>
            <a:off x="503238" y="774000"/>
            <a:ext cx="8136762" cy="360000"/>
          </a:xfrm>
        </p:spPr>
        <p:txBody>
          <a:bodyPr/>
          <a:lstStyle/>
          <a:p>
            <a:pPr>
              <a:defRPr sz="1200"/>
            </a:pPr>
            <a:r>
              <a:t>Based on price change | by Brand | Dispo | Walmart</a:t>
            </a:r>
          </a:p>
        </p:txBody>
      </p:sp>
      <p:sp>
        <p:nvSpPr>
          <p:cNvPr id="3" name="Title 2">
            <a:extLst>
              <a:ext uri="{FF2B5EF4-FFF2-40B4-BE49-F238E27FC236}">
                <a16:creationId xmlns:a16="http://schemas.microsoft.com/office/drawing/2014/main" id="{99087546-885A-2746-A450-6ADD7CD5B24C}"/>
              </a:ext>
            </a:extLst>
          </p:cNvPr>
          <p:cNvSpPr>
            <a:spLocks noGrp="1"/>
          </p:cNvSpPr>
          <p:nvPr>
            <p:ph type="title"/>
          </p:nvPr>
        </p:nvSpPr>
        <p:spPr>
          <a:xfrm>
            <a:off x="504000" y="-1"/>
            <a:ext cx="8136000" cy="771525"/>
          </a:xfrm>
        </p:spPr>
        <p:txBody>
          <a:bodyPr/>
          <a:lstStyle/>
          <a:p>
            <a:r>
              <a:rPr lang="en-GB" dirty="0">
                <a:highlight>
                  <a:srgbClr val="FFFF00"/>
                </a:highlight>
              </a:rPr>
              <a:t>Brand Elasticity Analysis</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5" name="C1">
            <a:extLst>
              <a:ext uri="{FF2B5EF4-FFF2-40B4-BE49-F238E27FC236}">
                <a16:creationId xmlns:a16="http://schemas.microsoft.com/office/drawing/2014/main" id="{DB46EE52-D3FE-A9A8-CB7A-E6FF00C3FE0F}"/>
              </a:ext>
            </a:extLst>
          </p:cNvPr>
          <p:cNvGraphicFramePr>
            <a:graphicFrameLocks/>
          </p:cNvGraphicFramePr>
          <p:nvPr>
            <p:extLst>
              <p:ext uri="{D42A27DB-BD31-4B8C-83A1-F6EECF244321}">
                <p14:modId xmlns:p14="http://schemas.microsoft.com/office/powerpoint/2010/main" val="4155870252"/>
              </p:ext>
            </p:extLst>
          </p:nvPr>
        </p:nvGraphicFramePr>
        <p:xfrm>
          <a:off x="540544" y="1131888"/>
          <a:ext cx="8099822" cy="3619897"/>
        </p:xfrm>
        <a:graphic>
          <a:graphicData uri="http://schemas.openxmlformats.org/drawingml/2006/chart">
            <c:chart xmlns:c="http://schemas.openxmlformats.org/drawingml/2006/chart" xmlns:r="http://schemas.openxmlformats.org/officeDocument/2006/relationships" r:id="rId2"/>
          </a:graphicData>
        </a:graphic>
      </p:graphicFrame>
      <p:sp>
        <p:nvSpPr>
          <p:cNvPr id="13" name="Rectangle 12">
            <a:extLst>
              <a:ext uri="{FF2B5EF4-FFF2-40B4-BE49-F238E27FC236}">
                <a16:creationId xmlns:a16="http://schemas.microsoft.com/office/drawing/2014/main" id="{6CF4160F-D1E2-AB65-97CA-1117BB236A0A}"/>
              </a:ext>
            </a:extLst>
          </p:cNvPr>
          <p:cNvSpPr/>
          <p:nvPr/>
        </p:nvSpPr>
        <p:spPr>
          <a:xfrm>
            <a:off x="3843446" y="1130497"/>
            <a:ext cx="4797140" cy="15749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rPr>
              <a:t>Low retention and high appeal</a:t>
            </a:r>
            <a:endParaRPr kumimoji="0" lang="en-CH"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p:txBody>
      </p:sp>
      <p:sp>
        <p:nvSpPr>
          <p:cNvPr id="17" name="Rectangle 16">
            <a:extLst>
              <a:ext uri="{FF2B5EF4-FFF2-40B4-BE49-F238E27FC236}">
                <a16:creationId xmlns:a16="http://schemas.microsoft.com/office/drawing/2014/main" id="{9455B3BE-708F-EDE2-00A8-A6EF2396AEE5}"/>
              </a:ext>
            </a:extLst>
          </p:cNvPr>
          <p:cNvSpPr/>
          <p:nvPr/>
        </p:nvSpPr>
        <p:spPr>
          <a:xfrm>
            <a:off x="3835181" y="3437981"/>
            <a:ext cx="4802300" cy="10141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chemeClr val="accent3"/>
                </a:solidFill>
                <a:effectLst/>
                <a:uLnTx/>
                <a:uFillTx/>
                <a:latin typeface="Nexa Bold"/>
                <a:ea typeface="Open Sans" panose="020B0606030504020204" pitchFamily="34" charset="0"/>
                <a:cs typeface="Open Sans" panose="020B0606030504020204" pitchFamily="34" charset="0"/>
              </a:rPr>
              <a:t>High retention and high appeal</a:t>
            </a:r>
            <a:endParaRPr kumimoji="0" lang="en-CH" sz="900" b="1" i="0" u="none" strike="noStrike" kern="1200" cap="none" spc="0" normalizeH="0" baseline="0" noProof="0" dirty="0">
              <a:ln>
                <a:noFill/>
              </a:ln>
              <a:solidFill>
                <a:schemeClr val="accent3"/>
              </a:solidFill>
              <a:effectLst/>
              <a:uLnTx/>
              <a:uFillTx/>
              <a:latin typeface="Nexa Bold"/>
              <a:ea typeface="Open Sans" panose="020B0606030504020204" pitchFamily="34" charset="0"/>
              <a:cs typeface="Open Sans" panose="020B0606030504020204" pitchFamily="34" charset="0"/>
            </a:endParaRPr>
          </a:p>
        </p:txBody>
      </p:sp>
      <p:sp>
        <p:nvSpPr>
          <p:cNvPr id="16" name="Rectangle 15">
            <a:extLst>
              <a:ext uri="{FF2B5EF4-FFF2-40B4-BE49-F238E27FC236}">
                <a16:creationId xmlns:a16="http://schemas.microsoft.com/office/drawing/2014/main" id="{3A8E7FE2-155E-935C-6808-B494415D20A5}"/>
              </a:ext>
            </a:extLst>
          </p:cNvPr>
          <p:cNvSpPr/>
          <p:nvPr/>
        </p:nvSpPr>
        <p:spPr>
          <a:xfrm>
            <a:off x="1274612" y="3427905"/>
            <a:ext cx="2438180" cy="1023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rPr>
              <a:t>High retention and low appeal</a:t>
            </a:r>
            <a:endParaRPr kumimoji="0" lang="en-CH"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p:txBody>
      </p:sp>
      <p:sp>
        <p:nvSpPr>
          <p:cNvPr id="14" name="Rectangle 13">
            <a:extLst>
              <a:ext uri="{FF2B5EF4-FFF2-40B4-BE49-F238E27FC236}">
                <a16:creationId xmlns:a16="http://schemas.microsoft.com/office/drawing/2014/main" id="{B3153049-88EE-CB9D-636D-7F7B7F34DCDB}"/>
              </a:ext>
            </a:extLst>
          </p:cNvPr>
          <p:cNvSpPr/>
          <p:nvPr/>
        </p:nvSpPr>
        <p:spPr>
          <a:xfrm>
            <a:off x="1274612" y="1131888"/>
            <a:ext cx="2436345" cy="1590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C00000"/>
                </a:solidFill>
                <a:effectLst/>
                <a:uLnTx/>
                <a:uFillTx/>
                <a:latin typeface="Nexa Bold"/>
                <a:ea typeface="Open Sans" panose="020B0606030504020204" pitchFamily="34" charset="0"/>
                <a:cs typeface="Open Sans" panose="020B0606030504020204" pitchFamily="34" charset="0"/>
              </a:rPr>
              <a:t>Low retention and low appeal</a:t>
            </a:r>
            <a:endParaRPr kumimoji="0" lang="en-CH" sz="900" b="1" i="0" u="none" strike="noStrike" kern="1200" cap="none" spc="0" normalizeH="0" baseline="0" noProof="0" dirty="0">
              <a:ln>
                <a:noFill/>
              </a:ln>
              <a:solidFill>
                <a:srgbClr val="C00000"/>
              </a:solidFill>
              <a:effectLst/>
              <a:uLnTx/>
              <a:uFillTx/>
              <a:latin typeface="Nexa Bold"/>
              <a:ea typeface="Open Sans" panose="020B0606030504020204" pitchFamily="34" charset="0"/>
              <a:cs typeface="Open Sans" panose="020B0606030504020204" pitchFamily="34" charset="0"/>
            </a:endParaRPr>
          </a:p>
        </p:txBody>
      </p:sp>
      <p:sp>
        <p:nvSpPr>
          <p:cNvPr id="7" name="TextBox X">
            <a:extLst>
              <a:ext uri="{FF2B5EF4-FFF2-40B4-BE49-F238E27FC236}">
                <a16:creationId xmlns:a16="http://schemas.microsoft.com/office/drawing/2014/main" id="{7A1735C9-5987-C9BB-04E3-1910A272F2AB}"/>
              </a:ext>
            </a:extLst>
          </p:cNvPr>
          <p:cNvSpPr txBox="1"/>
          <p:nvPr/>
        </p:nvSpPr>
        <p:spPr>
          <a:xfrm>
            <a:off x="6944613" y="4550057"/>
            <a:ext cx="1698567" cy="21544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defRPr sz="800">
                <a:solidFill>
                  <a:srgbClr val="575555"/>
                </a:solidFill>
                <a:latin typeface="Nexa Bold"/>
              </a:defRPr>
            </a:pPr>
            <a:r>
              <a:t>Priced down by -10%</a:t>
            </a:r>
          </a:p>
        </p:txBody>
      </p:sp>
      <p:sp>
        <p:nvSpPr>
          <p:cNvPr id="6" name="TextBox Y">
            <a:extLst>
              <a:ext uri="{FF2B5EF4-FFF2-40B4-BE49-F238E27FC236}">
                <a16:creationId xmlns:a16="http://schemas.microsoft.com/office/drawing/2014/main" id="{047C5A97-7E48-E25D-669A-C45496340B4C}"/>
              </a:ext>
            </a:extLst>
          </p:cNvPr>
          <p:cNvSpPr txBox="1"/>
          <p:nvPr/>
        </p:nvSpPr>
        <p:spPr>
          <a:xfrm>
            <a:off x="517720" y="1137015"/>
            <a:ext cx="435454"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ctr">
              <a:defRPr sz="800">
                <a:solidFill>
                  <a:srgbClr val="575555"/>
                </a:solidFill>
                <a:latin typeface="Nexa Bold"/>
              </a:defRPr>
            </a:pPr>
            <a:r>
              <a:t>Priced up by +15%</a:t>
            </a:r>
          </a:p>
        </p:txBody>
      </p:sp>
      <p:sp>
        <p:nvSpPr>
          <p:cNvPr id="8" name="Date Placeholder 7">
            <a:extLst>
              <a:ext uri="{FF2B5EF4-FFF2-40B4-BE49-F238E27FC236}">
                <a16:creationId xmlns:a16="http://schemas.microsoft.com/office/drawing/2014/main" id="{6CC3C3E3-7EA8-9C3D-517E-77C1588500D7}"/>
              </a:ext>
            </a:extLst>
          </p:cNvPr>
          <p:cNvSpPr>
            <a:spLocks noGrp="1"/>
          </p:cNvSpPr>
          <p:nvPr>
            <p:ph type="dt" sz="half" idx="14"/>
          </p:nvPr>
        </p:nvSpPr>
        <p:spPr/>
        <p:txBody>
          <a:bodyPr/>
          <a:lstStyle/>
          <a:p>
            <a:fld id="{AD583B17-CA9E-4798-A693-AB6BF9A9B56D}" type="datetime1">
              <a:rPr lang="en-US" smtClean="0"/>
              <a:t>8/15/2025</a:t>
            </a:fld>
            <a:endParaRPr lang="en-US"/>
          </a:p>
        </p:txBody>
      </p:sp>
      <p:sp>
        <p:nvSpPr>
          <p:cNvPr id="9" name="Slide Number Placeholder 8">
            <a:extLst>
              <a:ext uri="{FF2B5EF4-FFF2-40B4-BE49-F238E27FC236}">
                <a16:creationId xmlns:a16="http://schemas.microsoft.com/office/drawing/2014/main" id="{8E663443-FA76-33F2-BF32-1CC0A2AAEDA2}"/>
              </a:ext>
            </a:extLst>
          </p:cNvPr>
          <p:cNvSpPr>
            <a:spLocks noGrp="1"/>
          </p:cNvSpPr>
          <p:nvPr>
            <p:ph type="sldNum" sz="quarter" idx="16"/>
          </p:nvPr>
        </p:nvSpPr>
        <p:spPr/>
        <p:txBody>
          <a:bodyPr/>
          <a:lstStyle/>
          <a:p>
            <a:fld id="{7B1F438D-4EAF-094E-9162-80CF3EF77236}" type="slidenum">
              <a:rPr lang="en-US" smtClean="0"/>
              <a:pPr/>
              <a:t>2</a:t>
            </a:fld>
            <a:endParaRPr lang="en-US"/>
          </a:p>
        </p:txBody>
      </p:sp>
    </p:spTree>
    <p:extLst>
      <p:ext uri="{BB962C8B-B14F-4D97-AF65-F5344CB8AC3E}">
        <p14:creationId xmlns:p14="http://schemas.microsoft.com/office/powerpoint/2010/main" val="415934114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Razor (1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Dispo (16.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rrys Razor (6.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Dispo (17.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rrys Blade (5.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Blade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Dispo (19.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Dispo (8.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Blade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ollar Shave Club Razor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Gillette Razor (1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Bic Dispo (16.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Harrys Razor (6.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Gillette Dispo (17.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Harrys Blade (5.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Gillette Blade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Equate Dispo (19.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Schick Dispo (8.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Equate Blade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Dollar Shave Club Razor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Van Der Hagen Blade (1.2%)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8/1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20</a:t>
            </a:fld>
            <a:endParaRPr lang="en-US"/>
          </a:p>
        </p:txBody>
      </p:sp>
    </p:spTree>
    <p:extLst>
      <p:ext uri="{BB962C8B-B14F-4D97-AF65-F5344CB8AC3E}">
        <p14:creationId xmlns:p14="http://schemas.microsoft.com/office/powerpoint/2010/main" val="277340755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5.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5 Pack (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6.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Men Sensitive Single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4.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Caliber 5 Disposable Razors 3 Pack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5.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Caliber 3 Disposable Razors 3 Pack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eed 3 Disposable Razors 8 Pack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Sensor 2 Plus Disposable Razors 10 Pack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Equate 2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Equate 2 Blade Disposable Razors 5 Pack (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Bic Men Sensitive Single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Equate Speed 3 Disposable Razors 8 Pack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Equate Caliber 5 Disposable Razors 3 Pack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Equate Caliber 3 Disposable Razors 3 Pack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5.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Schick Xtreme 3 Sensitive Disposable Razors 8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Schick Xtreme 2 Sensitive Disposable Razors 12 Pack (2.7%)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21</a:t>
            </a:fld>
            <a:endParaRPr lang="en-US"/>
          </a:p>
        </p:txBody>
      </p:sp>
    </p:spTree>
    <p:extLst>
      <p:ext uri="{BB962C8B-B14F-4D97-AF65-F5344CB8AC3E}">
        <p14:creationId xmlns:p14="http://schemas.microsoft.com/office/powerpoint/2010/main" val="395869018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18.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6.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Sensor 2 Pivot Head Disposable Razors 12 Pack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5.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Sensor 2 Plus Disposable Razors 10 Pack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Men Sensitive Single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5 Pack (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4.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8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6.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12 Pack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Bic Men Sensitive Single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Gillette Sensor 2 Pivot Head Disposable Razors 12 Pack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Equate 2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Equate 2 Blade Disposable Razors 5 Pack (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Gillette Sensor 2 Plus Disposable Razors 10 Pack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Schick Xtreme 3 Sensitive Disposable Razors 8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Schick Xtreme 3 Sensitive Disposable Razors 12 Pack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Bic Men Sensitive Twin Blade Disposable Razors 10 Pack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Schick Xtreme 2 Sensitive Disposable Razors 24 Pack (0.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22</a:t>
            </a:fld>
            <a:endParaRPr lang="en-US"/>
          </a:p>
        </p:txBody>
      </p:sp>
    </p:spTree>
    <p:extLst>
      <p:ext uri="{BB962C8B-B14F-4D97-AF65-F5344CB8AC3E}">
        <p14:creationId xmlns:p14="http://schemas.microsoft.com/office/powerpoint/2010/main" val="90128804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8.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4.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5 Pack (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Men Sensitive Single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Caliber 5 Disposable Razors 3 Pack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4.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Comfort 3 Sensitive Skin Disposable Razors 4 Pack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Mach 3 Sensitive Skin Disposable Razors 3 Pack (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7.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Gillette Mach 3 Sensitive Skin Disposable Razors 3 Pack (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Bic Flex 4 Sensitive Skin Disposable Razors 3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Equate Caliber 5 Disposable Razors 3 Pack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Bic Men Sensitive Single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Equate Speed 3 Disposable Razors 8 Pack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Bic Comfort 3 Sensitive Skin Disposable Razors 4 Pack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Schick Xtreme 5 Sensitive Disposable Razors 2 Pack (0.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23</a:t>
            </a:fld>
            <a:endParaRPr lang="en-US"/>
          </a:p>
        </p:txBody>
      </p:sp>
    </p:spTree>
    <p:extLst>
      <p:ext uri="{BB962C8B-B14F-4D97-AF65-F5344CB8AC3E}">
        <p14:creationId xmlns:p14="http://schemas.microsoft.com/office/powerpoint/2010/main" val="342083779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9.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5.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7.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8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4.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Mach 3 Sensitive Skin Disposable Razors 3 Pack (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4.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Hydro 5 Blade Sensitive 1 Handle + 3 Cartridg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Sensor 3 Sensitive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Flex 4 Sensitive Skin Disposable Razors 3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Caliber 5 Disposable Razors 3 Pack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Schick Xtreme 3 Sensitive Disposable Razors 8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8.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Schick Hydro 5 Blade Sensitive 1 Handle + 3 Cartridg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Gillette Mach 3 Sensitive Skin Disposable Razors 3 Pack (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Gillette Sensor 3 Sensitive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ic Flex 4 Sensitive Skin Disposable Razors 3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Equate 2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Schick Xtreme 5 Sensitive Disposable Razors 4 Pack (0.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24</a:t>
            </a:fld>
            <a:endParaRPr lang="en-US"/>
          </a:p>
        </p:txBody>
      </p:sp>
    </p:spTree>
    <p:extLst>
      <p:ext uri="{BB962C8B-B14F-4D97-AF65-F5344CB8AC3E}">
        <p14:creationId xmlns:p14="http://schemas.microsoft.com/office/powerpoint/2010/main" val="284544030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7.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1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8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1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12 Pack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5.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Sensor 3 Sensitive Disposable Razors 12 Pack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Mach 3 Sensitive Skin Disposable Razors 3 Pack (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Sensor 3 Sensitive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Sensor 3 Disposable Razors 12 Pack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7.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Schick Xtreme 3 Sensitive Disposable Razors 8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5.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Schick Xtreme 3 Sensitive Disposable Razors 12 Pack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Gillette Sensor 3 Sensitive Disposable Razors 12 Pack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5.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Schick Hydro 5 Blade Sensitive 1 Handle + 3 Cartridg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Gillette Mach 3 Sensitive Skin Disposable Razors 3 Pack (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Gillette Sensor 3 Disposable Razors 12 Pack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Gillette Sensor 3 Sensitive Disposable Razors 8 Pack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Schick Xtreme 5 Sensitive Disposable Razors 8 Pack (0.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25</a:t>
            </a:fld>
            <a:endParaRPr lang="en-US"/>
          </a:p>
        </p:txBody>
      </p:sp>
    </p:spTree>
    <p:extLst>
      <p:ext uri="{BB962C8B-B14F-4D97-AF65-F5344CB8AC3E}">
        <p14:creationId xmlns:p14="http://schemas.microsoft.com/office/powerpoint/2010/main" val="389831326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5 Pack (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Caliber 5 Disposable Razors 3 Pack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Comfort 3 Sensitive Skin Disposable Razors 4 Pack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7.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Caliber 3 Disposable Razors 3 Pack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Mach 3 Sensitive Skin Disposable Razors 3 Pack (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Men Sensitive Single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5.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Flex 4 Sensitive Skin Disposable Razors 3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8.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7.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Gillette Mach 3 Sensitive Skin Disposable Razors 3 Pack (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5.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Equate Caliber 5 Disposable Razors 3 Pack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5.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Equate 2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Equate 2 Blade Disposable Razors 5 Pack (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Bic Flex 4 Sensitive Skin Disposable Razors 3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Schick Xtreme 3 Sensitive Disposable Razors 8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ic Comfort 3 Sensitive Skin Disposable Razors 4 Pack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Equate Caliber 3 Disposable Razors 3 Pack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Schick Xtreme 3 Sensitive Disposable Razors 4 Pack (2.8%)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26</a:t>
            </a:fld>
            <a:endParaRPr lang="en-US"/>
          </a:p>
        </p:txBody>
      </p:sp>
    </p:spTree>
    <p:extLst>
      <p:ext uri="{BB962C8B-B14F-4D97-AF65-F5344CB8AC3E}">
        <p14:creationId xmlns:p14="http://schemas.microsoft.com/office/powerpoint/2010/main" val="406471268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1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Mach 3 Sensitive Skin Disposable Razors 3 Pack (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6.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Flex 4 Sensitive Skin Disposable Razors 3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4.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Sensor 3 Sensitive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Hydro 5 Blade Sensitive 1 Handle + 3 Cartridg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Comfort 3 Sensitive Skin Disposable Razors 4 Pack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4.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eed 3 Disposable Razors 8 Pack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Caliber 5 Disposable Razors 3 Pack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9.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Gillette Mach 3 Sensitive Skin Disposable Razors 3 Pack (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5.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Schick Hydro 5 Blade Sensitive 1 Handle + 3 Cartridg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Bic Flex 4 Sensitive Skin Disposable Razors 3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Gillette Sensor 3 Sensitive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Bic Comfort 3 Sensitive Skin Disposable Razors 4 Pack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Equate Speed 3 Disposable Razors 8 Pack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Schick Xtreme 3 Sensitive Disposable Razors 8 Pack (1.7%)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27</a:t>
            </a:fld>
            <a:endParaRPr lang="en-US"/>
          </a:p>
        </p:txBody>
      </p:sp>
    </p:spTree>
    <p:extLst>
      <p:ext uri="{BB962C8B-B14F-4D97-AF65-F5344CB8AC3E}">
        <p14:creationId xmlns:p14="http://schemas.microsoft.com/office/powerpoint/2010/main" val="149463378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9.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7.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9.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8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4.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eed 3 Disposable Razors 8 Pack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Men Sensitive Single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Sensor 3 Sensitive Disposable Razors 12 Pack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Mach 3 Sensitive Skin Disposable Razors 3 Pack (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6.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Schick Xtreme 3 Sensitive Disposable Razors 8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Gillette Sensor 3 Sensitive Disposable Razors 12 Pack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8.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Equate 2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Equate Speed 3 Disposable Razors 8 Pack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Gillette Sensor 3 Sensitive Disposable Razors 8 Pack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Gillette Mach 3 Sensitive Skin Disposable Razors 3 Pack (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Schick Xtreme 3 Sensitive Disposable Razors 12 Pack (0.9%)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28</a:t>
            </a:fld>
            <a:endParaRPr lang="en-US"/>
          </a:p>
        </p:txBody>
      </p:sp>
    </p:spTree>
    <p:extLst>
      <p:ext uri="{BB962C8B-B14F-4D97-AF65-F5344CB8AC3E}">
        <p14:creationId xmlns:p14="http://schemas.microsoft.com/office/powerpoint/2010/main" val="345816454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1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6.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8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4.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Mach 3 Sensitive Skin Disposable Razors 3 Pack (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5 Pack (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Sensor 3 Sensitive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Comfort 3 Sensitive Skin Disposable Razors 4 Pack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9.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Gillette Mach 3 Sensitive Skin Disposable Razors 3 Pack (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Schick Xtreme 3 Sensitive Disposable Razors 8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Schick Hydro 5 Blade Sensitive 1 Handle + 3 Cartridg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5.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Equate 2 Blade Disposable Razors 5 Pack (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ic Flex 4 Sensitive Skin Disposable Razors 3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Gillette Sensor 3 Sensitive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Schick Xtreme 3 Body &amp; Groin Disposable Razors 3 Pack (0.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29</a:t>
            </a:fld>
            <a:endParaRPr lang="en-US"/>
          </a:p>
        </p:txBody>
      </p:sp>
    </p:spTree>
    <p:extLst>
      <p:ext uri="{BB962C8B-B14F-4D97-AF65-F5344CB8AC3E}">
        <p14:creationId xmlns:p14="http://schemas.microsoft.com/office/powerpoint/2010/main" val="238011727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3A62DB2-FD52-E1C9-07D5-B7BBF96173D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ource">
            <a:extLst>
              <a:ext uri="{FF2B5EF4-FFF2-40B4-BE49-F238E27FC236}">
                <a16:creationId xmlns:a16="http://schemas.microsoft.com/office/drawing/2014/main" id="{49A0EAFD-7A4B-D34F-8332-905D5EE3F938}"/>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12" name="Head">
            <a:extLst>
              <a:ext uri="{FF2B5EF4-FFF2-40B4-BE49-F238E27FC236}">
                <a16:creationId xmlns:a16="http://schemas.microsoft.com/office/drawing/2014/main" id="{600EB69F-E381-4CC8-A7D8-489ABD2C2B07}"/>
              </a:ext>
            </a:extLst>
          </p:cNvPr>
          <p:cNvSpPr>
            <a:spLocks noGrp="1"/>
          </p:cNvSpPr>
          <p:nvPr>
            <p:ph type="body" sz="quarter" idx="18"/>
          </p:nvPr>
        </p:nvSpPr>
        <p:spPr>
          <a:xfrm>
            <a:off x="503238" y="774000"/>
            <a:ext cx="8136762" cy="360000"/>
          </a:xfrm>
        </p:spPr>
        <p:txBody>
          <a:bodyPr/>
          <a:lstStyle/>
          <a:p>
            <a:pPr>
              <a:defRPr sz="1200"/>
            </a:pPr>
            <a:r>
              <a:t>Based on price change | by Brand | Razor | Walmart</a:t>
            </a:r>
          </a:p>
        </p:txBody>
      </p:sp>
      <p:sp>
        <p:nvSpPr>
          <p:cNvPr id="3" name="Title 2">
            <a:extLst>
              <a:ext uri="{FF2B5EF4-FFF2-40B4-BE49-F238E27FC236}">
                <a16:creationId xmlns:a16="http://schemas.microsoft.com/office/drawing/2014/main" id="{99087546-885A-2746-A450-6ADD7CD5B24C}"/>
              </a:ext>
            </a:extLst>
          </p:cNvPr>
          <p:cNvSpPr>
            <a:spLocks noGrp="1"/>
          </p:cNvSpPr>
          <p:nvPr>
            <p:ph type="title"/>
          </p:nvPr>
        </p:nvSpPr>
        <p:spPr>
          <a:xfrm>
            <a:off x="504000" y="-1"/>
            <a:ext cx="8136000" cy="771525"/>
          </a:xfrm>
        </p:spPr>
        <p:txBody>
          <a:bodyPr/>
          <a:lstStyle/>
          <a:p>
            <a:r>
              <a:rPr lang="en-GB" dirty="0">
                <a:highlight>
                  <a:srgbClr val="FFFF00"/>
                </a:highlight>
              </a:rPr>
              <a:t>Brand Elasticity Analysis</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5" name="C1">
            <a:extLst>
              <a:ext uri="{FF2B5EF4-FFF2-40B4-BE49-F238E27FC236}">
                <a16:creationId xmlns:a16="http://schemas.microsoft.com/office/drawing/2014/main" id="{DB46EE52-D3FE-A9A8-CB7A-E6FF00C3FE0F}"/>
              </a:ext>
            </a:extLst>
          </p:cNvPr>
          <p:cNvGraphicFramePr>
            <a:graphicFrameLocks/>
          </p:cNvGraphicFramePr>
          <p:nvPr>
            <p:extLst>
              <p:ext uri="{D42A27DB-BD31-4B8C-83A1-F6EECF244321}">
                <p14:modId xmlns:p14="http://schemas.microsoft.com/office/powerpoint/2010/main" val="4155870252"/>
              </p:ext>
            </p:extLst>
          </p:nvPr>
        </p:nvGraphicFramePr>
        <p:xfrm>
          <a:off x="540544" y="1131888"/>
          <a:ext cx="8099822" cy="3619897"/>
        </p:xfrm>
        <a:graphic>
          <a:graphicData uri="http://schemas.openxmlformats.org/drawingml/2006/chart">
            <c:chart xmlns:c="http://schemas.openxmlformats.org/drawingml/2006/chart" xmlns:r="http://schemas.openxmlformats.org/officeDocument/2006/relationships" r:id="rId2"/>
          </a:graphicData>
        </a:graphic>
      </p:graphicFrame>
      <p:sp>
        <p:nvSpPr>
          <p:cNvPr id="13" name="Rectangle 12">
            <a:extLst>
              <a:ext uri="{FF2B5EF4-FFF2-40B4-BE49-F238E27FC236}">
                <a16:creationId xmlns:a16="http://schemas.microsoft.com/office/drawing/2014/main" id="{6CF4160F-D1E2-AB65-97CA-1117BB236A0A}"/>
              </a:ext>
            </a:extLst>
          </p:cNvPr>
          <p:cNvSpPr/>
          <p:nvPr/>
        </p:nvSpPr>
        <p:spPr>
          <a:xfrm>
            <a:off x="3843446" y="1130497"/>
            <a:ext cx="4797140" cy="15749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rPr>
              <a:t>Low retention and high appeal</a:t>
            </a:r>
            <a:endParaRPr kumimoji="0" lang="en-CH"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p:txBody>
      </p:sp>
      <p:sp>
        <p:nvSpPr>
          <p:cNvPr id="17" name="Rectangle 16">
            <a:extLst>
              <a:ext uri="{FF2B5EF4-FFF2-40B4-BE49-F238E27FC236}">
                <a16:creationId xmlns:a16="http://schemas.microsoft.com/office/drawing/2014/main" id="{9455B3BE-708F-EDE2-00A8-A6EF2396AEE5}"/>
              </a:ext>
            </a:extLst>
          </p:cNvPr>
          <p:cNvSpPr/>
          <p:nvPr/>
        </p:nvSpPr>
        <p:spPr>
          <a:xfrm>
            <a:off x="3835181" y="3437981"/>
            <a:ext cx="4802300" cy="10141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chemeClr val="accent3"/>
                </a:solidFill>
                <a:effectLst/>
                <a:uLnTx/>
                <a:uFillTx/>
                <a:latin typeface="Nexa Bold"/>
                <a:ea typeface="Open Sans" panose="020B0606030504020204" pitchFamily="34" charset="0"/>
                <a:cs typeface="Open Sans" panose="020B0606030504020204" pitchFamily="34" charset="0"/>
              </a:rPr>
              <a:t>High retention and high appeal</a:t>
            </a:r>
            <a:endParaRPr kumimoji="0" lang="en-CH" sz="900" b="1" i="0" u="none" strike="noStrike" kern="1200" cap="none" spc="0" normalizeH="0" baseline="0" noProof="0" dirty="0">
              <a:ln>
                <a:noFill/>
              </a:ln>
              <a:solidFill>
                <a:schemeClr val="accent3"/>
              </a:solidFill>
              <a:effectLst/>
              <a:uLnTx/>
              <a:uFillTx/>
              <a:latin typeface="Nexa Bold"/>
              <a:ea typeface="Open Sans" panose="020B0606030504020204" pitchFamily="34" charset="0"/>
              <a:cs typeface="Open Sans" panose="020B0606030504020204" pitchFamily="34" charset="0"/>
            </a:endParaRPr>
          </a:p>
        </p:txBody>
      </p:sp>
      <p:sp>
        <p:nvSpPr>
          <p:cNvPr id="16" name="Rectangle 15">
            <a:extLst>
              <a:ext uri="{FF2B5EF4-FFF2-40B4-BE49-F238E27FC236}">
                <a16:creationId xmlns:a16="http://schemas.microsoft.com/office/drawing/2014/main" id="{3A8E7FE2-155E-935C-6808-B494415D20A5}"/>
              </a:ext>
            </a:extLst>
          </p:cNvPr>
          <p:cNvSpPr/>
          <p:nvPr/>
        </p:nvSpPr>
        <p:spPr>
          <a:xfrm>
            <a:off x="1274612" y="3427905"/>
            <a:ext cx="2438180" cy="1023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rPr>
              <a:t>High retention and low appeal</a:t>
            </a:r>
            <a:endParaRPr kumimoji="0" lang="en-CH"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p:txBody>
      </p:sp>
      <p:sp>
        <p:nvSpPr>
          <p:cNvPr id="14" name="Rectangle 13">
            <a:extLst>
              <a:ext uri="{FF2B5EF4-FFF2-40B4-BE49-F238E27FC236}">
                <a16:creationId xmlns:a16="http://schemas.microsoft.com/office/drawing/2014/main" id="{B3153049-88EE-CB9D-636D-7F7B7F34DCDB}"/>
              </a:ext>
            </a:extLst>
          </p:cNvPr>
          <p:cNvSpPr/>
          <p:nvPr/>
        </p:nvSpPr>
        <p:spPr>
          <a:xfrm>
            <a:off x="1274612" y="1131888"/>
            <a:ext cx="2436345" cy="1590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C00000"/>
                </a:solidFill>
                <a:effectLst/>
                <a:uLnTx/>
                <a:uFillTx/>
                <a:latin typeface="Nexa Bold"/>
                <a:ea typeface="Open Sans" panose="020B0606030504020204" pitchFamily="34" charset="0"/>
                <a:cs typeface="Open Sans" panose="020B0606030504020204" pitchFamily="34" charset="0"/>
              </a:rPr>
              <a:t>Low retention and low appeal</a:t>
            </a:r>
            <a:endParaRPr kumimoji="0" lang="en-CH" sz="900" b="1" i="0" u="none" strike="noStrike" kern="1200" cap="none" spc="0" normalizeH="0" baseline="0" noProof="0" dirty="0">
              <a:ln>
                <a:noFill/>
              </a:ln>
              <a:solidFill>
                <a:srgbClr val="C00000"/>
              </a:solidFill>
              <a:effectLst/>
              <a:uLnTx/>
              <a:uFillTx/>
              <a:latin typeface="Nexa Bold"/>
              <a:ea typeface="Open Sans" panose="020B0606030504020204" pitchFamily="34" charset="0"/>
              <a:cs typeface="Open Sans" panose="020B0606030504020204" pitchFamily="34" charset="0"/>
            </a:endParaRPr>
          </a:p>
        </p:txBody>
      </p:sp>
      <p:sp>
        <p:nvSpPr>
          <p:cNvPr id="7" name="TextBox X">
            <a:extLst>
              <a:ext uri="{FF2B5EF4-FFF2-40B4-BE49-F238E27FC236}">
                <a16:creationId xmlns:a16="http://schemas.microsoft.com/office/drawing/2014/main" id="{7A1735C9-5987-C9BB-04E3-1910A272F2AB}"/>
              </a:ext>
            </a:extLst>
          </p:cNvPr>
          <p:cNvSpPr txBox="1"/>
          <p:nvPr/>
        </p:nvSpPr>
        <p:spPr>
          <a:xfrm>
            <a:off x="6944613" y="4550057"/>
            <a:ext cx="1698567" cy="21544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defRPr sz="800">
                <a:solidFill>
                  <a:srgbClr val="575555"/>
                </a:solidFill>
                <a:latin typeface="Nexa Bold"/>
              </a:defRPr>
            </a:pPr>
            <a:r>
              <a:t>Priced down by -10%</a:t>
            </a:r>
          </a:p>
        </p:txBody>
      </p:sp>
      <p:sp>
        <p:nvSpPr>
          <p:cNvPr id="6" name="TextBox Y">
            <a:extLst>
              <a:ext uri="{FF2B5EF4-FFF2-40B4-BE49-F238E27FC236}">
                <a16:creationId xmlns:a16="http://schemas.microsoft.com/office/drawing/2014/main" id="{047C5A97-7E48-E25D-669A-C45496340B4C}"/>
              </a:ext>
            </a:extLst>
          </p:cNvPr>
          <p:cNvSpPr txBox="1"/>
          <p:nvPr/>
        </p:nvSpPr>
        <p:spPr>
          <a:xfrm>
            <a:off x="517720" y="1137015"/>
            <a:ext cx="435454"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ctr">
              <a:defRPr sz="800">
                <a:solidFill>
                  <a:srgbClr val="575555"/>
                </a:solidFill>
                <a:latin typeface="Nexa Bold"/>
              </a:defRPr>
            </a:pPr>
            <a:r>
              <a:t>Priced up by +15%</a:t>
            </a:r>
          </a:p>
        </p:txBody>
      </p:sp>
      <p:sp>
        <p:nvSpPr>
          <p:cNvPr id="8" name="Date Placeholder 7">
            <a:extLst>
              <a:ext uri="{FF2B5EF4-FFF2-40B4-BE49-F238E27FC236}">
                <a16:creationId xmlns:a16="http://schemas.microsoft.com/office/drawing/2014/main" id="{6CC3C3E3-7EA8-9C3D-517E-77C1588500D7}"/>
              </a:ext>
            </a:extLst>
          </p:cNvPr>
          <p:cNvSpPr>
            <a:spLocks noGrp="1"/>
          </p:cNvSpPr>
          <p:nvPr>
            <p:ph type="dt" sz="half" idx="14"/>
          </p:nvPr>
        </p:nvSpPr>
        <p:spPr/>
        <p:txBody>
          <a:bodyPr/>
          <a:lstStyle/>
          <a:p>
            <a:fld id="{AD583B17-CA9E-4798-A693-AB6BF9A9B56D}" type="datetime1">
              <a:rPr lang="en-US" smtClean="0"/>
              <a:t>8/15/2025</a:t>
            </a:fld>
            <a:endParaRPr lang="en-US"/>
          </a:p>
        </p:txBody>
      </p:sp>
      <p:sp>
        <p:nvSpPr>
          <p:cNvPr id="9" name="Slide Number Placeholder 8">
            <a:extLst>
              <a:ext uri="{FF2B5EF4-FFF2-40B4-BE49-F238E27FC236}">
                <a16:creationId xmlns:a16="http://schemas.microsoft.com/office/drawing/2014/main" id="{8E663443-FA76-33F2-BF32-1CC0A2AAEDA2}"/>
              </a:ext>
            </a:extLst>
          </p:cNvPr>
          <p:cNvSpPr>
            <a:spLocks noGrp="1"/>
          </p:cNvSpPr>
          <p:nvPr>
            <p:ph type="sldNum" sz="quarter" idx="16"/>
          </p:nvPr>
        </p:nvSpPr>
        <p:spPr/>
        <p:txBody>
          <a:bodyPr/>
          <a:lstStyle/>
          <a:p>
            <a:fld id="{7B1F438D-4EAF-094E-9162-80CF3EF77236}" type="slidenum">
              <a:rPr lang="en-US" smtClean="0"/>
              <a:pPr/>
              <a:t>3</a:t>
            </a:fld>
            <a:endParaRPr lang="en-US"/>
          </a:p>
        </p:txBody>
      </p:sp>
    </p:spTree>
    <p:extLst>
      <p:ext uri="{BB962C8B-B14F-4D97-AF65-F5344CB8AC3E}">
        <p14:creationId xmlns:p14="http://schemas.microsoft.com/office/powerpoint/2010/main" val="262205069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1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4.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5 Pack (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8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Hydro 5 Blade Sensitive 1 Handle + 3 Cartridg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Mach 3 Sensitive Skin Disposable Razors 3 Pack (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Sensor 3 Sensitive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Schick Hydro 5 Blade Sensitive 1 Handle + 3 Cartridg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Equate 2 Blade Disposable Razors 5 Pack (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Gillette Mach 3 Sensitive Skin Disposable Razors 3 Pack (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Schick Xtreme 3 Sensitive Disposable Razors 8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Equate 2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Gillette Sensor 3 Sensitive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Schick Hydro 5 Ultimate Comfort Disposable Razors 3 Pack (0.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0</a:t>
            </a:fld>
            <a:endParaRPr lang="en-US"/>
          </a:p>
        </p:txBody>
      </p:sp>
    </p:spTree>
    <p:extLst>
      <p:ext uri="{BB962C8B-B14F-4D97-AF65-F5344CB8AC3E}">
        <p14:creationId xmlns:p14="http://schemas.microsoft.com/office/powerpoint/2010/main" val="320957119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5 Pack (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Men Sensitive Single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Caliber 5 Disposable Razors 3 Pack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6.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Caliber 3 Disposable Razors 3 Pack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4.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Comfort 3 Sensitive Skin Disposable Razors 4 Pack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8.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8.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Bic Men Sensitive Single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Equate 2 Blade Disposable Razors 5 Pack (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Equate 2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Equate Caliber 5 Disposable Razors 3 Pack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5.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Equate Speed 3 Disposable Razors 8 Pack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Equate Caliber 3 Disposable Razors 3 Pack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5.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Bic Comfort 3 Sensitive Skin Disposable Razors 4 Pack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Schick First 4 Blade Disposable Razors 3 Pack (0.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1</a:t>
            </a:fld>
            <a:endParaRPr lang="en-US"/>
          </a:p>
        </p:txBody>
      </p:sp>
    </p:spTree>
    <p:extLst>
      <p:ext uri="{BB962C8B-B14F-4D97-AF65-F5344CB8AC3E}">
        <p14:creationId xmlns:p14="http://schemas.microsoft.com/office/powerpoint/2010/main" val="356883292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19.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Hydro 5 Blade Sensitive 1 Handle + 3 Cartridg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9.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5.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Mach 3 Sensitive Skin Disposable Razors 3 Pack (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ollar Shave Club 6 1 Handle + 2 Blad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5 Pack (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Schick Hydro 5 Blade Sensitive 1 Handle + 3 Cartridg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7.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Dollar Shave Club 6 1 Handle + 2 Blad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Gillette Mach 3 Sensitive Skin Disposable Razors 3 Pack (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Equate Easy Fit 5 blades 1 Handle + 2 Cartridges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Schick Hydro 3 Blade Ultra Sensitive 1 Handle + 4 Cartridges (0.1%)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2</a:t>
            </a:fld>
            <a:endParaRPr lang="en-US"/>
          </a:p>
        </p:txBody>
      </p:sp>
    </p:spTree>
    <p:extLst>
      <p:ext uri="{BB962C8B-B14F-4D97-AF65-F5344CB8AC3E}">
        <p14:creationId xmlns:p14="http://schemas.microsoft.com/office/powerpoint/2010/main" val="85297127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16.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Hydro 5 Blade Sensitive 1 Handle + 3 Cartridg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8.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4.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4.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Mach 3 Sensitive Skin Disposable Razors 3 Pack (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4.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8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5 Pack (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Schick Hydro 5 Blade Sensitive 1 Handle + 3 Cartridg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7.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Gillette Mach 3 Sensitive Skin Disposable Razors 3 Pack (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Schick Xtreme 3 Sensitive Disposable Razors 8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Dollar Shave Club 6 1 Handle + 2 Blad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Schick Hydro 3 Blade Pro Sensitive 1 Handle + 3 Cartridges (0.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3</a:t>
            </a:fld>
            <a:endParaRPr lang="en-US"/>
          </a:p>
        </p:txBody>
      </p:sp>
    </p:spTree>
    <p:extLst>
      <p:ext uri="{BB962C8B-B14F-4D97-AF65-F5344CB8AC3E}">
        <p14:creationId xmlns:p14="http://schemas.microsoft.com/office/powerpoint/2010/main" val="24998001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15.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Hydro 5 Blade Sensitive 1 Handle + 3 Cartridg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6.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6.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ollar Shave Club 6 1 Handle + 2 Blad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4.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5 Pack (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Schick Hydro 5 Blade Sensitive 1 Handle + 3 Cartridg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Dollar Shave Club 6 1 Handle + 2 Blad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Equate 2 Blade Disposable Razors 5 Pack (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Gillette Mach 3 Sensitive Skin Disposable Razors 3 Pack (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Schick Hydro 3 Blade Ingrown Defense 1 Handle + 3 Cartridges (0.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4</a:t>
            </a:fld>
            <a:endParaRPr lang="en-US"/>
          </a:p>
        </p:txBody>
      </p:sp>
    </p:spTree>
    <p:extLst>
      <p:ext uri="{BB962C8B-B14F-4D97-AF65-F5344CB8AC3E}">
        <p14:creationId xmlns:p14="http://schemas.microsoft.com/office/powerpoint/2010/main" val="384478499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2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Hydro 5 Blade Sensitive 1 Handle + 3 Cartridg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7.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4.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ollar Shave Club 6 1 Handle + 2 Blad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Sensor 3 Sensitive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rry's 5 Blade 1 Handle + 2 Cartridges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Schick Hydro 5 Blade Sensitive 1 Handle + 3 Cartridg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Dollar Shave Club 6 1 Handle + 2 Blad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Equate Easy Fit 5 blades 1 Handle + 2 Cartridges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Gillette Sensor 3 Sensitive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Schick Hydro 5 Blade Advanced Hydration 1 Handle + 3 Cartridges (0.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5</a:t>
            </a:fld>
            <a:endParaRPr lang="en-US"/>
          </a:p>
        </p:txBody>
      </p:sp>
    </p:spTree>
    <p:extLst>
      <p:ext uri="{BB962C8B-B14F-4D97-AF65-F5344CB8AC3E}">
        <p14:creationId xmlns:p14="http://schemas.microsoft.com/office/powerpoint/2010/main" val="188190356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7.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8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Mach 3 Sensitive Skin Disposable Razors 3 Pack (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ollar Shave Club 6 1 Handle + 2 Blad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5 Pack (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7.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Dollar Shave Club 6 1 Handle + 2 Blad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5.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Equate Easy Fit 5 blades 1 Handle + 2 Cartridges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8.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ic Flex 4 Sensitive Skin Disposable Razors 3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5.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Schick Hydro 3 Blade Ultra Sensitive 1 Handle + 4 Cartridges (0.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8.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Schick Hydro 5 Blade Sensitive 1 Handle + 3 Cartridges (2.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6</a:t>
            </a:fld>
            <a:endParaRPr lang="en-US"/>
          </a:p>
        </p:txBody>
      </p:sp>
    </p:spTree>
    <p:extLst>
      <p:ext uri="{BB962C8B-B14F-4D97-AF65-F5344CB8AC3E}">
        <p14:creationId xmlns:p14="http://schemas.microsoft.com/office/powerpoint/2010/main" val="306001554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27.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Hydro 5 Blade Sensitive 1 Handle + 3 Cartridg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4.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4.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8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Flex 4 Sensitive Skin Disposable Razors 3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Mach 3 Sensitive Skin Disposable Razors 3 Pack (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Schick Hydro 5 Blade Sensitive 1 Handle + 3 Cartridg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7.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Schick Xtreme 3 Sensitive Disposable Razors 8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Dollar Shave Club 6 1 Handle + 2 Blad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ic Flex 4 Sensitive Skin Disposable Razors 3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Schick Hydro 5 Blade Sensitive 1 Handle + 5 Cartridges (0.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7</a:t>
            </a:fld>
            <a:endParaRPr lang="en-US"/>
          </a:p>
        </p:txBody>
      </p:sp>
    </p:spTree>
    <p:extLst>
      <p:ext uri="{BB962C8B-B14F-4D97-AF65-F5344CB8AC3E}">
        <p14:creationId xmlns:p14="http://schemas.microsoft.com/office/powerpoint/2010/main" val="115016145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27.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Hydro 5 Blade Sensitive 1 Handle + 3 Cartridg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6.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8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Fusion 5 1 Handle + 2 Cartridges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Fusion 5 1 Handle + 3 Cartridges Holiday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Mach 3 1 Handle + 6 Cartridges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Schick Hydro 5 Blade Sensitive 1 Handle + 3 Cartridg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Schick Xtreme 3 Sensitive Disposable Razors 8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Gillette Fusion 5 1 Handle + 2 Cartridges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Gillette Mach 3 1 Handle + 6 Cartridges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Gillette Fusion 5 1 Handle + 3 Cartridges Holiday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Equate Easy Fit 5 blades 1 Handle + 2 Cartridges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Schick Hydro 5 Blade Sensitive 1 Handle + 8 Cartridges (0.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8</a:t>
            </a:fld>
            <a:endParaRPr lang="en-US"/>
          </a:p>
        </p:txBody>
      </p:sp>
    </p:spTree>
    <p:extLst>
      <p:ext uri="{BB962C8B-B14F-4D97-AF65-F5344CB8AC3E}">
        <p14:creationId xmlns:p14="http://schemas.microsoft.com/office/powerpoint/2010/main" val="259453730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19.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Hydro 5 Blade Sensitive 1 Handle + 3 Cartridg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5.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8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Fusion 5 1 Handle + 2 Cartridges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Mach 3 1 Handle + 6 Cartridges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Fusion 5 1 Handle + 3 Cartridges Holiday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rry's 5 Blade 1 Handle + 2 Cartridges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Schick Hydro 5 Blade Sensitive 1 Handle + 3 Cartridg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Schick Xtreme 3 Sensitive Disposable Razors 8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Gillette Fusion 5 1 Handle + 2 Cartridges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Gillette Mach 3 1 Handle + 6 Cartridges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Gillette Fusion 5 1 Handle + 3 Cartridges Holiday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Gillette Mach 3 Blade Refills 4 Pack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Harry's 5 Blade 1 Handle + 2 Cartridges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Schick Hydro 5 Blade Chrome 1 Handle + 3 Cartridges + Docking Station/Stand + Travel Cover (0.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9</a:t>
            </a:fld>
            <a:endParaRPr lang="en-US"/>
          </a:p>
        </p:txBody>
      </p:sp>
    </p:spTree>
    <p:extLst>
      <p:ext uri="{BB962C8B-B14F-4D97-AF65-F5344CB8AC3E}">
        <p14:creationId xmlns:p14="http://schemas.microsoft.com/office/powerpoint/2010/main" val="179405501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3A62DB2-FD52-E1C9-07D5-B7BBF96173D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ource">
            <a:extLst>
              <a:ext uri="{FF2B5EF4-FFF2-40B4-BE49-F238E27FC236}">
                <a16:creationId xmlns:a16="http://schemas.microsoft.com/office/drawing/2014/main" id="{49A0EAFD-7A4B-D34F-8332-905D5EE3F938}"/>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12" name="Head">
            <a:extLst>
              <a:ext uri="{FF2B5EF4-FFF2-40B4-BE49-F238E27FC236}">
                <a16:creationId xmlns:a16="http://schemas.microsoft.com/office/drawing/2014/main" id="{600EB69F-E381-4CC8-A7D8-489ABD2C2B07}"/>
              </a:ext>
            </a:extLst>
          </p:cNvPr>
          <p:cNvSpPr>
            <a:spLocks noGrp="1"/>
          </p:cNvSpPr>
          <p:nvPr>
            <p:ph type="body" sz="quarter" idx="18"/>
          </p:nvPr>
        </p:nvSpPr>
        <p:spPr>
          <a:xfrm>
            <a:off x="503238" y="774000"/>
            <a:ext cx="8136762" cy="360000"/>
          </a:xfrm>
        </p:spPr>
        <p:txBody>
          <a:bodyPr/>
          <a:lstStyle/>
          <a:p>
            <a:pPr>
              <a:defRPr sz="1200"/>
            </a:pPr>
            <a:r>
              <a:t>Based on price change | by Brand | Blade | Walmart</a:t>
            </a:r>
          </a:p>
        </p:txBody>
      </p:sp>
      <p:sp>
        <p:nvSpPr>
          <p:cNvPr id="3" name="Title 2">
            <a:extLst>
              <a:ext uri="{FF2B5EF4-FFF2-40B4-BE49-F238E27FC236}">
                <a16:creationId xmlns:a16="http://schemas.microsoft.com/office/drawing/2014/main" id="{99087546-885A-2746-A450-6ADD7CD5B24C}"/>
              </a:ext>
            </a:extLst>
          </p:cNvPr>
          <p:cNvSpPr>
            <a:spLocks noGrp="1"/>
          </p:cNvSpPr>
          <p:nvPr>
            <p:ph type="title"/>
          </p:nvPr>
        </p:nvSpPr>
        <p:spPr>
          <a:xfrm>
            <a:off x="504000" y="-1"/>
            <a:ext cx="8136000" cy="771525"/>
          </a:xfrm>
        </p:spPr>
        <p:txBody>
          <a:bodyPr/>
          <a:lstStyle/>
          <a:p>
            <a:r>
              <a:rPr lang="en-GB" dirty="0">
                <a:highlight>
                  <a:srgbClr val="FFFF00"/>
                </a:highlight>
              </a:rPr>
              <a:t>Brand Elasticity Analysis</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5" name="C1">
            <a:extLst>
              <a:ext uri="{FF2B5EF4-FFF2-40B4-BE49-F238E27FC236}">
                <a16:creationId xmlns:a16="http://schemas.microsoft.com/office/drawing/2014/main" id="{DB46EE52-D3FE-A9A8-CB7A-E6FF00C3FE0F}"/>
              </a:ext>
            </a:extLst>
          </p:cNvPr>
          <p:cNvGraphicFramePr>
            <a:graphicFrameLocks/>
          </p:cNvGraphicFramePr>
          <p:nvPr>
            <p:extLst>
              <p:ext uri="{D42A27DB-BD31-4B8C-83A1-F6EECF244321}">
                <p14:modId xmlns:p14="http://schemas.microsoft.com/office/powerpoint/2010/main" val="4155870252"/>
              </p:ext>
            </p:extLst>
          </p:nvPr>
        </p:nvGraphicFramePr>
        <p:xfrm>
          <a:off x="540544" y="1131888"/>
          <a:ext cx="8099822" cy="3619897"/>
        </p:xfrm>
        <a:graphic>
          <a:graphicData uri="http://schemas.openxmlformats.org/drawingml/2006/chart">
            <c:chart xmlns:c="http://schemas.openxmlformats.org/drawingml/2006/chart" xmlns:r="http://schemas.openxmlformats.org/officeDocument/2006/relationships" r:id="rId2"/>
          </a:graphicData>
        </a:graphic>
      </p:graphicFrame>
      <p:sp>
        <p:nvSpPr>
          <p:cNvPr id="13" name="Rectangle 12">
            <a:extLst>
              <a:ext uri="{FF2B5EF4-FFF2-40B4-BE49-F238E27FC236}">
                <a16:creationId xmlns:a16="http://schemas.microsoft.com/office/drawing/2014/main" id="{6CF4160F-D1E2-AB65-97CA-1117BB236A0A}"/>
              </a:ext>
            </a:extLst>
          </p:cNvPr>
          <p:cNvSpPr/>
          <p:nvPr/>
        </p:nvSpPr>
        <p:spPr>
          <a:xfrm>
            <a:off x="3843446" y="1130497"/>
            <a:ext cx="4797140" cy="15749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rPr>
              <a:t>Low retention and high appeal</a:t>
            </a:r>
            <a:endParaRPr kumimoji="0" lang="en-CH"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p:txBody>
      </p:sp>
      <p:sp>
        <p:nvSpPr>
          <p:cNvPr id="17" name="Rectangle 16">
            <a:extLst>
              <a:ext uri="{FF2B5EF4-FFF2-40B4-BE49-F238E27FC236}">
                <a16:creationId xmlns:a16="http://schemas.microsoft.com/office/drawing/2014/main" id="{9455B3BE-708F-EDE2-00A8-A6EF2396AEE5}"/>
              </a:ext>
            </a:extLst>
          </p:cNvPr>
          <p:cNvSpPr/>
          <p:nvPr/>
        </p:nvSpPr>
        <p:spPr>
          <a:xfrm>
            <a:off x="3835181" y="3437981"/>
            <a:ext cx="4802300" cy="10141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chemeClr val="accent3"/>
                </a:solidFill>
                <a:effectLst/>
                <a:uLnTx/>
                <a:uFillTx/>
                <a:latin typeface="Nexa Bold"/>
                <a:ea typeface="Open Sans" panose="020B0606030504020204" pitchFamily="34" charset="0"/>
                <a:cs typeface="Open Sans" panose="020B0606030504020204" pitchFamily="34" charset="0"/>
              </a:rPr>
              <a:t>High retention and high appeal</a:t>
            </a:r>
            <a:endParaRPr kumimoji="0" lang="en-CH" sz="900" b="1" i="0" u="none" strike="noStrike" kern="1200" cap="none" spc="0" normalizeH="0" baseline="0" noProof="0" dirty="0">
              <a:ln>
                <a:noFill/>
              </a:ln>
              <a:solidFill>
                <a:schemeClr val="accent3"/>
              </a:solidFill>
              <a:effectLst/>
              <a:uLnTx/>
              <a:uFillTx/>
              <a:latin typeface="Nexa Bold"/>
              <a:ea typeface="Open Sans" panose="020B0606030504020204" pitchFamily="34" charset="0"/>
              <a:cs typeface="Open Sans" panose="020B0606030504020204" pitchFamily="34" charset="0"/>
            </a:endParaRPr>
          </a:p>
        </p:txBody>
      </p:sp>
      <p:sp>
        <p:nvSpPr>
          <p:cNvPr id="16" name="Rectangle 15">
            <a:extLst>
              <a:ext uri="{FF2B5EF4-FFF2-40B4-BE49-F238E27FC236}">
                <a16:creationId xmlns:a16="http://schemas.microsoft.com/office/drawing/2014/main" id="{3A8E7FE2-155E-935C-6808-B494415D20A5}"/>
              </a:ext>
            </a:extLst>
          </p:cNvPr>
          <p:cNvSpPr/>
          <p:nvPr/>
        </p:nvSpPr>
        <p:spPr>
          <a:xfrm>
            <a:off x="1274612" y="3427905"/>
            <a:ext cx="2438180" cy="1023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rPr>
              <a:t>High retention and low appeal</a:t>
            </a:r>
            <a:endParaRPr kumimoji="0" lang="en-CH"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p:txBody>
      </p:sp>
      <p:sp>
        <p:nvSpPr>
          <p:cNvPr id="14" name="Rectangle 13">
            <a:extLst>
              <a:ext uri="{FF2B5EF4-FFF2-40B4-BE49-F238E27FC236}">
                <a16:creationId xmlns:a16="http://schemas.microsoft.com/office/drawing/2014/main" id="{B3153049-88EE-CB9D-636D-7F7B7F34DCDB}"/>
              </a:ext>
            </a:extLst>
          </p:cNvPr>
          <p:cNvSpPr/>
          <p:nvPr/>
        </p:nvSpPr>
        <p:spPr>
          <a:xfrm>
            <a:off x="1274612" y="1131888"/>
            <a:ext cx="2436345" cy="1590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C00000"/>
                </a:solidFill>
                <a:effectLst/>
                <a:uLnTx/>
                <a:uFillTx/>
                <a:latin typeface="Nexa Bold"/>
                <a:ea typeface="Open Sans" panose="020B0606030504020204" pitchFamily="34" charset="0"/>
                <a:cs typeface="Open Sans" panose="020B0606030504020204" pitchFamily="34" charset="0"/>
              </a:rPr>
              <a:t>Low retention and low appeal</a:t>
            </a:r>
            <a:endParaRPr kumimoji="0" lang="en-CH" sz="900" b="1" i="0" u="none" strike="noStrike" kern="1200" cap="none" spc="0" normalizeH="0" baseline="0" noProof="0" dirty="0">
              <a:ln>
                <a:noFill/>
              </a:ln>
              <a:solidFill>
                <a:srgbClr val="C00000"/>
              </a:solidFill>
              <a:effectLst/>
              <a:uLnTx/>
              <a:uFillTx/>
              <a:latin typeface="Nexa Bold"/>
              <a:ea typeface="Open Sans" panose="020B0606030504020204" pitchFamily="34" charset="0"/>
              <a:cs typeface="Open Sans" panose="020B0606030504020204" pitchFamily="34" charset="0"/>
            </a:endParaRPr>
          </a:p>
        </p:txBody>
      </p:sp>
      <p:sp>
        <p:nvSpPr>
          <p:cNvPr id="7" name="TextBox X">
            <a:extLst>
              <a:ext uri="{FF2B5EF4-FFF2-40B4-BE49-F238E27FC236}">
                <a16:creationId xmlns:a16="http://schemas.microsoft.com/office/drawing/2014/main" id="{7A1735C9-5987-C9BB-04E3-1910A272F2AB}"/>
              </a:ext>
            </a:extLst>
          </p:cNvPr>
          <p:cNvSpPr txBox="1"/>
          <p:nvPr/>
        </p:nvSpPr>
        <p:spPr>
          <a:xfrm>
            <a:off x="6944613" y="4550057"/>
            <a:ext cx="1698567" cy="21544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defRPr sz="800">
                <a:solidFill>
                  <a:srgbClr val="575555"/>
                </a:solidFill>
                <a:latin typeface="Nexa Bold"/>
              </a:defRPr>
            </a:pPr>
            <a:r>
              <a:t>Priced down by -10%</a:t>
            </a:r>
          </a:p>
        </p:txBody>
      </p:sp>
      <p:sp>
        <p:nvSpPr>
          <p:cNvPr id="6" name="TextBox Y">
            <a:extLst>
              <a:ext uri="{FF2B5EF4-FFF2-40B4-BE49-F238E27FC236}">
                <a16:creationId xmlns:a16="http://schemas.microsoft.com/office/drawing/2014/main" id="{047C5A97-7E48-E25D-669A-C45496340B4C}"/>
              </a:ext>
            </a:extLst>
          </p:cNvPr>
          <p:cNvSpPr txBox="1"/>
          <p:nvPr/>
        </p:nvSpPr>
        <p:spPr>
          <a:xfrm>
            <a:off x="517720" y="1137015"/>
            <a:ext cx="435454"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ctr">
              <a:defRPr sz="800">
                <a:solidFill>
                  <a:srgbClr val="575555"/>
                </a:solidFill>
                <a:latin typeface="Nexa Bold"/>
              </a:defRPr>
            </a:pPr>
            <a:r>
              <a:t>Priced up by +15%</a:t>
            </a:r>
          </a:p>
        </p:txBody>
      </p:sp>
      <p:sp>
        <p:nvSpPr>
          <p:cNvPr id="8" name="Date Placeholder 7">
            <a:extLst>
              <a:ext uri="{FF2B5EF4-FFF2-40B4-BE49-F238E27FC236}">
                <a16:creationId xmlns:a16="http://schemas.microsoft.com/office/drawing/2014/main" id="{6CC3C3E3-7EA8-9C3D-517E-77C1588500D7}"/>
              </a:ext>
            </a:extLst>
          </p:cNvPr>
          <p:cNvSpPr>
            <a:spLocks noGrp="1"/>
          </p:cNvSpPr>
          <p:nvPr>
            <p:ph type="dt" sz="half" idx="14"/>
          </p:nvPr>
        </p:nvSpPr>
        <p:spPr/>
        <p:txBody>
          <a:bodyPr/>
          <a:lstStyle/>
          <a:p>
            <a:fld id="{AD583B17-CA9E-4798-A693-AB6BF9A9B56D}" type="datetime1">
              <a:rPr lang="en-US" smtClean="0"/>
              <a:t>8/15/2025</a:t>
            </a:fld>
            <a:endParaRPr lang="en-US"/>
          </a:p>
        </p:txBody>
      </p:sp>
      <p:sp>
        <p:nvSpPr>
          <p:cNvPr id="9" name="Slide Number Placeholder 8">
            <a:extLst>
              <a:ext uri="{FF2B5EF4-FFF2-40B4-BE49-F238E27FC236}">
                <a16:creationId xmlns:a16="http://schemas.microsoft.com/office/drawing/2014/main" id="{8E663443-FA76-33F2-BF32-1CC0A2AAEDA2}"/>
              </a:ext>
            </a:extLst>
          </p:cNvPr>
          <p:cNvSpPr>
            <a:spLocks noGrp="1"/>
          </p:cNvSpPr>
          <p:nvPr>
            <p:ph type="sldNum" sz="quarter" idx="16"/>
          </p:nvPr>
        </p:nvSpPr>
        <p:spPr/>
        <p:txBody>
          <a:bodyPr/>
          <a:lstStyle/>
          <a:p>
            <a:fld id="{7B1F438D-4EAF-094E-9162-80CF3EF77236}" type="slidenum">
              <a:rPr lang="en-US" smtClean="0"/>
              <a:pPr/>
              <a:t>4</a:t>
            </a:fld>
            <a:endParaRPr lang="en-US"/>
          </a:p>
        </p:txBody>
      </p:sp>
    </p:spTree>
    <p:extLst>
      <p:ext uri="{BB962C8B-B14F-4D97-AF65-F5344CB8AC3E}">
        <p14:creationId xmlns:p14="http://schemas.microsoft.com/office/powerpoint/2010/main" val="393684599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2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Hydro 5 Blade Sensitive 1 Handle + 3 Cartridg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rry's 5 Blade 1 Handle + 2 Cartridges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ollar Shave Club 6 1 Handle + 2 Blad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5 Pack (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4.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Easy Fit 5 blades 1 Handle + 2 Cartridges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8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Schick Hydro 5 Blade Sensitive 1 Handle + 3 Cartridg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8.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Harry's 5 Blade 1 Handle + 2 Cartridges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Dollar Shave Club 6 1 Handle + 2 Blad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Harry's 5 Blade 1 Handle + 5 Cartridges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Equate Easy Fit 5 blades 1 Handle + 2 Cartridges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Schick Xtreme 3 Sensitive Disposable Razors 8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Gillette Fusion 5 1 Handle + 2 Cartridges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Schick Hydro 5 Groomer 1 Handle + 1 Cartridge (0.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0</a:t>
            </a:fld>
            <a:endParaRPr lang="en-US"/>
          </a:p>
        </p:txBody>
      </p:sp>
    </p:spTree>
    <p:extLst>
      <p:ext uri="{BB962C8B-B14F-4D97-AF65-F5344CB8AC3E}">
        <p14:creationId xmlns:p14="http://schemas.microsoft.com/office/powerpoint/2010/main" val="339470022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1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Hydro 5 Blade Sensitive 1 Handle + 3 Cartridg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5 Pack (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6.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ollar Shave Club 6 1 Handle + 2 Blad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6.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Easy Fit 5 blades 1 Handle + 2 Cartridges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Caliber 5 Disposable Razors 3 Pack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Schick Hydro 5 Blade Sensitive 1 Handle + 3 Cartridg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9.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Dollar Shave Club 6 1 Handle + 2 Blad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7.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Equate 2 Blade Disposable Razors 5 Pack (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Equate 2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Equate Easy Fit 5 blades 1 Handle + 2 Cartridges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7.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Schick Hydro 5 Blade Sensitive Refills 6 Pack (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Schick Quattro Four Blade 1 Handle + 4 Cartriges (0.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1</a:t>
            </a:fld>
            <a:endParaRPr lang="en-US"/>
          </a:p>
        </p:txBody>
      </p:sp>
    </p:spTree>
    <p:extLst>
      <p:ext uri="{BB962C8B-B14F-4D97-AF65-F5344CB8AC3E}">
        <p14:creationId xmlns:p14="http://schemas.microsoft.com/office/powerpoint/2010/main" val="251616157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8.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Hydro 5 Blade Sensitive 1 Handle + 3 Cartridg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4.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5 Pack (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rry's 5 Blade 1 Handle + 2 Cartridges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ollar Shave Club 6 1 Handle + 2 Blad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Harry's 5 Blade 1 Handle + 2 Cartridges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Schick Hydro 5 Blade Sensitive 1 Handle + 3 Cartridg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rry's 5 Blade 1 Handle + 5 Cartridges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Dollar Shave Club 6 1 Handle + 2 Blad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Equate 2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Harry's Men Five Blade Refills 4 Pack (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Wilkinson Sword Classic Double Edge 1 Handle + 5 Cartridges (0.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2</a:t>
            </a:fld>
            <a:endParaRPr lang="en-US"/>
          </a:p>
        </p:txBody>
      </p:sp>
    </p:spTree>
    <p:extLst>
      <p:ext uri="{BB962C8B-B14F-4D97-AF65-F5344CB8AC3E}">
        <p14:creationId xmlns:p14="http://schemas.microsoft.com/office/powerpoint/2010/main" val="337835601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1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Men Sensitive Single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3 Sensitive Disposable Razors 5 Pack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Comfort 3 Sensitive Skin Disposable Razors 4 Pack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Caliber 5 Disposable Razors 3 Pack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Caliber 3 Disposable Razors 3 Pack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Equate 2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4.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Bic Men Sensitive Single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Bic 3 Sensitive Disposable Razors 5 Pack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Bic Comfort 3 Sensitive Skin Disposable Razors 4 Pack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Equate Caliber 5 Disposable Razors 3 Pack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Equate Caliber 3 Disposable Razors 3 Pack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Equate 2 Blade Disposable Razors 5 Pack (5.5%)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3</a:t>
            </a:fld>
            <a:endParaRPr lang="en-US"/>
          </a:p>
        </p:txBody>
      </p:sp>
    </p:spTree>
    <p:extLst>
      <p:ext uri="{BB962C8B-B14F-4D97-AF65-F5344CB8AC3E}">
        <p14:creationId xmlns:p14="http://schemas.microsoft.com/office/powerpoint/2010/main" val="400948898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1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5 Pack (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Men Sensitive Single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Caliber 5 Disposable Razors 3 Pack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Caliber 3 Disposable Razors 3 Pack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3 Sensitive Disposable Razors 5 Pack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Comfort 3 Sensitive Skin Disposable Razors 4 Pack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Equate 2 Blade Disposable Razors 5 Pack (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Bic Men Sensitive Single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Equate Caliber 5 Disposable Razors 3 Pack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Equate Caliber 3 Disposable Razors 3 Pack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ic 3 Sensitive Disposable Razors 5 Pack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Bic Comfort 3 Sensitive Skin Disposable Razors 4 Pack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Equate 2 Blade Disposable Razors 12 Pack (5.7%)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4</a:t>
            </a:fld>
            <a:endParaRPr lang="en-US"/>
          </a:p>
        </p:txBody>
      </p:sp>
    </p:spTree>
    <p:extLst>
      <p:ext uri="{BB962C8B-B14F-4D97-AF65-F5344CB8AC3E}">
        <p14:creationId xmlns:p14="http://schemas.microsoft.com/office/powerpoint/2010/main" val="253219980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14.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8.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5 Pack (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Men Sensitive Single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Caliber 5 Disposable Razors 3 Pack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eed 3 Disposable Razors 8 Pack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Caliber 3 Disposable Razors 3 Pack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Equate 2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4.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Equate 2 Blade Disposable Razors 5 Pack (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8.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Bic Men Sensitive Single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Equate Caliber 5 Disposable Razors 3 Pack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ic 3 Sensitive Disposable Razors 5 Pack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Equate Speed 3 Disposable Razors 8 Pack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Equate 2 Blade Disposable Razors 20 Pack (0.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5</a:t>
            </a:fld>
            <a:endParaRPr lang="en-US"/>
          </a:p>
        </p:txBody>
      </p:sp>
    </p:spTree>
    <p:extLst>
      <p:ext uri="{BB962C8B-B14F-4D97-AF65-F5344CB8AC3E}">
        <p14:creationId xmlns:p14="http://schemas.microsoft.com/office/powerpoint/2010/main" val="259447145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Caliber 5 Disposable Razors 3 Pack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9.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5 Pack (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Men Sensitive Single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eed 3 Disposable Razors 8 Pack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Comfort 3 Sensitive Skin Disposable Razors 4 Pack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Equate Caliber 5 Disposable Razors 3 Pack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Equate 2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Equate 2 Blade Disposable Razors 5 Pack (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Bic Men Sensitive Single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Equate Speed 3 Disposable Razors 8 Pack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Bic Comfort 3 Sensitive Skin Disposable Razors 4 Pack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Equate Caliber 3 Disposable Razors 3 Pack (1.4%)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6</a:t>
            </a:fld>
            <a:endParaRPr lang="en-US"/>
          </a:p>
        </p:txBody>
      </p:sp>
    </p:spTree>
    <p:extLst>
      <p:ext uri="{BB962C8B-B14F-4D97-AF65-F5344CB8AC3E}">
        <p14:creationId xmlns:p14="http://schemas.microsoft.com/office/powerpoint/2010/main" val="222564583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1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eed 3 Disposable Razors 8 Pack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8.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Caliber 5 Disposable Razors 3 Pack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Caliber 3 Disposable Razors 3 Pack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Men Sensitive Single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5 Pack (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4.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Comfort 3 Sensitive Skin Disposable Razors 4 Pack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Equate Speed 3 Disposable Razors 8 Pack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6.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Equate Caliber 5 Disposable Razors 3 Pack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7.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Equate Caliber 3 Disposable Razors 3 Pack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Equate 2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Bic Comfort 3 Sensitive Skin Disposable Razors 4 Pack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Bic Men Sensitive Single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Gillette Mach 3 Sensitive Skin Disposable Razors 3 Pack (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Equate Caliber 3 Disposable Razors 6 Pack (0.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7</a:t>
            </a:fld>
            <a:endParaRPr lang="en-US"/>
          </a:p>
        </p:txBody>
      </p:sp>
    </p:spTree>
    <p:extLst>
      <p:ext uri="{BB962C8B-B14F-4D97-AF65-F5344CB8AC3E}">
        <p14:creationId xmlns:p14="http://schemas.microsoft.com/office/powerpoint/2010/main" val="23164845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Caliber 3 Disposable Razors 3 Pack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5 Pack (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Men Sensitive Single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eed 3 Disposable Razors 8 Pack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6.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Easy Fit 5 blades 1 Handle + 2 Cartridges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Equate Caliber 3 Disposable Razors 3 Pack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5.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Equate 2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Equate 2 Blade Disposable Razors 5 Pack (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Bic Men Sensitive Single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Equate Speed 3 Disposable Razors 8 Pack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Bic Comfort 3 Sensitive Skin Disposable Razors 4 Pack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Equate Easy Fit 5 blades 1 Handle + 2 Cartridges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Bic 3 Sensitive Disposable Razors 5 Pack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Equate Caliber 5 Disposable Razors 3 Pack (2.2%)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8</a:t>
            </a:fld>
            <a:endParaRPr lang="en-US"/>
          </a:p>
        </p:txBody>
      </p:sp>
    </p:spTree>
    <p:extLst>
      <p:ext uri="{BB962C8B-B14F-4D97-AF65-F5344CB8AC3E}">
        <p14:creationId xmlns:p14="http://schemas.microsoft.com/office/powerpoint/2010/main" val="363388370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Caliber 5 Disposable Razors 3 Pack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6.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8.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Caliber 3 Disposable Razors 3 Pack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6.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eed 3 Disposable Razors 8 Pack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4.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4.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Comfort 3 Sensitive Skin Disposable Razors 4 Pack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Men Sensitive Single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Sensor 3 Sensitive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5 Pack (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Equate Caliber 5 Disposable Razors 3 Pack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Equate Speed 3 Disposable Razors 8 Pack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Equate Caliber 3 Disposable Razors 3 Pack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7.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Gillette Sensor 3 Sensitive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Bic Comfort 3 Sensitive Skin Disposable Razors 4 Pack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Bic Men Sensitive Single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Gillette Mach 3 Sensitive Skin Disposable Razors 3 Pack (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Equate Caliber 5 Disposable Razors 6 Pack (0.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9</a:t>
            </a:fld>
            <a:endParaRPr lang="en-US"/>
          </a:p>
        </p:txBody>
      </p:sp>
    </p:spTree>
    <p:extLst>
      <p:ext uri="{BB962C8B-B14F-4D97-AF65-F5344CB8AC3E}">
        <p14:creationId xmlns:p14="http://schemas.microsoft.com/office/powerpoint/2010/main" val="221295320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b="1">
                          <a:latin typeface="Nexa Bold"/>
                        </a:defRPr>
                      </a:pPr>
                      <a:r>
                        <a:rPr sz="800">
                          <a:latin typeface="Nexa Bold"/>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Dispo (19.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Dispo (17.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Dispo (16.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b="1">
                          <a:latin typeface="Nexa Bold"/>
                        </a:defRPr>
                      </a:pPr>
                      <a:r>
                        <a:rPr sz="800">
                          <a:latin typeface="Nexa Bold"/>
                        </a:rPr>
                        <a:t>4.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Razor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Razor (1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ollar Shave Club Razor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Razor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Blade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Blade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rrys Razor (6.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Equate Dispo (19.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Gillette Dispo (17.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Bic Dispo (16.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Schick Razor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Gillette Razor (1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Dollar Shave Club Razor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Schick Blade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Equate Razor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Gillette Blade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Harrys Razor (6.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Schick Dispo (8.1%)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8/1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5</a:t>
            </a:fld>
            <a:endParaRPr lang="en-US"/>
          </a:p>
        </p:txBody>
      </p:sp>
    </p:spTree>
    <p:extLst>
      <p:ext uri="{BB962C8B-B14F-4D97-AF65-F5344CB8AC3E}">
        <p14:creationId xmlns:p14="http://schemas.microsoft.com/office/powerpoint/2010/main" val="323497926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1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eed 3 Disposable Razors 8 Pack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5.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6.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Caliber 5 Disposable Razors 3 Pack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4.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8.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Caliber 3 Disposable Razors 3 Pack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5 Pack (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Men Sensitive Single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Mach 3 Sensitive Skin Disposable Razors 3 Pack (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Equate 2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Equate Speed 3 Disposable Razors 8 Pack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8.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Equate 2 Blade Disposable Razors 5 Pack (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Equate Caliber 5 Disposable Razors 3 Pack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Equate Caliber 3 Disposable Razors 3 Pack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7.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ic Men Sensitive Single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Gillette Mach 3 Sensitive Skin Disposable Razors 3 Pack (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Equate Speed 3 Disposable Razors 4 Pack (2.3%)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0</a:t>
            </a:fld>
            <a:endParaRPr lang="en-US"/>
          </a:p>
        </p:txBody>
      </p:sp>
    </p:spTree>
    <p:extLst>
      <p:ext uri="{BB962C8B-B14F-4D97-AF65-F5344CB8AC3E}">
        <p14:creationId xmlns:p14="http://schemas.microsoft.com/office/powerpoint/2010/main" val="101412783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19.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9.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Caliber 5 Disposable Razors 3 Pack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1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Caliber 3 Disposable Razors 3 Pack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Men Sensitive Single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5 Pack (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Comfort 3 Sensitive Skin Disposable Razors 4 Pack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3 Sensitive Disposable Razors 5 Pack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Equate Caliber 5 Disposable Razors 3 Pack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Equate Caliber 3 Disposable Razors 3 Pack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Bic Men Sensitive Single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Equate 2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Equate 2 Blade Disposable Razors 5 Pack (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ic Comfort 3 Sensitive Skin Disposable Razors 4 Pack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Equate Speed 3 Disposable Razors 8 Pack (1.9%)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1</a:t>
            </a:fld>
            <a:endParaRPr lang="en-US"/>
          </a:p>
        </p:txBody>
      </p:sp>
    </p:spTree>
    <p:extLst>
      <p:ext uri="{BB962C8B-B14F-4D97-AF65-F5344CB8AC3E}">
        <p14:creationId xmlns:p14="http://schemas.microsoft.com/office/powerpoint/2010/main" val="423609755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5 Pack (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Hydro 5 Blade Sensitive 1 Handle + 3 Cartridg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ollar Shave Club 6 1 Handle + 2 Blad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4.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Caliber 5 Disposable Razors 3 Pack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Easy Fit 5 blades 1 Handle + 2 Cartridges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rry's 5 Blade 1 Handle + 2 Cartridges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Equate 2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Equate 2 Blade Disposable Razors 5 Pack (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Equate Caliber 5 Disposable Razors 3 Pack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Dollar Shave Club 6 1 Handle + 2 Blad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Equate Easy Fit 5 blades 1 Handle + 2 Cartridges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5.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Schick Hydro 5 Blade Sensitive 1 Handle + 3 Cartridg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Equate Caliber 3 Disposable Razors 3 Pack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5.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Equate 5 Blades 1 Handle + 2 Cartridges (0.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2</a:t>
            </a:fld>
            <a:endParaRPr lang="en-US"/>
          </a:p>
        </p:txBody>
      </p:sp>
    </p:spTree>
    <p:extLst>
      <p:ext uri="{BB962C8B-B14F-4D97-AF65-F5344CB8AC3E}">
        <p14:creationId xmlns:p14="http://schemas.microsoft.com/office/powerpoint/2010/main" val="144277830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5 Pack (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7.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Caliber 5 Disposable Razors 3 Pack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Hydro 5 Blade Sensitive 1 Handle + 3 Cartridg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ollar Shave Club 6 1 Handle + 2 Blad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Men Sensitive Single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Equate Caliber 5 Disposable Razors 3 Pack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Equate 2 Blade Disposable Razors 5 Pack (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Equate 2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Bic Men Sensitive Single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Schick Hydro 5 Blade Sensitive 1 Handle + 3 Cartridg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Dollar Shave Club 6 1 Handle + 2 Blad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Gillette Fusion 5 1 Handle + 2 Cartridges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Equate Easy Fit 5 blades 1 Handle + 2 Cartridges (1.1%)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3</a:t>
            </a:fld>
            <a:endParaRPr lang="en-US"/>
          </a:p>
        </p:txBody>
      </p:sp>
    </p:spTree>
    <p:extLst>
      <p:ext uri="{BB962C8B-B14F-4D97-AF65-F5344CB8AC3E}">
        <p14:creationId xmlns:p14="http://schemas.microsoft.com/office/powerpoint/2010/main" val="198183912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2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Easy Fit 5 blades 1 Handle + 2 Cartridges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6.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Hydro 5 Blade Sensitive 1 Handle + 3 Cartridg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5.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Caliber 5 Disposable Razors 3 Pack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Fusion 5 1 Handle + 2 Cartridges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5 Pack (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ollar Shave Club 6 1 Handle + 2 Blad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Fusion 5 1 Handle + 3 Cartridges Holiday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Equate Easy Fit 5 blades 1 Handle + 2 Cartridges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Schick Hydro 5 Blade Sensitive 1 Handle + 3 Cartridg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7.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Gillette Fusion 5 1 Handle + 2 Cartridges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Dollar Shave Club 6 1 Handle + 2 Blad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Equate Caliber 5 Disposable Razors 3 Pack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Harry's 5 Blade 1 Handle + 2 Cartridges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Equate 2 Blade Disposable Razors 5 Pack (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Equate 2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Equate Easy Fit 5 blades 1 Handle + 5 Cartridges (0.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4</a:t>
            </a:fld>
            <a:endParaRPr lang="en-US"/>
          </a:p>
        </p:txBody>
      </p:sp>
    </p:spTree>
    <p:extLst>
      <p:ext uri="{BB962C8B-B14F-4D97-AF65-F5344CB8AC3E}">
        <p14:creationId xmlns:p14="http://schemas.microsoft.com/office/powerpoint/2010/main" val="140763179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13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Hydro 5 Blade Sensitive Refills 6 Pack (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37.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Hydro 5 Blade Sensitive Refills 12 Pack (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8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Flex 4 Sensitive Skin Disposable Razors 3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Schick Hydro 5 Blade Sensitive Refills 6 Pack (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Schick Hydro 5 Blade Sensitive Refills 12 Pack (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Schick Xtreme 3 Sensitive Disposable Razors 8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Bic Flex 4 Sensitive Skin Disposable Razors 3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Schick Hydro 3 Blade Ultra Sensitive Refills 5 Pack (0.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5</a:t>
            </a:fld>
            <a:endParaRPr lang="en-US"/>
          </a:p>
        </p:txBody>
      </p:sp>
    </p:spTree>
    <p:extLst>
      <p:ext uri="{BB962C8B-B14F-4D97-AF65-F5344CB8AC3E}">
        <p14:creationId xmlns:p14="http://schemas.microsoft.com/office/powerpoint/2010/main" val="317876583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12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Hydro 5 Blade Sensitive Refills 6 Pack (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49.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Hydro 5 Blade Sensitive Refills 12 Pack (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37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Hydro 3 Blade Ultra Sensitive Refills 5 Pack (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8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Schick Hydro 5 Blade Sensitive Refills 6 Pack (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9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Schick Hydro 5 Blade Sensitive Refills 12 Pack (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6.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Schick Hydro 3 Blade Ultra Sensitive Refills 5 Pack (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27.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Schick Xtreme 3 Sensitive Disposable Razors 8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Schick Hydro 3 Blade Pro Sensitive Refills 6 Pack (0.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6</a:t>
            </a:fld>
            <a:endParaRPr lang="en-US"/>
          </a:p>
        </p:txBody>
      </p:sp>
    </p:spTree>
    <p:extLst>
      <p:ext uri="{BB962C8B-B14F-4D97-AF65-F5344CB8AC3E}">
        <p14:creationId xmlns:p14="http://schemas.microsoft.com/office/powerpoint/2010/main" val="394893675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116.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Hydro 5 Blade Sensitive Refills 6 Pack (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4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Hydro 5 Blade Sensitive Refills 12 Pack (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349.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Hydro 3 Blade Ultra Sensitive Refills 5 Pack (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8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Schick Hydro 5 Blade Sensitive Refills 6 Pack (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4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Schick Hydro 3 Blade Ultra Sensitive Refills 5 Pack (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7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Schick Hydro 5 Blade Sensitive Refills 12 Pack (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9.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Schick Xtreme 3 Sensitive Disposable Razors 8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Schick Hydro 3 Blade Ingrown Defense Refills 6 Pack (0.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7</a:t>
            </a:fld>
            <a:endParaRPr lang="en-US"/>
          </a:p>
        </p:txBody>
      </p:sp>
    </p:spTree>
    <p:extLst>
      <p:ext uri="{BB962C8B-B14F-4D97-AF65-F5344CB8AC3E}">
        <p14:creationId xmlns:p14="http://schemas.microsoft.com/office/powerpoint/2010/main" val="372020775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13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Hydro 5 Blade Sensitive Refills 6 Pack (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37.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Hydro 5 Blade Sensitive Refills 12 Pack (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21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Hydro 3 Blade Ultra Sensitive Refills 5 Pack (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8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Schick Hydro 5 Blade Sensitive Refills 6 Pack (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17.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Schick Hydro 5 Blade Sensitive Refills 12 Pack (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4.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Schick Hydro 3 Blade Ultra Sensitive Refills 5 Pack (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8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Schick Xtreme 3 Sensitive Disposable Razors 8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Schick Hydro 5 Blade Sensitive Refills 4 Pack (0.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8</a:t>
            </a:fld>
            <a:endParaRPr lang="en-US"/>
          </a:p>
        </p:txBody>
      </p:sp>
    </p:spTree>
    <p:extLst>
      <p:ext uri="{BB962C8B-B14F-4D97-AF65-F5344CB8AC3E}">
        <p14:creationId xmlns:p14="http://schemas.microsoft.com/office/powerpoint/2010/main" val="321494090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12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Hydro 5 Blade Sensitive Refills 12 Pack (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337.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Hydro 3 Blade Ultra Sensitive Refills 5 Pack (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8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Flex 4 Sensitive Skin Disposable Razors 3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Schick Hydro 5 Blade Sensitive Refills 12 Pack (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45.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Schick Hydro 3 Blade Ultra Sensitive Refills 5 Pack (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4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Schick Xtreme 3 Sensitive Disposable Razors 8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Bic Flex 4 Sensitive Skin Disposable Razors 3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Schick Hydro 5 Blade Sensitive Refills 6 Pack (0.6%)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9</a:t>
            </a:fld>
            <a:endParaRPr lang="en-US"/>
          </a:p>
        </p:txBody>
      </p:sp>
    </p:spTree>
    <p:extLst>
      <p:ext uri="{BB962C8B-B14F-4D97-AF65-F5344CB8AC3E}">
        <p14:creationId xmlns:p14="http://schemas.microsoft.com/office/powerpoint/2010/main" val="78586366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b="1">
                          <a:latin typeface="Nexa Bold"/>
                        </a:defRPr>
                      </a:pPr>
                      <a:r>
                        <a:rPr sz="800">
                          <a:latin typeface="Nexa Bold"/>
                        </a:rPr>
                        <a:t>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Dispo (16.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b="1">
                          <a:latin typeface="Nexa Bold"/>
                        </a:defRPr>
                      </a:pPr>
                      <a:r>
                        <a:rPr sz="800">
                          <a:latin typeface="Nexa Bold"/>
                        </a:rPr>
                        <a:t>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Dispo (8.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Dispo (17.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Razor (1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b="1">
                          <a:latin typeface="Nexa Bold"/>
                        </a:defRPr>
                      </a:pPr>
                      <a:r>
                        <a:rPr sz="800">
                          <a:latin typeface="Nexa Bold"/>
                        </a:rPr>
                        <a:t>5.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Razor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Razor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ollar Shave Club Razor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rrys Razor (6.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rrys Blade (5.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Blade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Bic Dispo (16.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Schick Dispo (8.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Gillette Dispo (17.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Equate Razor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Gillette Razor (1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Dollar Shave Club Razor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Schick Razor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Harrys Razor (6.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Harrys Blade (5.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Equate Blade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Equate Dispo (19.1%)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8/1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6</a:t>
            </a:fld>
            <a:endParaRPr lang="en-US"/>
          </a:p>
        </p:txBody>
      </p:sp>
    </p:spTree>
    <p:extLst>
      <p:ext uri="{BB962C8B-B14F-4D97-AF65-F5344CB8AC3E}">
        <p14:creationId xmlns:p14="http://schemas.microsoft.com/office/powerpoint/2010/main" val="221475738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22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Hydro 5 Blade Sensitive Refills 6 Pack (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86.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Hydro 3 Blade Ultra Sensitive Refills 5 Pack (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8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Flex 4 Sensitive Skin Disposable Razors 3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Schick Hydro 5 Blade Sensitive Refills 6 Pack (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26.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Schick Hydro 3 Blade Ultra Sensitive Refills 5 Pack (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79.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Schick Xtreme 3 Sensitive Disposable Razors 8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Bic Flex 4 Sensitive Skin Disposable Razors 3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Schick Hydro 5 Blade Sensitive Refills 12 Pack (0.4%)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0</a:t>
            </a:fld>
            <a:endParaRPr lang="en-US"/>
          </a:p>
        </p:txBody>
      </p:sp>
    </p:spTree>
    <p:extLst>
      <p:ext uri="{BB962C8B-B14F-4D97-AF65-F5344CB8AC3E}">
        <p14:creationId xmlns:p14="http://schemas.microsoft.com/office/powerpoint/2010/main" val="391722397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168.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Hydro 5 Blade Sensitive Refills 6 Pack (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8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Hydro 5 Blade Sensitive Refills 12 Pack (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229.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Hydro 3 Blade Ultra Sensitive Refills 5 Pack (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8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Schick Hydro 5 Blade Sensitive Refills 6 Pack (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98.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Schick Hydro 5 Blade Sensitive Refills 12 Pack (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8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Schick Hydro 3 Blade Ultra Sensitive Refills 5 Pack (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86.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Schick Xtreme 3 Sensitive Disposable Razors 8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Schick Hydro 5 Blade Advanced Hydration Refills 6 Pack (0.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1</a:t>
            </a:fld>
            <a:endParaRPr lang="en-US"/>
          </a:p>
        </p:txBody>
      </p:sp>
    </p:spTree>
    <p:extLst>
      <p:ext uri="{BB962C8B-B14F-4D97-AF65-F5344CB8AC3E}">
        <p14:creationId xmlns:p14="http://schemas.microsoft.com/office/powerpoint/2010/main" val="47385969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118.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Hydro 5 Blade Sensitive Refills 6 Pack (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7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Hydro 5 Blade Sensitive Refills 12 Pack (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288.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Hydro 3 Blade Ultra Sensitive Refills 5 Pack (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8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Schick Hydro 5 Blade Sensitive Refills 6 Pack (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38.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Schick Hydro 5 Blade Sensitive Refills 12 Pack (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7.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Schick Hydro 3 Blade Ultra Sensitive Refills 5 Pack (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5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Schick Xtreme 3 Sensitive Disposable Razors 8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Schick Hydro 5 Blade Chrome Refills 6 Pack (0.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2</a:t>
            </a:fld>
            <a:endParaRPr lang="en-US"/>
          </a:p>
        </p:txBody>
      </p:sp>
    </p:spTree>
    <p:extLst>
      <p:ext uri="{BB962C8B-B14F-4D97-AF65-F5344CB8AC3E}">
        <p14:creationId xmlns:p14="http://schemas.microsoft.com/office/powerpoint/2010/main" val="166953073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Easy Fit 5 Blade Refills 4 Pack (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Mach 3 Blade Refills 4 Pack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5 Sensitive Disposable Razors 8 Pack (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2 Sensitive Disposable Razors 24 Pack (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5 Sensitive Disposable Razors 2 Pack (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5 Sensitive Disposable Razors 4 Pack (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Body &amp; Groin Disposable Razors 3 Pack (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Hydro 5 Ultimate Comfort Disposable Razors 3 Pack (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Harry's Men Five Blade Refills 8 Pack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Gillette Fusion 5 Proglide Blade Refills 12 Pack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Dollar Shave Club 6 Blades Blade Refills 8 Pack (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Schick Xtreme 2 Sensitive Disposable Razors 24 Pack (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Schick Xtreme 5 Sensitive Disposable Razors 2 Pack (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Schick Xtreme 5 Sensitive Disposable Razors 4 Pack (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Schick Xtreme 3 Body &amp; Groin Disposable Razors 3 Pack (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Schick Hydro 5 Ultimate Comfort Disposable Razors 3 Pack (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Schick Quattro Four Blade Refills 3 Pack (0.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3</a:t>
            </a:fld>
            <a:endParaRPr lang="en-US"/>
          </a:p>
        </p:txBody>
      </p:sp>
    </p:spTree>
    <p:extLst>
      <p:ext uri="{BB962C8B-B14F-4D97-AF65-F5344CB8AC3E}">
        <p14:creationId xmlns:p14="http://schemas.microsoft.com/office/powerpoint/2010/main" val="269240050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Van Der Hagen Men Double Edge Blade Refills 10 Pack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Hydro 5 Blade Sensitive Refills 6 Pack (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5 Sensitive Disposable Razors 8 Pack (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2 Sensitive Disposable Razors 24 Pack (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5 Sensitive Disposable Razors 2 Pack (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5 Sensitive Disposable Razors 4 Pack (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Body &amp; Groin Disposable Razors 3 Pack (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Hydro 5 Ultimate Comfort Disposable Razors 3 Pack (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Harry's Men Five Blade Refills 4 Pack (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Gillette Fusion 5 Blade Refills 12 Pack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Gillette Mach 3 Blade Refills 4 Pack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Equate Easy Fit 5 Blade Refills 4 Pack (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Dollar Shave Club 6 Blades Blade Refills 4 Pack (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Schick Hydro 5 Blade Sensitive Refills 12 Pack (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Schick Xtreme 3 Body &amp; Groin Disposable Razors 3 Pack (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Schick Xtreme 2 Sensitive Disposable Razors 24 Pack (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Schick Quattro Four Blade Refills 6 Pack (0.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4</a:t>
            </a:fld>
            <a:endParaRPr lang="en-US"/>
          </a:p>
        </p:txBody>
      </p:sp>
    </p:spTree>
    <p:extLst>
      <p:ext uri="{BB962C8B-B14F-4D97-AF65-F5344CB8AC3E}">
        <p14:creationId xmlns:p14="http://schemas.microsoft.com/office/powerpoint/2010/main" val="242337067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59.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rry's Men Five Blade Refills 8 Pack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7.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rry's Men Five Blade Refills 4 Pack (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19.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rry's Men Five Blade Refills 12 Pack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ollar Shave Club 6 1 Handle + 2 Blad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ollar Shave Club 6 Blades Blade Refills 4 Pack (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Fusion 5 1 Handle + 2 Cartridges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Van Der Hagen Men Double Edge Blade 1 Handle + 5 Cartridges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Harry's Men Five Blade Refills 8 Pack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8.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Harry's Men Five Blade Refills 4 Pack (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6.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rry's Men Five Blade Refills 12 Pack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Dollar Shave Club 6 1 Handle + 2 Blad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Dollar Shave Club 6 Blades Blade Refills 4 Pack (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Gillette Fusion 5 1 Handle + 2 Cartridges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Van Der Hagen Men Double Edge Blade 1 Handle + 5 Cartridges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Equate 5 Blades Blade Refills 4 Pack (0.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5</a:t>
            </a:fld>
            <a:endParaRPr lang="en-US"/>
          </a:p>
        </p:txBody>
      </p:sp>
    </p:spTree>
    <p:extLst>
      <p:ext uri="{BB962C8B-B14F-4D97-AF65-F5344CB8AC3E}">
        <p14:creationId xmlns:p14="http://schemas.microsoft.com/office/powerpoint/2010/main" val="191946499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34.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Fusion 5 Blade Refills 4 Pack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6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Easy Fit 5 Blade Refills 8 Pack (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36.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Easy Fit 5 Blade Refills 12 Pack (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7.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Fusion 5 Proglide Blade Refills 4 Pack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8.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Fusion 5 Blade Refills 12 Pack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Fusion 5 Proglide Blade Refills 8 Pack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Fusion 5 Proglide Blade Refills 12 Pack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Gillette Fusion 5 Blade Refills 4 Pack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Equate Easy Fit 5 Blade Refills 8 Pack (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78.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Equate Easy Fit 5 Blade Refills 12 Pack (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7.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Gillette Fusion 5 Blade Refills 12 Pack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Gillette Fusion 5 Proglide Blade Refills 4 Pack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Gillette Fusion 5 Proglide Blade Refills 8 Pack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Gillette Fusion 5 Proglide Blade Refills 12 Pack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5.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Equate Easy Fit 5 Blade Refills 4 Pack (0.6%)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6</a:t>
            </a:fld>
            <a:endParaRPr lang="en-US"/>
          </a:p>
        </p:txBody>
      </p:sp>
    </p:spTree>
    <p:extLst>
      <p:ext uri="{BB962C8B-B14F-4D97-AF65-F5344CB8AC3E}">
        <p14:creationId xmlns:p14="http://schemas.microsoft.com/office/powerpoint/2010/main" val="145573609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87.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Easy Fit 5 Blade Refills 4 Pack (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3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Fusion 5 Blade Refills 4 Pack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49.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Easy Fit 5 Blade Refills 12 Pack (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8.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Fusion 5 Proglide Blade Refills 4 Pack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Fusion 5 Blade Refills 12 Pack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8.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Fusion 5 Proglide Blade Refills 8 Pack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6.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Fusion 5 Proglide Blade Refills 12 Pack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Equate Easy Fit 5 Blade Refills 4 Pack (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Gillette Fusion 5 Blade Refills 4 Pack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Equate Easy Fit 5 Blade Refills 12 Pack (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9.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Gillette Fusion 5 Blade Refills 12 Pack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8.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Gillette Fusion 5 Proglide Blade Refills 4 Pack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Gillette Fusion 5 Proglide Blade Refills 8 Pack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Gillette Fusion 5 Proglide Blade Refills 12 Pack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Equate Easy Fit 5 Blade Refills 8 Pack (0.4%)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7</a:t>
            </a:fld>
            <a:endParaRPr lang="en-US"/>
          </a:p>
        </p:txBody>
      </p:sp>
    </p:spTree>
    <p:extLst>
      <p:ext uri="{BB962C8B-B14F-4D97-AF65-F5344CB8AC3E}">
        <p14:creationId xmlns:p14="http://schemas.microsoft.com/office/powerpoint/2010/main" val="220761364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9.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Fusion 5 Blade Refills 4 Pack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5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Easy Fit 5 Blade Refills 4 Pack (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69.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Easy Fit 5 Blade Refills 8 Pack (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26.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Fusion 5 Blade Refills 12 Pack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Fusion 5 Proglide Blade Refills 8 Pack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Fusion 5 Proglide Blade Refills 12 Pack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6.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Fusion 5 Proglide Blade Refills 4 Pack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Equate Easy Fit 5 Blade Refills 4 Pack (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Gillette Fusion 5 Blade Refills 4 Pack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Equate Easy Fit 5 Blade Refills 8 Pack (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77.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Gillette Fusion 5 Blade Refills 12 Pack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Gillette Fusion 5 Proglide Blade Refills 4 Pack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Gillette Fusion 5 Proglide Blade Refills 8 Pack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6.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Gillette Fusion 5 Proglide Blade Refills 12 Pack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Equate Easy Fit 5 Blade Refills 12 Pack (0.4%)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8</a:t>
            </a:fld>
            <a:endParaRPr lang="en-US"/>
          </a:p>
        </p:txBody>
      </p:sp>
    </p:spTree>
    <p:extLst>
      <p:ext uri="{BB962C8B-B14F-4D97-AF65-F5344CB8AC3E}">
        <p14:creationId xmlns:p14="http://schemas.microsoft.com/office/powerpoint/2010/main" val="279640936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Disposables (1) | Price Elasticity | Walmart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Schick Xtreme 2 Sensitive Disposable Razors 12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7.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6.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Schick Xtreme 3 Sensitive Disposable Razors 4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6.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8/1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69</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74204420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b="1">
                          <a:latin typeface="Nexa Bold"/>
                        </a:defRPr>
                      </a:pPr>
                      <a:r>
                        <a:rPr sz="800">
                          <a:latin typeface="Nexa Bold"/>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Dispo (16.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Dispo (19.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b="1">
                          <a:latin typeface="Nexa Bold"/>
                        </a:defRPr>
                      </a:pPr>
                      <a:r>
                        <a:rPr sz="800">
                          <a:latin typeface="Nexa Bold"/>
                        </a:rPr>
                        <a:t>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Dispo (8.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Razor (1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Blade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Razor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ollar Shave Club Razor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rrys Razor (6.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rrys Blade (5.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Razor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Bic Dispo (16.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Schick Dispo (8.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Equate Dispo (19.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Gillette Razor (1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Gillette Blade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Schick Razor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Dollar Shave Club Razor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Harrys Razor (6.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Harrys Blade (5.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Equate Razor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Gillette Dispo (17.5%)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8/1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7</a:t>
            </a:fld>
            <a:endParaRPr lang="en-US"/>
          </a:p>
        </p:txBody>
      </p:sp>
    </p:spTree>
    <p:extLst>
      <p:ext uri="{BB962C8B-B14F-4D97-AF65-F5344CB8AC3E}">
        <p14:creationId xmlns:p14="http://schemas.microsoft.com/office/powerpoint/2010/main" val="1980013596"/>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Disposables Inno | Price Elasticity | Walmart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l">
                        <a:defRPr sz="800">
                          <a:latin typeface="Nexa Book"/>
                        </a:defRPr>
                      </a:pPr>
                      <a:r>
                        <a:rPr sz="800">
                          <a:latin typeface="Nexa Book"/>
                        </a:rPr>
                        <a:t>Schick Xtreme 2 Sensitive Disposable Razors 24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Schick Xtreme 5 Sensitive Disposable Razors 2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Schick Xtreme 5 Sensitive Disposable Razors 4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algn="l">
                        <a:defRPr sz="800">
                          <a:latin typeface="Nexa Book"/>
                        </a:defRPr>
                      </a:pPr>
                      <a:r>
                        <a:rPr sz="800">
                          <a:latin typeface="Nexa Book"/>
                        </a:rPr>
                        <a:t>Schick Xtreme 5 Sensitive Disposable Razors 8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algn="l">
                        <a:defRPr sz="800">
                          <a:latin typeface="Nexa Book"/>
                        </a:defRPr>
                      </a:pPr>
                      <a:r>
                        <a:rPr sz="800">
                          <a:latin typeface="Nexa Book"/>
                        </a:rPr>
                        <a:t>Schick Xtreme 3 Body &amp; Groin Disposable Razors 3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B8B60D"/>
                    </a:solidFill>
                  </a:tcPr>
                </a:tc>
                <a:tc>
                  <a:txBody>
                    <a:bodyPr/>
                    <a:lstStyle/>
                    <a:p>
                      <a:pPr algn="l">
                        <a:defRPr sz="800">
                          <a:latin typeface="Nexa Book"/>
                        </a:defRPr>
                      </a:pPr>
                      <a:r>
                        <a:rPr sz="800">
                          <a:latin typeface="Nexa Book"/>
                        </a:rPr>
                        <a:t>Schick Hydro 5 Ultimate Comfort Disposable Razors 3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8E87"/>
                    </a:solidFill>
                  </a:tcPr>
                </a:tc>
                <a:tc>
                  <a:txBody>
                    <a:bodyPr/>
                    <a:lstStyle/>
                    <a:p>
                      <a:pPr algn="l">
                        <a:defRPr sz="800">
                          <a:latin typeface="Nexa Book"/>
                        </a:defRPr>
                      </a:pPr>
                      <a:r>
                        <a:rPr sz="800">
                          <a:latin typeface="Nexa Book"/>
                        </a:rPr>
                        <a:t>Schick First 4 Blade Disposable Razors 3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8/1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70</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878202834"/>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Disposables (2) | Price Elasticity | Walmart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Schick Xtreme 3 Sensitive Disposable Razors 8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9.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8.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Schick Xtreme 3 Sensitive Disposable Razors 12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5.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9%</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8/1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71</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4194597027"/>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Razors | Price Elasticity | Walmart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Schick Hydro 3 Blade Ultra Sensitive 1 Handle + 4 Cartridges</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0.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Schick Hydro 5 Blade Sensitive 1 Handle + 3 Cartridges</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8.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8/1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72</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149942497"/>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Razor Innovation (1) | Price Elasticity | Walmart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Schick Hydro 3 Blade Pro Sensitive 1 Handle + 3 Cartridges</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Schick Hydro 3 Blade Ingrown Defense 1 Handle + 3 Cartridges</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Schick Hydro 5 Blade Advanced Hydration 1 Handle + 3 Cartridges</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algn="l">
                        <a:defRPr sz="800">
                          <a:latin typeface="Nexa Book"/>
                        </a:defRPr>
                      </a:pPr>
                      <a:r>
                        <a:rPr sz="800">
                          <a:latin typeface="Nexa Book"/>
                        </a:rPr>
                        <a:t>Schick Quattro Four Blade 1 Handle + 4 Cartriges</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8/1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73</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201156639"/>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Razor Innovation (2) | Price Elasticity | Walmart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Schick Hydro 5 Blade Sensitive 1 Handle + 5 Cartridges</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Schick Hydro 5 Blade Sensitive 1 Handle + 8 Cartridges</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Schick Hydro 5 Blade Chrome 1 Handle + 3 Cartridges + Docking Station/Stand + Travel Cover</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algn="l">
                        <a:defRPr sz="800">
                          <a:latin typeface="Nexa Book"/>
                        </a:defRPr>
                      </a:pPr>
                      <a:r>
                        <a:rPr sz="800">
                          <a:latin typeface="Nexa Book"/>
                        </a:rPr>
                        <a:t>Schick Hydro 5 Groomer 1 Handle + 1 Cartridge</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algn="l">
                        <a:defRPr sz="800">
                          <a:latin typeface="Nexa Book"/>
                        </a:defRPr>
                      </a:pPr>
                      <a:r>
                        <a:rPr sz="800">
                          <a:latin typeface="Nexa Book"/>
                        </a:rPr>
                        <a:t>Wilkinson Sword Classic Double Edge 1 Handle + 5 Cartridges</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8/1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74</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01616125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Equate 2 | Price Elasticity | Walmart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Equate 2 Blade Disposable Razors 5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Equate 2 Blade Disposable Razors 12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5.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8/1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75</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612728051"/>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Equate Dispo Inno | Price Elasticity | Walmart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Equate 2 Blade Disposable Razors 20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Equate Caliber 3 Disposable Razors 6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Equate Caliber 5 Disposable Razors 6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8/1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76</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492834973"/>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Caliber | Price Elasticity | Walmart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Equate Caliber 3 Disposable Razors 3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4.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Equate Caliber 5 Disposable Razors 3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3.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1%</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8/1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77</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207777114"/>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Speed 3 | Price Elasticity | Walmart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Equate Speed 3 Disposable Razors 4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Equate Speed 3 Disposable Razors 8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8/1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78</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800923501"/>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Equate Razor Inno | Price Elasticity | Walmart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Equate 5 Blades 1 Handle + 2 Cartridges</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Equate Easy Fit 5 blades 1 Handle + 5 Cartridges</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8/1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79</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642921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b="1">
                          <a:latin typeface="Nexa Bold"/>
                        </a:defRPr>
                      </a:pPr>
                      <a:r>
                        <a:rPr sz="800">
                          <a:latin typeface="Nexa Bold"/>
                        </a:rPr>
                        <a:t>4.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Dispo (19.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Dispo (17.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b="1">
                          <a:latin typeface="Nexa Bold"/>
                        </a:defRPr>
                      </a:pPr>
                      <a:r>
                        <a:rPr sz="800">
                          <a:latin typeface="Nexa Bold"/>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Dispo (8.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Razor (1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ollar Shave Club Razor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rrys Razor (6.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Razor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Blade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Razor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rrys Blade (5.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Equate Dispo (19.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Gillette Dispo (17.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Schick Dispo (8.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Gillette Razor (1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Dollar Shave Club Razor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Schick Razor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Harrys Razor (6.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Gillette Blade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Equate Razor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Harrys Blade (5.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Bic Dispo (16.9%)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8/1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8</a:t>
            </a:fld>
            <a:endParaRPr lang="en-US"/>
          </a:p>
        </p:txBody>
      </p:sp>
    </p:spTree>
    <p:extLst>
      <p:ext uri="{BB962C8B-B14F-4D97-AF65-F5344CB8AC3E}">
        <p14:creationId xmlns:p14="http://schemas.microsoft.com/office/powerpoint/2010/main" val="929598745"/>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Easy Fit 5 | Price Elasticity | Walmart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Equate Easy Fit 5 blades 1 Handle + 2 Cartridges</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3.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2%</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8/1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80</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4040216968"/>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Hydro Blades | Price Elasticity | Walmart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Schick Hydro 3 Blade Ultra Sensitive Refills 5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2.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Schick Hydro 5 Blade Sensitive Refills 6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7.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9.0%</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Schick Hydro 5 Blade Sensitive Refills 12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5.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9.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8/1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81</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017854979"/>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Blades Innovation (1) | Price Elasticity | Walmart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Schick Hydro 3 Blade Pro Sensitive Refills 6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Schick Hydro 5 Blade Sensitive Refills 4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Schick Quattro Four Blade Refills 3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algn="l">
                        <a:defRPr sz="800">
                          <a:latin typeface="Nexa Book"/>
                        </a:defRPr>
                      </a:pPr>
                      <a:r>
                        <a:rPr sz="800">
                          <a:latin typeface="Nexa Book"/>
                        </a:rPr>
                        <a:t>Schick Quattro Four Blade Refills 6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8/1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82</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4292761828"/>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Blades Innovation (2) | Price Elasticity | Walmart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Schick Hydro 3 Blade Ingrown Defense Refills 6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Schick Hydro 5 Blade Advanced Hydration Refills 6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Schick Hydro 5 Blade Chrome Refills 6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8/1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83</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554264244"/>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Equate Blades Inno | Price Elasticity | Walmart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Equate 5 Blades Blade Refills 4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8/1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84</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491769865"/>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Easy Fit Blades | Price Elasticity | Walmart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Equate Easy Fit 5 Blade Refills 4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6.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3.2%</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Equate Easy Fit 5 Blade Refills 8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3.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9%</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Equate Easy Fit 5 Blade Refills 12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8/1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85</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00559257"/>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Schick Xtreme 2 Sensitive Disposable Razors 12 Pack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86</a:t>
            </a:fld>
            <a:endParaRPr lang="en-US"/>
          </a:p>
        </p:txBody>
      </p:sp>
      <p:sp>
        <p:nvSpPr>
          <p:cNvPr id="22" name="Rectangle 21"/>
          <p:cNvSpPr/>
          <p:nvPr/>
        </p:nvSpPr>
        <p:spPr>
          <a:xfrm>
            <a:off x="972000" y="1458000"/>
            <a:ext cx="35042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p:cNvSpPr/>
          <p:nvPr/>
        </p:nvSpPr>
        <p:spPr>
          <a:xfrm>
            <a:off x="4476240" y="1458000"/>
            <a:ext cx="21477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4063937653"/>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Schick Xtreme 2 Sensitive Disposable Razors 24 Pack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87</a:t>
            </a:fld>
            <a:endParaRPr lang="en-US"/>
          </a:p>
        </p:txBody>
      </p:sp>
      <p:sp>
        <p:nvSpPr>
          <p:cNvPr id="22" name="Rectangle 21"/>
          <p:cNvSpPr/>
          <p:nvPr/>
        </p:nvSpPr>
        <p:spPr>
          <a:xfrm>
            <a:off x="972000" y="1458000"/>
            <a:ext cx="9608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1932840" y="1458000"/>
            <a:ext cx="118692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p:cNvSpPr/>
          <p:nvPr/>
        </p:nvSpPr>
        <p:spPr>
          <a:xfrm>
            <a:off x="3119760" y="1458000"/>
            <a:ext cx="6782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p:cNvSpPr/>
          <p:nvPr/>
        </p:nvSpPr>
        <p:spPr>
          <a:xfrm>
            <a:off x="3798000" y="1458000"/>
            <a:ext cx="28260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2644662499"/>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Schick Xtreme 5 Sensitive Disposable Razors 2 Pack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88</a:t>
            </a:fld>
            <a:endParaRPr lang="en-US"/>
          </a:p>
        </p:txBody>
      </p:sp>
      <p:sp>
        <p:nvSpPr>
          <p:cNvPr id="22" name="Rectangle 21"/>
          <p:cNvSpPr/>
          <p:nvPr/>
        </p:nvSpPr>
        <p:spPr>
          <a:xfrm>
            <a:off x="972000" y="1458000"/>
            <a:ext cx="56520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2922057256"/>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Schick Xtreme 5 Sensitive Disposable Razors 4 Pack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89</a:t>
            </a:fld>
            <a:endParaRPr lang="en-US"/>
          </a:p>
        </p:txBody>
      </p:sp>
      <p:sp>
        <p:nvSpPr>
          <p:cNvPr id="22" name="Rectangle 21"/>
          <p:cNvSpPr/>
          <p:nvPr/>
        </p:nvSpPr>
        <p:spPr>
          <a:xfrm>
            <a:off x="972000" y="1458000"/>
            <a:ext cx="4521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1424160" y="1458000"/>
            <a:ext cx="5086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4" name="Rectangle 23"/>
          <p:cNvSpPr/>
          <p:nvPr/>
        </p:nvSpPr>
        <p:spPr>
          <a:xfrm>
            <a:off x="1932840" y="1458000"/>
            <a:ext cx="118692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5" name="Rectangle 24"/>
          <p:cNvSpPr/>
          <p:nvPr/>
        </p:nvSpPr>
        <p:spPr>
          <a:xfrm>
            <a:off x="3119760" y="1458000"/>
            <a:ext cx="6782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6" name="Rectangle 25"/>
          <p:cNvSpPr/>
          <p:nvPr/>
        </p:nvSpPr>
        <p:spPr>
          <a:xfrm>
            <a:off x="3798000" y="1458000"/>
            <a:ext cx="9608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7" name="Rectangle 26"/>
          <p:cNvSpPr/>
          <p:nvPr/>
        </p:nvSpPr>
        <p:spPr>
          <a:xfrm>
            <a:off x="4758840" y="1458000"/>
            <a:ext cx="18651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41414558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Dispo (19.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b="1">
                          <a:latin typeface="Nexa Bold"/>
                        </a:defRPr>
                      </a:pPr>
                      <a:r>
                        <a:rPr sz="800">
                          <a:latin typeface="Nexa Bold"/>
                        </a:rPr>
                        <a:t>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Dispo (8.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Dispo (16.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Dispo (17.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Razor (1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b="1">
                          <a:latin typeface="Nexa Bold"/>
                        </a:defRPr>
                      </a:pPr>
                      <a:r>
                        <a:rPr sz="800">
                          <a:latin typeface="Nexa Bold"/>
                        </a:rPr>
                        <a:t>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ollar Shave Club Razor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b="1">
                          <a:latin typeface="Nexa Bold"/>
                        </a:defRPr>
                      </a:pPr>
                      <a:r>
                        <a:rPr sz="800">
                          <a:latin typeface="Nexa Bold"/>
                        </a:rPr>
                        <a:t>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Razor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rrys Razor (6.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Blade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rrys Blade (5.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Equate Dispo (19.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Schick Dispo (8.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Bic Dispo (16.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Gillette Dispo (17.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Gillette Razor (1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Dollar Shave Club Razor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Equate Razor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8.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Gillette Blade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Harrys Razor (6.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Dollar Shave Club Blade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Schick Razor (2.1%)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8/1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9</a:t>
            </a:fld>
            <a:endParaRPr lang="en-US"/>
          </a:p>
        </p:txBody>
      </p:sp>
    </p:spTree>
    <p:extLst>
      <p:ext uri="{BB962C8B-B14F-4D97-AF65-F5344CB8AC3E}">
        <p14:creationId xmlns:p14="http://schemas.microsoft.com/office/powerpoint/2010/main" val="374648885"/>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Schick Xtreme 5 Sensitive Disposable Razors 8 Pack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90</a:t>
            </a:fld>
            <a:endParaRPr lang="en-US"/>
          </a:p>
        </p:txBody>
      </p:sp>
      <p:sp>
        <p:nvSpPr>
          <p:cNvPr id="22" name="Rectangle 21"/>
          <p:cNvSpPr/>
          <p:nvPr/>
        </p:nvSpPr>
        <p:spPr>
          <a:xfrm>
            <a:off x="972000" y="1458000"/>
            <a:ext cx="3956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1367640" y="1458000"/>
            <a:ext cx="7347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4" name="Rectangle 23"/>
          <p:cNvSpPr/>
          <p:nvPr/>
        </p:nvSpPr>
        <p:spPr>
          <a:xfrm>
            <a:off x="2102400" y="1458000"/>
            <a:ext cx="10173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5" name="Rectangle 24"/>
          <p:cNvSpPr/>
          <p:nvPr/>
        </p:nvSpPr>
        <p:spPr>
          <a:xfrm>
            <a:off x="3119760" y="1458000"/>
            <a:ext cx="35042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Tree>
    <p:extLst>
      <p:ext uri="{BB962C8B-B14F-4D97-AF65-F5344CB8AC3E}">
        <p14:creationId xmlns:p14="http://schemas.microsoft.com/office/powerpoint/2010/main" val="362676018"/>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Schick Xtreme 3 Sensitive Disposable Razors 4 Pack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91</a:t>
            </a:fld>
            <a:endParaRPr lang="en-US"/>
          </a:p>
        </p:txBody>
      </p:sp>
      <p:sp>
        <p:nvSpPr>
          <p:cNvPr id="22" name="Rectangle 21"/>
          <p:cNvSpPr/>
          <p:nvPr/>
        </p:nvSpPr>
        <p:spPr>
          <a:xfrm>
            <a:off x="972000" y="1458000"/>
            <a:ext cx="56520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240311134"/>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Schick Xtreme 3 Sensitive Disposable Razors 8 Pack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92</a:t>
            </a:fld>
            <a:endParaRPr lang="en-US"/>
          </a:p>
        </p:txBody>
      </p:sp>
      <p:sp>
        <p:nvSpPr>
          <p:cNvPr id="22" name="Rectangle 21"/>
          <p:cNvSpPr/>
          <p:nvPr/>
        </p:nvSpPr>
        <p:spPr>
          <a:xfrm>
            <a:off x="972000" y="1458000"/>
            <a:ext cx="8478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p:cNvSpPr/>
          <p:nvPr/>
        </p:nvSpPr>
        <p:spPr>
          <a:xfrm>
            <a:off x="1819800" y="1458000"/>
            <a:ext cx="11304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p:cNvSpPr/>
          <p:nvPr/>
        </p:nvSpPr>
        <p:spPr>
          <a:xfrm>
            <a:off x="2950200" y="1458000"/>
            <a:ext cx="25434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5" name="Rectangle 24"/>
          <p:cNvSpPr/>
          <p:nvPr/>
        </p:nvSpPr>
        <p:spPr>
          <a:xfrm>
            <a:off x="5493600" y="1458000"/>
            <a:ext cx="11304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610500751"/>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Schick Xtreme 3 Sensitive Disposable Razors 12 Pack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93</a:t>
            </a:fld>
            <a:endParaRPr lang="en-US"/>
          </a:p>
        </p:txBody>
      </p:sp>
      <p:sp>
        <p:nvSpPr>
          <p:cNvPr id="22" name="Rectangle 21"/>
          <p:cNvSpPr/>
          <p:nvPr/>
        </p:nvSpPr>
        <p:spPr>
          <a:xfrm>
            <a:off x="972000" y="1458000"/>
            <a:ext cx="22608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3232800" y="1458000"/>
            <a:ext cx="33912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1511271724"/>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Schick Xtreme 3 Body &amp; Groin Disposable Razors 3 Pack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94</a:t>
            </a:fld>
            <a:endParaRPr lang="en-US"/>
          </a:p>
        </p:txBody>
      </p:sp>
      <p:sp>
        <p:nvSpPr>
          <p:cNvPr id="22" name="Rectangle 21"/>
          <p:cNvSpPr/>
          <p:nvPr/>
        </p:nvSpPr>
        <p:spPr>
          <a:xfrm>
            <a:off x="972000" y="1458000"/>
            <a:ext cx="6217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1593720" y="1458000"/>
            <a:ext cx="29390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p:cNvSpPr/>
          <p:nvPr/>
        </p:nvSpPr>
        <p:spPr>
          <a:xfrm>
            <a:off x="4532760" y="1458000"/>
            <a:ext cx="20912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3588354795"/>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Schick Hydro 5 Ultimate Comfort Disposable Razors 3 Pack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95</a:t>
            </a:fld>
            <a:endParaRPr lang="en-US"/>
          </a:p>
        </p:txBody>
      </p:sp>
      <p:sp>
        <p:nvSpPr>
          <p:cNvPr id="22" name="Rectangle 21"/>
          <p:cNvSpPr/>
          <p:nvPr/>
        </p:nvSpPr>
        <p:spPr>
          <a:xfrm>
            <a:off x="972000" y="1458000"/>
            <a:ext cx="6217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1593720" y="1458000"/>
            <a:ext cx="29390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p:cNvSpPr/>
          <p:nvPr/>
        </p:nvSpPr>
        <p:spPr>
          <a:xfrm>
            <a:off x="4532760" y="1458000"/>
            <a:ext cx="20912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Tree>
    <p:extLst>
      <p:ext uri="{BB962C8B-B14F-4D97-AF65-F5344CB8AC3E}">
        <p14:creationId xmlns:p14="http://schemas.microsoft.com/office/powerpoint/2010/main" val="2317791327"/>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Schick First 4 Blade Disposable Razors 3 Pack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96</a:t>
            </a:fld>
            <a:endParaRPr lang="en-US"/>
          </a:p>
        </p:txBody>
      </p:sp>
      <p:sp>
        <p:nvSpPr>
          <p:cNvPr id="22" name="Rectangle 21"/>
          <p:cNvSpPr/>
          <p:nvPr/>
        </p:nvSpPr>
        <p:spPr>
          <a:xfrm>
            <a:off x="972000" y="1458000"/>
            <a:ext cx="12999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2271960" y="1458000"/>
            <a:ext cx="43520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3365047388"/>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Schick Hydro 3 Blade Ultra Sensitive 1 Handle + 4 Cartridges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97</a:t>
            </a:fld>
            <a:endParaRPr lang="en-US"/>
          </a:p>
        </p:txBody>
      </p:sp>
      <p:sp>
        <p:nvSpPr>
          <p:cNvPr id="22" name="Rectangle 21"/>
          <p:cNvSpPr/>
          <p:nvPr/>
        </p:nvSpPr>
        <p:spPr>
          <a:xfrm>
            <a:off x="972000" y="1458000"/>
            <a:ext cx="6217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1593720" y="1458000"/>
            <a:ext cx="35607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p:cNvSpPr/>
          <p:nvPr/>
        </p:nvSpPr>
        <p:spPr>
          <a:xfrm>
            <a:off x="5154480" y="1458000"/>
            <a:ext cx="14695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352374282"/>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Schick Hydro 3 Blade Pro Sensitive 1 Handle + 3 Cartridges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98</a:t>
            </a:fld>
            <a:endParaRPr lang="en-US"/>
          </a:p>
        </p:txBody>
      </p:sp>
      <p:sp>
        <p:nvSpPr>
          <p:cNvPr id="22" name="Rectangle 21"/>
          <p:cNvSpPr/>
          <p:nvPr/>
        </p:nvSpPr>
        <p:spPr>
          <a:xfrm>
            <a:off x="972000" y="1458000"/>
            <a:ext cx="35607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p:cNvSpPr/>
          <p:nvPr/>
        </p:nvSpPr>
        <p:spPr>
          <a:xfrm>
            <a:off x="4532760" y="1458000"/>
            <a:ext cx="20912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960160814"/>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Schick Hydro 3 Blade Ingrown Defense 1 Handle + 3 Cartridges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99</a:t>
            </a:fld>
            <a:endParaRPr lang="en-US"/>
          </a:p>
        </p:txBody>
      </p:sp>
      <p:sp>
        <p:nvSpPr>
          <p:cNvPr id="22" name="Rectangle 21"/>
          <p:cNvSpPr/>
          <p:nvPr/>
        </p:nvSpPr>
        <p:spPr>
          <a:xfrm>
            <a:off x="972000" y="1458000"/>
            <a:ext cx="3221639"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p:cNvSpPr/>
          <p:nvPr/>
        </p:nvSpPr>
        <p:spPr>
          <a:xfrm>
            <a:off x="4193639" y="1458000"/>
            <a:ext cx="24303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187043738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1_PricingOne">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
      </a:majorFont>
      <a:minorFont>
        <a:latin typeface="Nexa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95000"/>
          </a:schemeClr>
        </a:solidFill>
        <a:ln>
          <a:noFill/>
        </a:ln>
      </a:spPr>
      <a:bodyPr rtlCol="0" anchor="ctr"/>
      <a:lstStyle>
        <a:defPPr algn="ctr">
          <a:defRPr sz="1600" dirty="0">
            <a:solidFill>
              <a:schemeClr val="bg1"/>
            </a:solidFill>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alpha val="50000"/>
          </a:schemeClr>
        </a:solidFill>
        <a:ln>
          <a:noFill/>
        </a:ln>
      </a:spPr>
      <a:bodyPr wrap="square" lIns="36000" tIns="36000" rIns="36000" bIns="36000" rtlCol="0" anchor="ctr">
        <a:spAutoFit/>
      </a:bodyPr>
      <a:lstStyle>
        <a:defPPr algn="l">
          <a:defRPr dirty="0"/>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oject Presentation New Fixed Template- version Jan 2024.pptx" id="{C36FA16A-A7B2-4300-B4A4-8F34C8763386}" vid="{3E883448-0EC3-47CF-AF68-33978396B041}"/>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Props1.xml><?xml version="1.0" encoding="utf-8"?>
<ds:datastoreItem xmlns:ds="http://schemas.openxmlformats.org/officeDocument/2006/customXml" ds:itemID="{F8D7B908-B0DA-4AEE-8D52-892C7A4A767F}">
  <ds:schemaRefs>
    <ds:schemaRef ds:uri="http://schemas.microsoft.com/sharepoint/v3/contenttype/forms"/>
  </ds:schemaRefs>
</ds:datastoreItem>
</file>

<file path=customXml/itemProps2.xml><?xml version="1.0" encoding="utf-8"?>
<ds:datastoreItem xmlns:ds="http://schemas.openxmlformats.org/officeDocument/2006/customXml" ds:itemID="{C6A92BC9-469E-4F29-BBD5-BD59EEFFEF6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AC29D19D-4CBF-414A-A8B5-FF7BFF091E24}">
  <ds:schemaRefs>
    <ds:schemaRef ds:uri="http://www.w3.org/XML/1998/namespace"/>
    <ds:schemaRef ds:uri="http://purl.org/dc/terms/"/>
    <ds:schemaRef ds:uri="http://purl.org/dc/elements/1.1/"/>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0ad93b7f-b0cd-4c46-aaaf-ff14495948cf"/>
    <ds:schemaRef ds:uri="http://schemas.microsoft.com/office/2006/metadata/properties"/>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Default Theme</Template>
  <TotalTime>0</TotalTime>
  <Words>19712</Words>
  <Application>Microsoft Office PowerPoint</Application>
  <PresentationFormat>On-screen Show (16:9)</PresentationFormat>
  <Paragraphs>5012</Paragraphs>
  <Slides>138</Slides>
  <Notes>0</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138</vt:i4>
      </vt:variant>
    </vt:vector>
  </HeadingPairs>
  <TitlesOfParts>
    <vt:vector size="149" baseType="lpstr">
      <vt:lpstr>Aptos</vt:lpstr>
      <vt:lpstr>Arial</vt:lpstr>
      <vt:lpstr>Cambria Math</vt:lpstr>
      <vt:lpstr>Nexa</vt:lpstr>
      <vt:lpstr>Nexa Bold</vt:lpstr>
      <vt:lpstr>Nexa Book</vt:lpstr>
      <vt:lpstr>Nexa Book Italic</vt:lpstr>
      <vt:lpstr>Open Sans</vt:lpstr>
      <vt:lpstr>PricingOne Light Template Oct 2024</vt:lpstr>
      <vt:lpstr>1_PricingOne</vt:lpstr>
      <vt:lpstr>think-cell Slide</vt:lpstr>
      <vt:lpstr>Brand Elasticity Analysis (Replace with SO WHAT)</vt:lpstr>
      <vt:lpstr>Brand Elasticity Analysis (Replace with SO WHAT)</vt:lpstr>
      <vt:lpstr>Brand Elasticity Analysis (Replace with SO WHAT)</vt:lpstr>
      <vt:lpstr>Brand Elasticity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SE Slide (Replace with So What)</vt:lpstr>
      <vt:lpstr>SE Slide (Replace with So What)</vt:lpstr>
      <vt:lpstr>SE Slide (Replace with So What)</vt:lpstr>
      <vt:lpstr>SE Slide (Replace with So What)</vt:lpstr>
      <vt:lpstr>SE Slide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ophie  ZIMMERMANN</cp:lastModifiedBy>
  <cp:revision>16</cp:revision>
  <dcterms:created xsi:type="dcterms:W3CDTF">2024-07-08T12:09:12Z</dcterms:created>
  <dcterms:modified xsi:type="dcterms:W3CDTF">2025-08-15T09:28: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